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3" r:id="rId5"/>
  </p:sldMasterIdLst>
  <p:notesMasterIdLst>
    <p:notesMasterId r:id="rId24"/>
  </p:notesMasterIdLst>
  <p:handoutMasterIdLst>
    <p:handoutMasterId r:id="rId25"/>
  </p:handoutMasterIdLst>
  <p:sldIdLst>
    <p:sldId id="437" r:id="rId6"/>
    <p:sldId id="487" r:id="rId7"/>
    <p:sldId id="519" r:id="rId8"/>
    <p:sldId id="459" r:id="rId9"/>
    <p:sldId id="460" r:id="rId10"/>
    <p:sldId id="461" r:id="rId11"/>
    <p:sldId id="462" r:id="rId12"/>
    <p:sldId id="494" r:id="rId13"/>
    <p:sldId id="506" r:id="rId14"/>
    <p:sldId id="495" r:id="rId15"/>
    <p:sldId id="507" r:id="rId16"/>
    <p:sldId id="496" r:id="rId17"/>
    <p:sldId id="517" r:id="rId18"/>
    <p:sldId id="497" r:id="rId19"/>
    <p:sldId id="515" r:id="rId20"/>
    <p:sldId id="498" r:id="rId21"/>
    <p:sldId id="514" r:id="rId22"/>
    <p:sldId id="518" r:id="rId23"/>
  </p:sldIdLst>
  <p:sldSz cx="9144000" cy="5143500" type="screen16x9"/>
  <p:notesSz cx="6858000" cy="9144000"/>
  <p:custDataLst>
    <p:tags r:id="rId26"/>
  </p:custDataLst>
  <p:defaultTextStyle>
    <a:defPPr>
      <a:defRPr lang="ru-RU"/>
    </a:defPPr>
    <a:lvl1pPr marL="0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981" userDrawn="1">
          <p15:clr>
            <a:srgbClr val="A4A3A4"/>
          </p15:clr>
        </p15:guide>
        <p15:guide id="4" pos="5610">
          <p15:clr>
            <a:srgbClr val="A4A3A4"/>
          </p15:clr>
        </p15:guide>
        <p15:guide id="5" orient="horz" pos="2932">
          <p15:clr>
            <a:srgbClr val="A4A3A4"/>
          </p15:clr>
        </p15:guide>
        <p15:guide id="6" pos="5619">
          <p15:clr>
            <a:srgbClr val="A4A3A4"/>
          </p15:clr>
        </p15:guide>
        <p15:guide id="7" pos="2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C95"/>
    <a:srgbClr val="FFC000"/>
    <a:srgbClr val="BFC8EF"/>
    <a:srgbClr val="9BA9E5"/>
    <a:srgbClr val="C0B6E8"/>
    <a:srgbClr val="F2F2F2"/>
    <a:srgbClr val="E5F2F2"/>
    <a:srgbClr val="CCD0F0"/>
    <a:srgbClr val="BEB7EF"/>
    <a:srgbClr val="7C9C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05" autoAdjust="0"/>
    <p:restoredTop sz="94582" autoAdjust="0"/>
  </p:normalViewPr>
  <p:slideViewPr>
    <p:cSldViewPr snapToGrid="0">
      <p:cViewPr varScale="1">
        <p:scale>
          <a:sx n="144" d="100"/>
          <a:sy n="144" d="100"/>
        </p:scale>
        <p:origin x="102" y="120"/>
      </p:cViewPr>
      <p:guideLst>
        <p:guide orient="horz" pos="2981"/>
        <p:guide pos="5610"/>
        <p:guide orient="horz" pos="2932"/>
        <p:guide pos="5619"/>
        <p:guide pos="2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2" d="100"/>
          <a:sy n="92" d="100"/>
        </p:scale>
        <p:origin x="-2934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71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C08B40-76F4-4574-A2E9-FC2E8E3C3F7F}" type="datetimeFigureOut">
              <a:rPr lang="ru-RU" smtClean="0"/>
              <a:t>03.03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8C9466-0FDB-4D5F-8F67-8230A54650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18384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903D09-D85A-4594-9EA3-CBA54C90E794}" type="datetimeFigureOut">
              <a:rPr lang="ru-RU" smtClean="0"/>
              <a:t>03.03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56DA7-AAD7-473E-A78B-09A07C1CFD8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3856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Рассказать подробно про каждый узел</a:t>
            </a:r>
          </a:p>
          <a:p>
            <a:endParaRPr lang="ru-RU" dirty="0" smtClean="0"/>
          </a:p>
          <a:p>
            <a:r>
              <a:rPr lang="ru-RU" sz="11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анина, узел смыкания, система управления, шнек, цилиндр, пресс-форма;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C537F6-7B76-4ECB-ADF4-45EB6BA3D2C6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44264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3 марта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98407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3 марта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4159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3 марта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84436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3 марта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25007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3 марта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21397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3 марта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42154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3 марта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0296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w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- 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3022600"/>
            <a:ext cx="4945680" cy="774322"/>
          </a:xfrm>
        </p:spPr>
        <p:txBody>
          <a:bodyPr tIns="0" rIns="0" bIns="0"/>
          <a:lstStyle>
            <a:lvl1pPr marL="0" indent="0" algn="l">
              <a:buNone/>
              <a:defRPr sz="12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24823"/>
            <a:ext cx="1296000" cy="245455"/>
          </a:xfrm>
          <a:prstGeom prst="rect">
            <a:avLst/>
          </a:prstGeom>
        </p:spPr>
      </p:pic>
      <p:cxnSp>
        <p:nvCxnSpPr>
          <p:cNvPr id="24" name="Прямая соединительная линия 23"/>
          <p:cNvCxnSpPr/>
          <p:nvPr/>
        </p:nvCxnSpPr>
        <p:spPr bwMode="auto">
          <a:xfrm flipH="1">
            <a:off x="5726907" y="4659165"/>
            <a:ext cx="3417093" cy="0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/>
          <p:nvPr/>
        </p:nvCxnSpPr>
        <p:spPr bwMode="auto">
          <a:xfrm>
            <a:off x="0" y="4659165"/>
            <a:ext cx="3834231" cy="6337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" name="Изображение 2"/>
          <p:cNvPicPr>
            <a:picLocks noChangeAspect="1"/>
          </p:cNvPicPr>
          <p:nvPr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33"/>
          <a:stretch/>
        </p:blipFill>
        <p:spPr>
          <a:xfrm>
            <a:off x="320040" y="508509"/>
            <a:ext cx="2972669" cy="3949189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24000" y="1482725"/>
            <a:ext cx="4960596" cy="1076325"/>
          </a:xfrm>
        </p:spPr>
        <p:txBody>
          <a:bodyPr/>
          <a:lstStyle>
            <a:lvl1pPr>
              <a:defRPr lang="ru-RU" sz="24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0" y="3971528"/>
            <a:ext cx="4939160" cy="436960"/>
          </a:xfrm>
        </p:spPr>
        <p:txBody>
          <a:bodyPr/>
          <a:lstStyle>
            <a:lvl1pPr>
              <a:defRPr sz="105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3818329" y="4518284"/>
            <a:ext cx="19457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accent1"/>
                </a:solidFill>
              </a:rPr>
              <a:t>ПАО «СИБУР Холдинг»</a:t>
            </a:r>
            <a:endParaRPr lang="ru-RU" sz="12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678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ctr"/>
          <a:lstStyle>
            <a:lvl1pPr algn="l">
              <a:defRPr sz="1800" b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anchor="ctr"/>
          <a:lstStyle>
            <a:lvl1pPr marL="0" indent="0" algn="ctr">
              <a:buNone/>
              <a:defRPr sz="1350"/>
            </a:lvl1pPr>
            <a:lvl2pPr marL="342839" indent="0">
              <a:buNone/>
              <a:defRPr sz="2100"/>
            </a:lvl2pPr>
            <a:lvl3pPr marL="685679" indent="0">
              <a:buNone/>
              <a:defRPr sz="1800"/>
            </a:lvl3pPr>
            <a:lvl4pPr marL="1028519" indent="0">
              <a:buNone/>
              <a:defRPr sz="1500"/>
            </a:lvl4pPr>
            <a:lvl5pPr marL="1371358" indent="0">
              <a:buNone/>
              <a:defRPr sz="1500"/>
            </a:lvl5pPr>
            <a:lvl6pPr marL="1714197" indent="0">
              <a:buNone/>
              <a:defRPr sz="1500"/>
            </a:lvl6pPr>
            <a:lvl7pPr marL="2057037" indent="0">
              <a:buNone/>
              <a:defRPr sz="1500"/>
            </a:lvl7pPr>
            <a:lvl8pPr marL="2399876" indent="0">
              <a:buNone/>
              <a:defRPr sz="1500"/>
            </a:lvl8pPr>
            <a:lvl9pPr marL="2742716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200" b="0"/>
            </a:lvl1pPr>
            <a:lvl2pPr marL="342839" indent="0">
              <a:buNone/>
              <a:defRPr sz="900"/>
            </a:lvl2pPr>
            <a:lvl3pPr marL="685679" indent="0">
              <a:buNone/>
              <a:defRPr sz="750"/>
            </a:lvl3pPr>
            <a:lvl4pPr marL="1028519" indent="0">
              <a:buNone/>
              <a:defRPr sz="675"/>
            </a:lvl4pPr>
            <a:lvl5pPr marL="1371358" indent="0">
              <a:buNone/>
              <a:defRPr sz="675"/>
            </a:lvl5pPr>
            <a:lvl6pPr marL="1714197" indent="0">
              <a:buNone/>
              <a:defRPr sz="675"/>
            </a:lvl6pPr>
            <a:lvl7pPr marL="2057037" indent="0">
              <a:buNone/>
              <a:defRPr sz="675"/>
            </a:lvl7pPr>
            <a:lvl8pPr marL="2399876" indent="0">
              <a:buNone/>
              <a:defRPr sz="675"/>
            </a:lvl8pPr>
            <a:lvl9pPr marL="2742716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7919F88B-F91C-468D-9928-275DA8C7FFAB}" type="datetime1">
              <a:rPr lang="ru-RU" smtClean="0"/>
              <a:t>03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2940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1479" y="207171"/>
            <a:ext cx="8494463" cy="474379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02544" y="692269"/>
            <a:ext cx="8503651" cy="399800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1A9B00F6-B0C5-4644-B400-3AEF7A3128A4}" type="datetime1">
              <a:rPr lang="ru-RU" smtClean="0"/>
              <a:t>03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95763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68745"/>
            <a:ext cx="2057400" cy="472358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41473" y="268745"/>
            <a:ext cx="5935527" cy="472358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44108" y="4777113"/>
            <a:ext cx="304933" cy="287215"/>
          </a:xfrm>
          <a:ln/>
        </p:spPr>
        <p:txBody>
          <a:bodyPr/>
          <a:lstStyle>
            <a:lvl1pPr>
              <a:defRPr/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83830" y="3219014"/>
            <a:ext cx="610499" cy="216213"/>
          </a:xfrm>
        </p:spPr>
        <p:txBody>
          <a:bodyPr/>
          <a:lstStyle/>
          <a:p>
            <a:pPr algn="r"/>
            <a:fld id="{3CC48BD0-EB39-43D9-B978-3F7CF1F6FCD2}" type="datetime1">
              <a:rPr lang="ru-RU" smtClean="0"/>
              <a:t>03.03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854982" y="1213989"/>
            <a:ext cx="2352675" cy="462186"/>
          </a:xfrm>
        </p:spPr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grpSp>
        <p:nvGrpSpPr>
          <p:cNvPr id="9" name="Группа 8"/>
          <p:cNvGrpSpPr/>
          <p:nvPr/>
        </p:nvGrpSpPr>
        <p:grpSpPr>
          <a:xfrm rot="5400000">
            <a:off x="-1779862" y="2937018"/>
            <a:ext cx="4064794" cy="348171"/>
            <a:chOff x="4486275" y="6431621"/>
            <a:chExt cx="5419725" cy="377185"/>
          </a:xfrm>
        </p:grpSpPr>
        <p:pic>
          <p:nvPicPr>
            <p:cNvPr id="7" name="Изображение 1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1125299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587256" y="11233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2587256" y="3763725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306624" y="859608"/>
            <a:ext cx="1188000" cy="1188000"/>
          </a:xfrm>
          <a:prstGeom prst="ellipse">
            <a:avLst/>
          </a:prstGeom>
          <a:ln w="1905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1306624" y="2179671"/>
            <a:ext cx="1188000" cy="1188000"/>
          </a:xfrm>
          <a:prstGeom prst="ellipse">
            <a:avLst/>
          </a:prstGeom>
          <a:ln w="1905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306624" y="3511378"/>
            <a:ext cx="1188000" cy="1188000"/>
          </a:xfrm>
          <a:prstGeom prst="ellipse">
            <a:avLst/>
          </a:prstGeom>
          <a:ln w="1905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2607385" y="954920"/>
            <a:ext cx="4641951" cy="157334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2607385" y="1143515"/>
            <a:ext cx="4641951" cy="840396"/>
          </a:xfrm>
        </p:spPr>
        <p:txBody>
          <a:bodyPr/>
          <a:lstStyle>
            <a:lvl1pPr>
              <a:defRPr lang="ru-RU" sz="78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607386" y="2238907"/>
            <a:ext cx="4641950" cy="157334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607386" y="2427502"/>
            <a:ext cx="4641950" cy="840396"/>
          </a:xfrm>
        </p:spPr>
        <p:txBody>
          <a:bodyPr/>
          <a:lstStyle>
            <a:lvl1pPr>
              <a:defRPr lang="ru-RU" sz="78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2607386" y="3612166"/>
            <a:ext cx="4641950" cy="157334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2607386" y="3800761"/>
            <a:ext cx="4641950" cy="840396"/>
          </a:xfrm>
        </p:spPr>
        <p:txBody>
          <a:bodyPr/>
          <a:lstStyle>
            <a:lvl1pPr>
              <a:defRPr lang="ru-RU" sz="78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2587256" y="2403103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Дата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6272A805-E875-4880-9C17-461FD439D637}" type="datetime1">
              <a:rPr lang="ru-RU" smtClean="0"/>
              <a:t>03.03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17047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852769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128499" y="1143740"/>
            <a:ext cx="1908000" cy="1908000"/>
          </a:xfrm>
          <a:prstGeom prst="ellipse">
            <a:avLst/>
          </a:prstGeom>
          <a:ln w="25400">
            <a:solidFill>
              <a:schemeClr val="accent5"/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3802151" y="1143740"/>
            <a:ext cx="1908000" cy="1908000"/>
          </a:xfrm>
          <a:prstGeom prst="ellipse">
            <a:avLst/>
          </a:prstGeom>
          <a:ln w="25400">
            <a:solidFill>
              <a:schemeClr val="accent5"/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6443951" y="1143740"/>
            <a:ext cx="1908000" cy="1908000"/>
          </a:xfrm>
          <a:prstGeom prst="ellipse">
            <a:avLst/>
          </a:prstGeom>
          <a:ln w="25400">
            <a:solidFill>
              <a:schemeClr val="accent5"/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872898" y="3219354"/>
            <a:ext cx="2310912" cy="191230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названия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872898" y="3407948"/>
            <a:ext cx="2310912" cy="1021446"/>
          </a:xfrm>
        </p:spPr>
        <p:txBody>
          <a:bodyPr/>
          <a:lstStyle>
            <a:lvl1pPr>
              <a:defRPr lang="ru-RU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3502988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523117" y="3219354"/>
            <a:ext cx="2310912" cy="191230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названия</a:t>
            </a:r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523117" y="3407948"/>
            <a:ext cx="2310912" cy="1021446"/>
          </a:xfrm>
        </p:spPr>
        <p:txBody>
          <a:bodyPr/>
          <a:lstStyle>
            <a:lvl1pPr>
              <a:defRPr lang="ru-RU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6185530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6205659" y="3219354"/>
            <a:ext cx="2310912" cy="191230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названия</a:t>
            </a:r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6205659" y="3407948"/>
            <a:ext cx="2310912" cy="1021446"/>
          </a:xfrm>
        </p:spPr>
        <p:txBody>
          <a:bodyPr/>
          <a:lstStyle>
            <a:lvl1pPr>
              <a:defRPr lang="ru-RU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sp>
        <p:nvSpPr>
          <p:cNvPr id="6" name="Дата 5">
            <a:extLst>
              <a:ext uri="{FF2B5EF4-FFF2-40B4-BE49-F238E27FC236}">
                <a16:creationId xmlns:a16="http://schemas.microsoft.com/office/drawing/2014/main" id="{EFB82F25-C17A-471F-87F6-0238CE6B1BA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A5CF04C3-F21C-4AD4-A0BB-FDD5A39930E5}" type="datetime1">
              <a:rPr lang="ru-RU" smtClean="0"/>
              <a:t>03.03.2023</a:t>
            </a:fld>
            <a:endParaRPr lang="ru-RU"/>
          </a:p>
        </p:txBody>
      </p:sp>
      <p:sp>
        <p:nvSpPr>
          <p:cNvPr id="7" name="Нижний колонтитул 6">
            <a:extLst>
              <a:ext uri="{FF2B5EF4-FFF2-40B4-BE49-F238E27FC236}">
                <a16:creationId xmlns:a16="http://schemas.microsoft.com/office/drawing/2014/main" id="{7C1F1188-EDAC-49BA-863B-FE6F6C9E04E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68A8434B-3B65-48CC-A358-7DABAAEA0DC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3090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бирюзовый фон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67631"/>
            <a:ext cx="3691499" cy="3983742"/>
          </a:xfrm>
          <a:prstGeom prst="rect">
            <a:avLst/>
          </a:prstGeom>
        </p:spPr>
      </p:pic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3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1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7" y="4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3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57" indent="-182557" algn="l" defTabSz="77913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1" lvl="4" indent="-88897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1" lvl="4" indent="-88897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1" lvl="4" indent="-88897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1" lvl="4" indent="-88897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1" lvl="4" indent="-88897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57" indent="-182557" algn="l" defTabSz="77913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1" lvl="1" indent="-79373" algn="l" defTabSz="77913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1" lvl="1" indent="-79373" algn="l" defTabSz="77913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1" lvl="1" indent="-79373" algn="l" defTabSz="77913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57" marR="0" lvl="0" indent="-182557" algn="l" defTabSz="77913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1" marR="0" lvl="1" indent="-84136" algn="l" defTabSz="7791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57" marR="0" lvl="0" indent="-182557" algn="l" defTabSz="77913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1" lvl="1" indent="-84136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1" lvl="1" indent="-84136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57" marR="0" lvl="0" indent="-182557" algn="l" defTabSz="77913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1" marR="0" lvl="1" indent="-92073" algn="l" defTabSz="7791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1" marR="0" lvl="1" indent="-92073" algn="l" defTabSz="7791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1" marR="0" lvl="1" indent="-92073" algn="l" defTabSz="7791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28" marR="0" lvl="1" indent="-182557" algn="l" defTabSz="7791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90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90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90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90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0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0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0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0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0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0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2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2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2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2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2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2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2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2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2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100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8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38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3" y="3895793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9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1" y="302031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3498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4361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8790260"/>
              </p:ext>
            </p:extLst>
          </p:nvPr>
        </p:nvGraphicFramePr>
        <p:xfrm>
          <a:off x="1477" y="1205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5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B2BA3F4D-04BF-4B50-9B1C-4C59E424B21D}" type="datetime1">
              <a:rPr lang="ru-RU" smtClean="0"/>
              <a:t>03.03.2023</a:t>
            </a:fld>
            <a:endParaRPr lang="ru-RU" dirty="0"/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39638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0BA857DF-DF1D-4B91-83D5-EEF802460DF2}" type="datetime1">
              <a:rPr lang="ru-RU" smtClean="0"/>
              <a:t>03.03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11675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7709543"/>
              </p:ext>
            </p:extLst>
          </p:nvPr>
        </p:nvGraphicFramePr>
        <p:xfrm>
          <a:off x="1475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5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9574" y="692270"/>
            <a:ext cx="8460105" cy="399879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B9F4197E-4511-4068-8B8F-92294112C1B4}" type="datetime1">
              <a:rPr lang="ru-RU" smtClean="0"/>
              <a:t>03.03.2023</a:t>
            </a:fld>
            <a:endParaRPr lang="ru-RU" dirty="0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54544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7968" y="1750710"/>
            <a:ext cx="8514092" cy="634350"/>
          </a:xfrm>
        </p:spPr>
        <p:txBody>
          <a:bodyPr anchor="t"/>
          <a:lstStyle>
            <a:lvl1pPr algn="l">
              <a:defRPr sz="2000" b="1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4588E7F7-AB80-4BFF-A9AF-77CB88527E72}" type="datetime1">
              <a:rPr lang="ru-RU" smtClean="0"/>
              <a:t>03.03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62785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0365" y="1866192"/>
            <a:ext cx="8512281" cy="1021556"/>
          </a:xfrm>
        </p:spPr>
        <p:txBody>
          <a:bodyPr anchor="t"/>
          <a:lstStyle>
            <a:lvl1pPr algn="ctr">
              <a:defRPr sz="18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6185AB2-AF47-49F6-8259-7F6A61D8B27A}" type="datetime1">
              <a:rPr lang="ru-RU" smtClean="0"/>
              <a:t>03.03.2023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24611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631317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612282" y="1350402"/>
            <a:ext cx="2951754" cy="217646"/>
          </a:xfrm>
        </p:spPr>
        <p:txBody>
          <a:bodyPr/>
          <a:lstStyle>
            <a:lvl1pPr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Дата 7">
            <a:extLst>
              <a:ext uri="{FF2B5EF4-FFF2-40B4-BE49-F238E27FC236}">
                <a16:creationId xmlns:a16="http://schemas.microsoft.com/office/drawing/2014/main" id="{24B5D5DA-1EFB-463F-A0D6-EDC9D6400F6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58799E40-8F82-41CC-A5EE-81713CA06082}" type="datetime1">
              <a:rPr lang="ru-RU" smtClean="0"/>
              <a:t>03.03.2023</a:t>
            </a:fld>
            <a:endParaRPr lang="ru-RU"/>
          </a:p>
        </p:txBody>
      </p:sp>
      <p:sp>
        <p:nvSpPr>
          <p:cNvPr id="9" name="Нижний колонтитул 8">
            <a:extLst>
              <a:ext uri="{FF2B5EF4-FFF2-40B4-BE49-F238E27FC236}">
                <a16:creationId xmlns:a16="http://schemas.microsoft.com/office/drawing/2014/main" id="{BC3D9B85-19D0-496F-8F29-EC02E5D3ADB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18337BFC-AA16-42AE-99DB-30BEF734AE9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0295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04887" y="704134"/>
            <a:ext cx="4172828" cy="3986930"/>
          </a:xfrm>
        </p:spPr>
        <p:txBody>
          <a:bodyPr/>
          <a:lstStyle>
            <a:lvl1pPr>
              <a:defRPr sz="1500"/>
            </a:lvl1pPr>
            <a:lvl2pPr marL="455865" indent="-162325">
              <a:defRPr sz="1400"/>
            </a:lvl2pPr>
            <a:lvl3pPr marL="764284" indent="-173147">
              <a:defRPr sz="1300"/>
            </a:lvl3pPr>
            <a:lvl4pPr marL="992892" indent="-150152">
              <a:tabLst>
                <a:tab pos="992892" algn="l"/>
              </a:tabLst>
              <a:defRPr sz="1000" b="0"/>
            </a:lvl4pPr>
            <a:lvl5pPr marL="1220148" indent="-127156"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Объект 2"/>
          <p:cNvSpPr>
            <a:spLocks noGrp="1"/>
          </p:cNvSpPr>
          <p:nvPr>
            <p:ph sz="half" idx="13"/>
          </p:nvPr>
        </p:nvSpPr>
        <p:spPr>
          <a:xfrm>
            <a:off x="4696852" y="704134"/>
            <a:ext cx="4172828" cy="3986930"/>
          </a:xfrm>
        </p:spPr>
        <p:txBody>
          <a:bodyPr/>
          <a:lstStyle>
            <a:lvl1pPr>
              <a:defRPr sz="1500"/>
            </a:lvl1pPr>
            <a:lvl2pPr marL="455865" indent="-162325">
              <a:defRPr sz="1400"/>
            </a:lvl2pPr>
            <a:lvl3pPr marL="764284" indent="-173147">
              <a:defRPr sz="1300"/>
            </a:lvl3pPr>
            <a:lvl4pPr marL="992892" indent="-150152">
              <a:tabLst>
                <a:tab pos="992892" algn="l"/>
              </a:tabLst>
              <a:defRPr sz="1000" b="0"/>
            </a:lvl4pPr>
            <a:lvl5pPr marL="1220148" indent="-127156"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463FE773-2701-4280-B5E7-56B82B3E6FA9}" type="datetime1">
              <a:rPr lang="ru-RU" smtClean="0"/>
              <a:t>03.03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84268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12956" y="797374"/>
            <a:ext cx="4140000" cy="479822"/>
          </a:xfrm>
        </p:spPr>
        <p:txBody>
          <a:bodyPr anchor="t"/>
          <a:lstStyle>
            <a:lvl1pPr marL="0" indent="0">
              <a:buNone/>
              <a:defRPr sz="1600" b="1"/>
            </a:lvl1pPr>
            <a:lvl2pPr marL="342839" indent="0">
              <a:buNone/>
              <a:defRPr sz="1500" b="1"/>
            </a:lvl2pPr>
            <a:lvl3pPr marL="685679" indent="0">
              <a:buNone/>
              <a:defRPr sz="1350" b="1"/>
            </a:lvl3pPr>
            <a:lvl4pPr marL="1028519" indent="0">
              <a:buNone/>
              <a:defRPr sz="1200" b="1"/>
            </a:lvl4pPr>
            <a:lvl5pPr marL="1371358" indent="0">
              <a:buNone/>
              <a:defRPr sz="1200" b="1"/>
            </a:lvl5pPr>
            <a:lvl6pPr marL="1714197" indent="0">
              <a:buNone/>
              <a:defRPr sz="1200" b="1"/>
            </a:lvl6pPr>
            <a:lvl7pPr marL="2057037" indent="0">
              <a:buNone/>
              <a:defRPr sz="1200" b="1"/>
            </a:lvl7pPr>
            <a:lvl8pPr marL="2399876" indent="0">
              <a:buNone/>
              <a:defRPr sz="1200" b="1"/>
            </a:lvl8pPr>
            <a:lvl9pPr marL="2742716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12956" y="1277194"/>
            <a:ext cx="4140000" cy="3280057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125"/>
            </a:lvl3pPr>
            <a:lvl4pPr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766196" y="797374"/>
            <a:ext cx="4140000" cy="479822"/>
          </a:xfrm>
        </p:spPr>
        <p:txBody>
          <a:bodyPr anchor="t"/>
          <a:lstStyle>
            <a:lvl1pPr marL="0" indent="0">
              <a:buNone/>
              <a:defRPr sz="1600" b="1"/>
            </a:lvl1pPr>
            <a:lvl2pPr marL="342839" indent="0">
              <a:buNone/>
              <a:defRPr sz="1500" b="1"/>
            </a:lvl2pPr>
            <a:lvl3pPr marL="685679" indent="0">
              <a:buNone/>
              <a:defRPr sz="1350" b="1"/>
            </a:lvl3pPr>
            <a:lvl4pPr marL="1028519" indent="0">
              <a:buNone/>
              <a:defRPr sz="1200" b="1"/>
            </a:lvl4pPr>
            <a:lvl5pPr marL="1371358" indent="0">
              <a:buNone/>
              <a:defRPr sz="1200" b="1"/>
            </a:lvl5pPr>
            <a:lvl6pPr marL="1714197" indent="0">
              <a:buNone/>
              <a:defRPr sz="1200" b="1"/>
            </a:lvl6pPr>
            <a:lvl7pPr marL="2057037" indent="0">
              <a:buNone/>
              <a:defRPr sz="1200" b="1"/>
            </a:lvl7pPr>
            <a:lvl8pPr marL="2399876" indent="0">
              <a:buNone/>
              <a:defRPr sz="1200" b="1"/>
            </a:lvl8pPr>
            <a:lvl9pPr marL="2742716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766196" y="1277194"/>
            <a:ext cx="4140000" cy="3280057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125"/>
            </a:lvl3pPr>
            <a:lvl4pPr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411480" y="207171"/>
            <a:ext cx="8494716" cy="47437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>
            <a:extLst>
              <a:ext uri="{FF2B5EF4-FFF2-40B4-BE49-F238E27FC236}">
                <a16:creationId xmlns:a16="http://schemas.microsoft.com/office/drawing/2014/main" id="{43F23024-315A-467F-AC92-FD32818848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EE22E7A-1676-4EA0-9BFF-05B607559AD9}" type="datetime1">
              <a:rPr lang="ru-RU" smtClean="0"/>
              <a:t>03.03.2023</a:t>
            </a:fld>
            <a:endParaRPr lang="ru-RU"/>
          </a:p>
        </p:txBody>
      </p:sp>
      <p:sp>
        <p:nvSpPr>
          <p:cNvPr id="11" name="Нижний колонтитул 10">
            <a:extLst>
              <a:ext uri="{FF2B5EF4-FFF2-40B4-BE49-F238E27FC236}">
                <a16:creationId xmlns:a16="http://schemas.microsoft.com/office/drawing/2014/main" id="{A0123E52-A6F7-47A1-B668-F87895637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12" name="Номер слайда 11">
            <a:extLst>
              <a:ext uri="{FF2B5EF4-FFF2-40B4-BE49-F238E27FC236}">
                <a16:creationId xmlns:a16="http://schemas.microsoft.com/office/drawing/2014/main" id="{AC7D0566-6BE3-40D1-BD63-A7CBDDFC2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56374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225283548"/>
              </p:ext>
            </p:extLst>
          </p:nvPr>
        </p:nvGraphicFramePr>
        <p:xfrm>
          <a:off x="1475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" name="Слайд think-cell" r:id="rId20" imgW="270" imgH="270" progId="TCLayout.ActiveDocument.1">
                  <p:embed/>
                </p:oleObj>
              </mc:Choice>
              <mc:Fallback>
                <p:oleObj name="Слайд think-cell" r:id="rId20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75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02542" y="217890"/>
            <a:ext cx="8481695" cy="4743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2544" y="692269"/>
            <a:ext cx="8490869" cy="39980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77903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9302270" y="82154"/>
            <a:ext cx="612531" cy="436959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900" dirty="0">
                <a:solidFill>
                  <a:srgbClr val="FFFFFF"/>
                </a:solidFill>
              </a:rPr>
              <a:t>140</a:t>
            </a:r>
            <a:endParaRPr lang="ru-RU" sz="9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</a:t>
            </a:r>
            <a:r>
              <a:rPr lang="en-US" sz="900" dirty="0">
                <a:solidFill>
                  <a:srgbClr val="FFFFFF"/>
                </a:solidFill>
              </a:rPr>
              <a:t>49</a:t>
            </a: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302270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9302270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302270" y="3381387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302270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302270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302270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302270" y="2944417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302270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302270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9302272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302272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302272" y="3381390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302272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302272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302272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302272" y="2944417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302272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9302272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35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836759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6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418396" y="4700993"/>
            <a:ext cx="5846514" cy="3136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37" name="Дата 4"/>
          <p:cNvSpPr>
            <a:spLocks noGrp="1"/>
          </p:cNvSpPr>
          <p:nvPr>
            <p:ph type="dt" sz="half" idx="2"/>
          </p:nvPr>
        </p:nvSpPr>
        <p:spPr>
          <a:xfrm>
            <a:off x="6245225" y="4846677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fld id="{D792114C-181B-4473-8647-AFAFED971F73}" type="datetime1">
              <a:rPr lang="ru-RU" smtClean="0"/>
              <a:t>03.03.2023</a:t>
            </a:fld>
            <a:endParaRPr lang="ru-RU"/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6181" y="4864211"/>
            <a:ext cx="865964" cy="163649"/>
          </a:xfrm>
          <a:prstGeom prst="rect">
            <a:avLst/>
          </a:prstGeom>
        </p:spPr>
      </p:pic>
      <p:cxnSp>
        <p:nvCxnSpPr>
          <p:cNvPr id="39" name="Прямая соединительная линия 38"/>
          <p:cNvCxnSpPr/>
          <p:nvPr/>
        </p:nvCxnSpPr>
        <p:spPr bwMode="auto">
          <a:xfrm>
            <a:off x="6426200" y="4749736"/>
            <a:ext cx="2717800" cy="0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475755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92" r:id="rId15"/>
    <p:sldLayoutId id="2147483699" r:id="rId16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7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1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5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5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5865" indent="-1623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</a:defRPr>
      </a:lvl2pPr>
      <a:lvl3pPr marL="683121" indent="-9198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300">
          <a:solidFill>
            <a:schemeClr val="tx1"/>
          </a:solidFill>
          <a:latin typeface="+mn-lt"/>
        </a:defRPr>
      </a:lvl3pPr>
      <a:lvl4pPr marL="992892" indent="-150152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1220148" indent="-127156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55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68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81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93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12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5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8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51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63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78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89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102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63">
          <p15:clr>
            <a:srgbClr val="A4A3A4"/>
          </p15:clr>
        </p15:guide>
        <p15:guide id="2" pos="249">
          <p15:clr>
            <a:srgbClr val="A4A3A4"/>
          </p15:clr>
        </p15:guide>
        <p15:guide id="3" pos="560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80.jpeg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179.jpeg"/><Relationship Id="rId2" Type="http://schemas.openxmlformats.org/officeDocument/2006/relationships/tags" Target="../tags/tag9.xml"/><Relationship Id="rId16" Type="http://schemas.openxmlformats.org/officeDocument/2006/relationships/image" Target="../media/image183.jpeg"/><Relationship Id="rId1" Type="http://schemas.openxmlformats.org/officeDocument/2006/relationships/vmlDrawing" Target="../drawings/vmlDrawing7.vml"/><Relationship Id="rId6" Type="http://schemas.openxmlformats.org/officeDocument/2006/relationships/tags" Target="../tags/tag13.xml"/><Relationship Id="rId11" Type="http://schemas.openxmlformats.org/officeDocument/2006/relationships/image" Target="../media/image178.jpeg"/><Relationship Id="rId5" Type="http://schemas.openxmlformats.org/officeDocument/2006/relationships/tags" Target="../tags/tag12.xml"/><Relationship Id="rId15" Type="http://schemas.openxmlformats.org/officeDocument/2006/relationships/image" Target="../media/image182.emf"/><Relationship Id="rId10" Type="http://schemas.openxmlformats.org/officeDocument/2006/relationships/image" Target="../media/image177.png"/><Relationship Id="rId4" Type="http://schemas.openxmlformats.org/officeDocument/2006/relationships/tags" Target="../tags/tag11.xml"/><Relationship Id="rId9" Type="http://schemas.openxmlformats.org/officeDocument/2006/relationships/image" Target="../media/image165.emf"/><Relationship Id="rId14" Type="http://schemas.openxmlformats.org/officeDocument/2006/relationships/image" Target="../media/image18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5.png"/><Relationship Id="rId3" Type="http://schemas.openxmlformats.org/officeDocument/2006/relationships/tags" Target="../tags/tag15.xml"/><Relationship Id="rId7" Type="http://schemas.openxmlformats.org/officeDocument/2006/relationships/image" Target="../media/image184.png"/><Relationship Id="rId12" Type="http://schemas.openxmlformats.org/officeDocument/2006/relationships/image" Target="../media/image189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65.emf"/><Relationship Id="rId11" Type="http://schemas.openxmlformats.org/officeDocument/2006/relationships/image" Target="../media/image188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87.jpe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8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5.jpeg"/><Relationship Id="rId3" Type="http://schemas.openxmlformats.org/officeDocument/2006/relationships/image" Target="../media/image190.jpeg"/><Relationship Id="rId7" Type="http://schemas.openxmlformats.org/officeDocument/2006/relationships/image" Target="../media/image19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93.jpeg"/><Relationship Id="rId5" Type="http://schemas.openxmlformats.org/officeDocument/2006/relationships/image" Target="../media/image192.jpeg"/><Relationship Id="rId4" Type="http://schemas.openxmlformats.org/officeDocument/2006/relationships/image" Target="../media/image19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1.jpeg"/><Relationship Id="rId3" Type="http://schemas.openxmlformats.org/officeDocument/2006/relationships/image" Target="../media/image196.png"/><Relationship Id="rId7" Type="http://schemas.openxmlformats.org/officeDocument/2006/relationships/image" Target="../media/image20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99.jpeg"/><Relationship Id="rId11" Type="http://schemas.openxmlformats.org/officeDocument/2006/relationships/image" Target="../media/image204.jpeg"/><Relationship Id="rId5" Type="http://schemas.openxmlformats.org/officeDocument/2006/relationships/image" Target="../media/image198.jpeg"/><Relationship Id="rId10" Type="http://schemas.openxmlformats.org/officeDocument/2006/relationships/image" Target="../media/image203.jpeg"/><Relationship Id="rId4" Type="http://schemas.openxmlformats.org/officeDocument/2006/relationships/image" Target="../media/image197.jpeg"/><Relationship Id="rId9" Type="http://schemas.openxmlformats.org/officeDocument/2006/relationships/image" Target="../media/image202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8.jpeg"/><Relationship Id="rId18" Type="http://schemas.openxmlformats.org/officeDocument/2006/relationships/image" Target="../media/image23.jpeg"/><Relationship Id="rId3" Type="http://schemas.openxmlformats.org/officeDocument/2006/relationships/image" Target="../media/image9.png"/><Relationship Id="rId21" Type="http://schemas.openxmlformats.org/officeDocument/2006/relationships/image" Target="../media/image26.jpeg"/><Relationship Id="rId7" Type="http://schemas.openxmlformats.org/officeDocument/2006/relationships/image" Target="../media/image13.jpeg"/><Relationship Id="rId12" Type="http://schemas.openxmlformats.org/officeDocument/2006/relationships/hyperlink" Target="https://www.google.ru/url?sa=i&amp;rct=j&amp;q=&amp;esrc=s&amp;source=images&amp;cd=&amp;cad=rja&amp;uact=8&amp;ved=0ahUKEwjT27fsy-_VAhWjA5oKHQ6_CnwQjRwIBw&amp;url=https://www.quora.com/What-are-suitable-materials-for-a-car-bumper&amp;psig=AFQjCNGu9kwnYiRcYIwZ-rlekMJcWT-jBA&amp;ust=1503654544473630" TargetMode="External"/><Relationship Id="rId17" Type="http://schemas.openxmlformats.org/officeDocument/2006/relationships/image" Target="../media/image22.jpeg"/><Relationship Id="rId2" Type="http://schemas.openxmlformats.org/officeDocument/2006/relationships/image" Target="../media/image8.png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jpeg"/><Relationship Id="rId11" Type="http://schemas.openxmlformats.org/officeDocument/2006/relationships/image" Target="../media/image17.png"/><Relationship Id="rId5" Type="http://schemas.openxmlformats.org/officeDocument/2006/relationships/image" Target="../media/image11.jpeg"/><Relationship Id="rId15" Type="http://schemas.openxmlformats.org/officeDocument/2006/relationships/image" Target="../media/image20.wmf"/><Relationship Id="rId10" Type="http://schemas.openxmlformats.org/officeDocument/2006/relationships/image" Target="../media/image16.png"/><Relationship Id="rId19" Type="http://schemas.openxmlformats.org/officeDocument/2006/relationships/image" Target="../media/image24.png"/><Relationship Id="rId4" Type="http://schemas.openxmlformats.org/officeDocument/2006/relationships/image" Target="../media/image10.png"/><Relationship Id="rId9" Type="http://schemas.openxmlformats.org/officeDocument/2006/relationships/image" Target="../media/image15.jpeg"/><Relationship Id="rId14" Type="http://schemas.openxmlformats.org/officeDocument/2006/relationships/image" Target="../media/image19.w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0.png"/><Relationship Id="rId18" Type="http://schemas.openxmlformats.org/officeDocument/2006/relationships/image" Target="../media/image45.png"/><Relationship Id="rId26" Type="http://schemas.openxmlformats.org/officeDocument/2006/relationships/image" Target="../media/image53.png"/><Relationship Id="rId39" Type="http://schemas.openxmlformats.org/officeDocument/2006/relationships/image" Target="../media/image66.png"/><Relationship Id="rId21" Type="http://schemas.openxmlformats.org/officeDocument/2006/relationships/image" Target="../media/image48.png"/><Relationship Id="rId34" Type="http://schemas.openxmlformats.org/officeDocument/2006/relationships/image" Target="../media/image61.png"/><Relationship Id="rId42" Type="http://schemas.openxmlformats.org/officeDocument/2006/relationships/image" Target="../media/image69.png"/><Relationship Id="rId47" Type="http://schemas.openxmlformats.org/officeDocument/2006/relationships/image" Target="../media/image74.png"/><Relationship Id="rId50" Type="http://schemas.openxmlformats.org/officeDocument/2006/relationships/image" Target="../media/image77.png"/><Relationship Id="rId55" Type="http://schemas.openxmlformats.org/officeDocument/2006/relationships/image" Target="../media/image82.png"/><Relationship Id="rId63" Type="http://schemas.openxmlformats.org/officeDocument/2006/relationships/image" Target="../media/image9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6" Type="http://schemas.openxmlformats.org/officeDocument/2006/relationships/image" Target="../media/image43.png"/><Relationship Id="rId20" Type="http://schemas.openxmlformats.org/officeDocument/2006/relationships/image" Target="../media/image47.png"/><Relationship Id="rId29" Type="http://schemas.openxmlformats.org/officeDocument/2006/relationships/image" Target="../media/image56.png"/><Relationship Id="rId41" Type="http://schemas.openxmlformats.org/officeDocument/2006/relationships/image" Target="../media/image68.png"/><Relationship Id="rId54" Type="http://schemas.openxmlformats.org/officeDocument/2006/relationships/image" Target="../media/image81.png"/><Relationship Id="rId62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24" Type="http://schemas.openxmlformats.org/officeDocument/2006/relationships/image" Target="../media/image51.png"/><Relationship Id="rId32" Type="http://schemas.openxmlformats.org/officeDocument/2006/relationships/image" Target="../media/image59.png"/><Relationship Id="rId37" Type="http://schemas.openxmlformats.org/officeDocument/2006/relationships/image" Target="../media/image64.png"/><Relationship Id="rId40" Type="http://schemas.openxmlformats.org/officeDocument/2006/relationships/image" Target="../media/image67.png"/><Relationship Id="rId45" Type="http://schemas.openxmlformats.org/officeDocument/2006/relationships/image" Target="../media/image72.png"/><Relationship Id="rId53" Type="http://schemas.openxmlformats.org/officeDocument/2006/relationships/image" Target="../media/image80.png"/><Relationship Id="rId58" Type="http://schemas.openxmlformats.org/officeDocument/2006/relationships/image" Target="../media/image85.png"/><Relationship Id="rId66" Type="http://schemas.openxmlformats.org/officeDocument/2006/relationships/image" Target="../media/image93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23" Type="http://schemas.openxmlformats.org/officeDocument/2006/relationships/image" Target="../media/image50.png"/><Relationship Id="rId28" Type="http://schemas.openxmlformats.org/officeDocument/2006/relationships/image" Target="../media/image55.png"/><Relationship Id="rId36" Type="http://schemas.openxmlformats.org/officeDocument/2006/relationships/image" Target="../media/image63.png"/><Relationship Id="rId49" Type="http://schemas.openxmlformats.org/officeDocument/2006/relationships/image" Target="../media/image76.png"/><Relationship Id="rId57" Type="http://schemas.openxmlformats.org/officeDocument/2006/relationships/image" Target="../media/image84.png"/><Relationship Id="rId61" Type="http://schemas.openxmlformats.org/officeDocument/2006/relationships/image" Target="../media/image88.png"/><Relationship Id="rId10" Type="http://schemas.openxmlformats.org/officeDocument/2006/relationships/image" Target="../media/image37.png"/><Relationship Id="rId19" Type="http://schemas.openxmlformats.org/officeDocument/2006/relationships/image" Target="../media/image46.png"/><Relationship Id="rId31" Type="http://schemas.openxmlformats.org/officeDocument/2006/relationships/image" Target="../media/image58.png"/><Relationship Id="rId44" Type="http://schemas.openxmlformats.org/officeDocument/2006/relationships/image" Target="../media/image71.png"/><Relationship Id="rId52" Type="http://schemas.openxmlformats.org/officeDocument/2006/relationships/image" Target="../media/image79.png"/><Relationship Id="rId60" Type="http://schemas.openxmlformats.org/officeDocument/2006/relationships/image" Target="../media/image87.png"/><Relationship Id="rId65" Type="http://schemas.openxmlformats.org/officeDocument/2006/relationships/image" Target="../media/image92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Relationship Id="rId14" Type="http://schemas.openxmlformats.org/officeDocument/2006/relationships/image" Target="../media/image41.png"/><Relationship Id="rId22" Type="http://schemas.openxmlformats.org/officeDocument/2006/relationships/image" Target="../media/image49.png"/><Relationship Id="rId27" Type="http://schemas.openxmlformats.org/officeDocument/2006/relationships/image" Target="../media/image54.png"/><Relationship Id="rId30" Type="http://schemas.openxmlformats.org/officeDocument/2006/relationships/image" Target="../media/image57.png"/><Relationship Id="rId35" Type="http://schemas.openxmlformats.org/officeDocument/2006/relationships/image" Target="../media/image62.png"/><Relationship Id="rId43" Type="http://schemas.openxmlformats.org/officeDocument/2006/relationships/image" Target="../media/image70.png"/><Relationship Id="rId48" Type="http://schemas.openxmlformats.org/officeDocument/2006/relationships/image" Target="../media/image75.png"/><Relationship Id="rId56" Type="http://schemas.openxmlformats.org/officeDocument/2006/relationships/image" Target="../media/image83.png"/><Relationship Id="rId64" Type="http://schemas.openxmlformats.org/officeDocument/2006/relationships/image" Target="../media/image91.png"/><Relationship Id="rId8" Type="http://schemas.openxmlformats.org/officeDocument/2006/relationships/image" Target="../media/image35.png"/><Relationship Id="rId51" Type="http://schemas.openxmlformats.org/officeDocument/2006/relationships/image" Target="../media/image78.png"/><Relationship Id="rId3" Type="http://schemas.openxmlformats.org/officeDocument/2006/relationships/image" Target="../media/image30.png"/><Relationship Id="rId12" Type="http://schemas.openxmlformats.org/officeDocument/2006/relationships/image" Target="../media/image39.png"/><Relationship Id="rId17" Type="http://schemas.openxmlformats.org/officeDocument/2006/relationships/image" Target="../media/image44.png"/><Relationship Id="rId25" Type="http://schemas.openxmlformats.org/officeDocument/2006/relationships/image" Target="../media/image52.png"/><Relationship Id="rId33" Type="http://schemas.openxmlformats.org/officeDocument/2006/relationships/image" Target="../media/image60.png"/><Relationship Id="rId38" Type="http://schemas.openxmlformats.org/officeDocument/2006/relationships/image" Target="../media/image65.png"/><Relationship Id="rId46" Type="http://schemas.openxmlformats.org/officeDocument/2006/relationships/image" Target="../media/image73.png"/><Relationship Id="rId59" Type="http://schemas.openxmlformats.org/officeDocument/2006/relationships/image" Target="../media/image86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5.png"/><Relationship Id="rId18" Type="http://schemas.openxmlformats.org/officeDocument/2006/relationships/image" Target="../media/image110.png"/><Relationship Id="rId26" Type="http://schemas.openxmlformats.org/officeDocument/2006/relationships/image" Target="../media/image118.png"/><Relationship Id="rId39" Type="http://schemas.openxmlformats.org/officeDocument/2006/relationships/image" Target="../media/image131.png"/><Relationship Id="rId21" Type="http://schemas.openxmlformats.org/officeDocument/2006/relationships/image" Target="../media/image113.png"/><Relationship Id="rId34" Type="http://schemas.openxmlformats.org/officeDocument/2006/relationships/image" Target="../media/image126.png"/><Relationship Id="rId42" Type="http://schemas.openxmlformats.org/officeDocument/2006/relationships/image" Target="../media/image134.png"/><Relationship Id="rId47" Type="http://schemas.openxmlformats.org/officeDocument/2006/relationships/image" Target="../media/image139.png"/><Relationship Id="rId50" Type="http://schemas.openxmlformats.org/officeDocument/2006/relationships/image" Target="../media/image142.png"/><Relationship Id="rId55" Type="http://schemas.openxmlformats.org/officeDocument/2006/relationships/image" Target="../media/image147.png"/><Relationship Id="rId63" Type="http://schemas.openxmlformats.org/officeDocument/2006/relationships/image" Target="../media/image155.png"/><Relationship Id="rId68" Type="http://schemas.openxmlformats.org/officeDocument/2006/relationships/image" Target="../media/image160.png"/><Relationship Id="rId7" Type="http://schemas.openxmlformats.org/officeDocument/2006/relationships/image" Target="../media/image99.png"/><Relationship Id="rId2" Type="http://schemas.openxmlformats.org/officeDocument/2006/relationships/image" Target="../media/image94.png"/><Relationship Id="rId16" Type="http://schemas.openxmlformats.org/officeDocument/2006/relationships/image" Target="../media/image108.png"/><Relationship Id="rId29" Type="http://schemas.openxmlformats.org/officeDocument/2006/relationships/image" Target="../media/image1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8.png"/><Relationship Id="rId11" Type="http://schemas.openxmlformats.org/officeDocument/2006/relationships/image" Target="../media/image103.png"/><Relationship Id="rId24" Type="http://schemas.openxmlformats.org/officeDocument/2006/relationships/image" Target="../media/image116.png"/><Relationship Id="rId32" Type="http://schemas.openxmlformats.org/officeDocument/2006/relationships/image" Target="../media/image124.png"/><Relationship Id="rId37" Type="http://schemas.openxmlformats.org/officeDocument/2006/relationships/image" Target="../media/image129.png"/><Relationship Id="rId40" Type="http://schemas.openxmlformats.org/officeDocument/2006/relationships/image" Target="../media/image132.png"/><Relationship Id="rId45" Type="http://schemas.openxmlformats.org/officeDocument/2006/relationships/image" Target="../media/image137.png"/><Relationship Id="rId53" Type="http://schemas.openxmlformats.org/officeDocument/2006/relationships/image" Target="../media/image145.png"/><Relationship Id="rId58" Type="http://schemas.openxmlformats.org/officeDocument/2006/relationships/image" Target="../media/image150.png"/><Relationship Id="rId66" Type="http://schemas.openxmlformats.org/officeDocument/2006/relationships/image" Target="../media/image158.png"/><Relationship Id="rId5" Type="http://schemas.openxmlformats.org/officeDocument/2006/relationships/image" Target="../media/image97.png"/><Relationship Id="rId15" Type="http://schemas.openxmlformats.org/officeDocument/2006/relationships/image" Target="../media/image107.png"/><Relationship Id="rId23" Type="http://schemas.openxmlformats.org/officeDocument/2006/relationships/image" Target="../media/image115.png"/><Relationship Id="rId28" Type="http://schemas.openxmlformats.org/officeDocument/2006/relationships/image" Target="../media/image120.png"/><Relationship Id="rId36" Type="http://schemas.openxmlformats.org/officeDocument/2006/relationships/image" Target="../media/image128.png"/><Relationship Id="rId49" Type="http://schemas.openxmlformats.org/officeDocument/2006/relationships/image" Target="../media/image141.png"/><Relationship Id="rId57" Type="http://schemas.openxmlformats.org/officeDocument/2006/relationships/image" Target="../media/image149.png"/><Relationship Id="rId61" Type="http://schemas.openxmlformats.org/officeDocument/2006/relationships/image" Target="../media/image153.png"/><Relationship Id="rId10" Type="http://schemas.openxmlformats.org/officeDocument/2006/relationships/image" Target="../media/image102.png"/><Relationship Id="rId19" Type="http://schemas.openxmlformats.org/officeDocument/2006/relationships/image" Target="../media/image111.png"/><Relationship Id="rId31" Type="http://schemas.openxmlformats.org/officeDocument/2006/relationships/image" Target="../media/image123.png"/><Relationship Id="rId44" Type="http://schemas.openxmlformats.org/officeDocument/2006/relationships/image" Target="../media/image136.png"/><Relationship Id="rId52" Type="http://schemas.openxmlformats.org/officeDocument/2006/relationships/image" Target="../media/image144.png"/><Relationship Id="rId60" Type="http://schemas.openxmlformats.org/officeDocument/2006/relationships/image" Target="../media/image152.png"/><Relationship Id="rId65" Type="http://schemas.openxmlformats.org/officeDocument/2006/relationships/image" Target="../media/image157.png"/><Relationship Id="rId4" Type="http://schemas.openxmlformats.org/officeDocument/2006/relationships/image" Target="../media/image96.png"/><Relationship Id="rId9" Type="http://schemas.openxmlformats.org/officeDocument/2006/relationships/image" Target="../media/image101.png"/><Relationship Id="rId14" Type="http://schemas.openxmlformats.org/officeDocument/2006/relationships/image" Target="../media/image106.png"/><Relationship Id="rId22" Type="http://schemas.openxmlformats.org/officeDocument/2006/relationships/image" Target="../media/image114.png"/><Relationship Id="rId27" Type="http://schemas.openxmlformats.org/officeDocument/2006/relationships/image" Target="../media/image119.png"/><Relationship Id="rId30" Type="http://schemas.openxmlformats.org/officeDocument/2006/relationships/image" Target="../media/image122.png"/><Relationship Id="rId35" Type="http://schemas.openxmlformats.org/officeDocument/2006/relationships/image" Target="../media/image127.png"/><Relationship Id="rId43" Type="http://schemas.openxmlformats.org/officeDocument/2006/relationships/image" Target="../media/image135.png"/><Relationship Id="rId48" Type="http://schemas.openxmlformats.org/officeDocument/2006/relationships/image" Target="../media/image140.png"/><Relationship Id="rId56" Type="http://schemas.openxmlformats.org/officeDocument/2006/relationships/image" Target="../media/image148.png"/><Relationship Id="rId64" Type="http://schemas.openxmlformats.org/officeDocument/2006/relationships/image" Target="../media/image156.png"/><Relationship Id="rId69" Type="http://schemas.openxmlformats.org/officeDocument/2006/relationships/image" Target="../media/image161.png"/><Relationship Id="rId8" Type="http://schemas.openxmlformats.org/officeDocument/2006/relationships/image" Target="../media/image100.png"/><Relationship Id="rId51" Type="http://schemas.openxmlformats.org/officeDocument/2006/relationships/image" Target="../media/image143.png"/><Relationship Id="rId3" Type="http://schemas.openxmlformats.org/officeDocument/2006/relationships/image" Target="../media/image95.png"/><Relationship Id="rId12" Type="http://schemas.openxmlformats.org/officeDocument/2006/relationships/image" Target="../media/image104.png"/><Relationship Id="rId17" Type="http://schemas.openxmlformats.org/officeDocument/2006/relationships/image" Target="../media/image109.png"/><Relationship Id="rId25" Type="http://schemas.openxmlformats.org/officeDocument/2006/relationships/image" Target="../media/image117.png"/><Relationship Id="rId33" Type="http://schemas.openxmlformats.org/officeDocument/2006/relationships/image" Target="../media/image125.png"/><Relationship Id="rId38" Type="http://schemas.openxmlformats.org/officeDocument/2006/relationships/image" Target="../media/image130.png"/><Relationship Id="rId46" Type="http://schemas.openxmlformats.org/officeDocument/2006/relationships/image" Target="../media/image138.png"/><Relationship Id="rId59" Type="http://schemas.openxmlformats.org/officeDocument/2006/relationships/image" Target="../media/image151.png"/><Relationship Id="rId67" Type="http://schemas.openxmlformats.org/officeDocument/2006/relationships/image" Target="../media/image159.png"/><Relationship Id="rId20" Type="http://schemas.openxmlformats.org/officeDocument/2006/relationships/image" Target="../media/image112.png"/><Relationship Id="rId41" Type="http://schemas.openxmlformats.org/officeDocument/2006/relationships/image" Target="../media/image133.png"/><Relationship Id="rId54" Type="http://schemas.openxmlformats.org/officeDocument/2006/relationships/image" Target="../media/image146.png"/><Relationship Id="rId62" Type="http://schemas.openxmlformats.org/officeDocument/2006/relationships/image" Target="../media/image15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8.jpeg"/><Relationship Id="rId13" Type="http://schemas.openxmlformats.org/officeDocument/2006/relationships/image" Target="../media/image173.jpe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67.png"/><Relationship Id="rId12" Type="http://schemas.openxmlformats.org/officeDocument/2006/relationships/image" Target="../media/image172.jpeg"/><Relationship Id="rId2" Type="http://schemas.openxmlformats.org/officeDocument/2006/relationships/tags" Target="../tags/tag8.xml"/><Relationship Id="rId16" Type="http://schemas.openxmlformats.org/officeDocument/2006/relationships/image" Target="../media/image176.jpe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66.png"/><Relationship Id="rId11" Type="http://schemas.openxmlformats.org/officeDocument/2006/relationships/image" Target="../media/image171.jpeg"/><Relationship Id="rId5" Type="http://schemas.openxmlformats.org/officeDocument/2006/relationships/image" Target="../media/image165.emf"/><Relationship Id="rId15" Type="http://schemas.openxmlformats.org/officeDocument/2006/relationships/image" Target="../media/image175.jpeg"/><Relationship Id="rId10" Type="http://schemas.openxmlformats.org/officeDocument/2006/relationships/image" Target="../media/image170.jpe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69.png"/><Relationship Id="rId14" Type="http://schemas.openxmlformats.org/officeDocument/2006/relationships/image" Target="../media/image17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902567" y="1651745"/>
            <a:ext cx="4960596" cy="1470948"/>
          </a:xfrm>
        </p:spPr>
        <p:txBody>
          <a:bodyPr anchor="ctr">
            <a:noAutofit/>
          </a:bodyPr>
          <a:lstStyle/>
          <a:p>
            <a:r>
              <a:rPr lang="ru-RU" sz="2400" dirty="0" smtClean="0">
                <a:latin typeface="Arial Narrow" panose="020B0606020202030204" pitchFamily="34" charset="0"/>
              </a:rPr>
              <a:t>ТЕХНОЛОГИИ </a:t>
            </a:r>
            <a:r>
              <a:rPr lang="ru-RU" sz="2400" dirty="0">
                <a:latin typeface="Arial Narrow" panose="020B0606020202030204" pitchFamily="34" charset="0"/>
              </a:rPr>
              <a:t>ПРОИЗВОДСТВА </a:t>
            </a:r>
            <a:r>
              <a:rPr lang="ru-RU" sz="2400" dirty="0" smtClean="0">
                <a:latin typeface="Arial Narrow" panose="020B0606020202030204" pitchFamily="34" charset="0"/>
              </a:rPr>
              <a:t>ИЗДЕЛИЙ В </a:t>
            </a:r>
            <a:r>
              <a:rPr lang="ru-RU" sz="2400" dirty="0" smtClean="0">
                <a:latin typeface="Arial Narrow" panose="020B0606020202030204" pitchFamily="34" charset="0"/>
              </a:rPr>
              <a:t>МЕТОДОМ ЛИТЬЯ ПОД ДАВЛЕНИЕМ</a:t>
            </a:r>
            <a:r>
              <a:rPr lang="ru-RU" sz="2400" dirty="0" smtClean="0">
                <a:latin typeface="Arial Narrow" panose="020B0606020202030204" pitchFamily="34" charset="0"/>
              </a:rPr>
              <a:t> </a:t>
            </a:r>
            <a:r>
              <a:rPr lang="ru-RU" sz="2400" dirty="0" smtClean="0">
                <a:latin typeface="Arial Narrow" panose="020B0606020202030204" pitchFamily="34" charset="0"/>
              </a:rPr>
              <a:t>И </a:t>
            </a:r>
            <a:r>
              <a:rPr lang="ru-RU" sz="2400" dirty="0">
                <a:latin typeface="Arial Narrow" panose="020B0606020202030204" pitchFamily="34" charset="0"/>
              </a:rPr>
              <a:t>СПЕЦИАЛЬНЫЕ ПРОДУКТОВЫЕ РЕШЕНИЯ СИБУР</a:t>
            </a:r>
          </a:p>
        </p:txBody>
      </p:sp>
    </p:spTree>
    <p:extLst>
      <p:ext uri="{BB962C8B-B14F-4D97-AF65-F5344CB8AC3E}">
        <p14:creationId xmlns:p14="http://schemas.microsoft.com/office/powerpoint/2010/main" val="633273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0</a:t>
            </a:fld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4444538"/>
              </p:ext>
            </p:extLst>
          </p:nvPr>
        </p:nvGraphicFramePr>
        <p:xfrm>
          <a:off x="125852" y="650289"/>
          <a:ext cx="8706723" cy="34911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1352">
                  <a:extLst>
                    <a:ext uri="{9D8B030D-6E8A-4147-A177-3AD203B41FA5}">
                      <a16:colId xmlns:a16="http://schemas.microsoft.com/office/drawing/2014/main" val="1449241621"/>
                    </a:ext>
                  </a:extLst>
                </a:gridCol>
                <a:gridCol w="12583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5818">
                  <a:extLst>
                    <a:ext uri="{9D8B030D-6E8A-4147-A177-3AD203B41FA5}">
                      <a16:colId xmlns:a16="http://schemas.microsoft.com/office/drawing/2014/main" val="3421550606"/>
                    </a:ext>
                  </a:extLst>
                </a:gridCol>
                <a:gridCol w="1123066">
                  <a:extLst>
                    <a:ext uri="{9D8B030D-6E8A-4147-A177-3AD203B41FA5}">
                      <a16:colId xmlns:a16="http://schemas.microsoft.com/office/drawing/2014/main" val="2857469748"/>
                    </a:ext>
                  </a:extLst>
                </a:gridCol>
                <a:gridCol w="1260765">
                  <a:extLst>
                    <a:ext uri="{9D8B030D-6E8A-4147-A177-3AD203B41FA5}">
                      <a16:colId xmlns:a16="http://schemas.microsoft.com/office/drawing/2014/main" val="3472340020"/>
                    </a:ext>
                  </a:extLst>
                </a:gridCol>
                <a:gridCol w="1308235">
                  <a:extLst>
                    <a:ext uri="{9D8B030D-6E8A-4147-A177-3AD203B41FA5}">
                      <a16:colId xmlns:a16="http://schemas.microsoft.com/office/drawing/2014/main" val="953588323"/>
                    </a:ext>
                  </a:extLst>
                </a:gridCol>
                <a:gridCol w="1159115">
                  <a:extLst>
                    <a:ext uri="{9D8B030D-6E8A-4147-A177-3AD203B41FA5}">
                      <a16:colId xmlns:a16="http://schemas.microsoft.com/office/drawing/2014/main" val="1835726950"/>
                    </a:ext>
                  </a:extLst>
                </a:gridCol>
              </a:tblGrid>
              <a:tr h="383835"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rgbClr val="008C95"/>
                          </a:solidFill>
                          <a:latin typeface="Arial Narrow" panose="020B0606020202030204" pitchFamily="34" charset="0"/>
                        </a:rPr>
                        <a:t>СВОЙСТВА</a:t>
                      </a: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4216M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PP4445S</a:t>
                      </a: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4445T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PP4445U</a:t>
                      </a: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R481 IM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4545S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226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Наличие добавок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азовая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рецептура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светлитель</a:t>
                      </a:r>
                      <a:endParaRPr kumimoji="0" lang="ru-RU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светлитель</a:t>
                      </a:r>
                      <a:endParaRPr kumimoji="0" lang="ru-RU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светлитель</a:t>
                      </a:r>
                      <a:endParaRPr kumimoji="0" lang="ru-RU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светлитель</a:t>
                      </a:r>
                      <a:endParaRPr kumimoji="0" lang="ru-RU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светлитель</a:t>
                      </a:r>
                      <a:endParaRPr kumimoji="0" lang="ru-RU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6194104"/>
                  </a:ext>
                </a:extLst>
              </a:tr>
              <a:tr h="331120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ПТР, г/10 мин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8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8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637188"/>
                  </a:ext>
                </a:extLst>
              </a:tr>
              <a:tr h="294608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Модуль упругости,</a:t>
                      </a:r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МПа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1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239360"/>
                  </a:ext>
                </a:extLst>
              </a:tr>
              <a:tr h="1434893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сновные характеристики</a:t>
                      </a:r>
                      <a:endParaRPr lang="ru-RU" sz="1000" b="1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балансированные физико-механические свойства и технологичность переработки. Не содержит </a:t>
                      </a:r>
                      <a:r>
                        <a:rPr kumimoji="0" lang="ru-RU" sz="9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антиблокирующую</a:t>
                      </a: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и скользящую добавки.</a:t>
                      </a: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algn="l" defTabSz="779021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дукты характеризуются высокой текучестью, специальным составом рецептуры стабилизации, обеспечивающим улучшенные оптические свойства и сбалансированное сочетание жесткости и ударной вязкости. Предназначены для скоростного литья под давлением прозрачных изделий</a:t>
                      </a:r>
                      <a:endParaRPr lang="ru-RU" sz="105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сокая текучесть, сбалансированная жёсткость и </a:t>
                      </a:r>
                      <a:r>
                        <a:rPr kumimoji="0" lang="ru-RU" sz="9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ударопрочность</a:t>
                      </a: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, высокая прозрачность</a:t>
                      </a: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45018"/>
                  </a:ext>
                </a:extLst>
              </a:tr>
              <a:tr h="593959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Рекомендуемое</a:t>
                      </a:r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назначение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олстостенные изделия, колпачки, литьевые компаунды, медицинские издел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требительская и пищевая тара, медицинская посуда, цилиндры шприцев, колпачк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зделия с высокой прозрачностью и жесткостью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020875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D9EA5721-447A-4F1E-BE0D-CB91B60E27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933" y="104025"/>
            <a:ext cx="8200013" cy="492443"/>
          </a:xfrm>
        </p:spPr>
        <p:txBody>
          <a:bodyPr vert="horz">
            <a:spAutoFit/>
          </a:bodyPr>
          <a:lstStyle/>
          <a:p>
            <a:r>
              <a:rPr lang="ru-RU" sz="1600" dirty="0" smtClean="0">
                <a:latin typeface="Arial Narrow" panose="020B0606020202030204" pitchFamily="34" charset="0"/>
              </a:rPr>
              <a:t>ТЕКУЩИЕ ПРОДУКТОВЫЕ РЕШЕНИЯ ДЛЯ СЕГМЕНТА ЛИТЬЕ ПОД ДАВЛЕНИЕМ.</a:t>
            </a:r>
            <a:br>
              <a:rPr lang="ru-RU" sz="1600" dirty="0" smtClean="0">
                <a:latin typeface="Arial Narrow" panose="020B0606020202030204" pitchFamily="34" charset="0"/>
              </a:rPr>
            </a:br>
            <a:r>
              <a:rPr lang="ru-RU" sz="1600" dirty="0" err="1" smtClean="0">
                <a:latin typeface="Arial Narrow" panose="020B0606020202030204" pitchFamily="34" charset="0"/>
              </a:rPr>
              <a:t>Статсополимеры</a:t>
            </a:r>
            <a:r>
              <a:rPr lang="ru-RU" sz="1600" dirty="0" smtClean="0">
                <a:latin typeface="Arial Narrow" panose="020B0606020202030204" pitchFamily="34" charset="0"/>
              </a:rPr>
              <a:t> ПП</a:t>
            </a:r>
            <a:endParaRPr lang="en-US" sz="16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0304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3" name="Слайд think-cell" r:id="rId8" imgW="278" imgH="278" progId="TCLayout.ActiveDocument.1">
                  <p:embed/>
                </p:oleObj>
              </mc:Choice>
              <mc:Fallback>
                <p:oleObj name="Слайд think-cell" r:id="rId8" imgW="278" imgH="27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Примеры готовых изделий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1530838"/>
              </p:ext>
            </p:extLst>
          </p:nvPr>
        </p:nvGraphicFramePr>
        <p:xfrm>
          <a:off x="290027" y="637409"/>
          <a:ext cx="8594210" cy="10702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14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6116">
                  <a:extLst>
                    <a:ext uri="{9D8B030D-6E8A-4147-A177-3AD203B41FA5}">
                      <a16:colId xmlns:a16="http://schemas.microsoft.com/office/drawing/2014/main" val="3421550606"/>
                    </a:ext>
                  </a:extLst>
                </a:gridCol>
                <a:gridCol w="1348898">
                  <a:extLst>
                    <a:ext uri="{9D8B030D-6E8A-4147-A177-3AD203B41FA5}">
                      <a16:colId xmlns:a16="http://schemas.microsoft.com/office/drawing/2014/main" val="2857469748"/>
                    </a:ext>
                  </a:extLst>
                </a:gridCol>
                <a:gridCol w="1514286">
                  <a:extLst>
                    <a:ext uri="{9D8B030D-6E8A-4147-A177-3AD203B41FA5}">
                      <a16:colId xmlns:a16="http://schemas.microsoft.com/office/drawing/2014/main" val="3472340020"/>
                    </a:ext>
                  </a:extLst>
                </a:gridCol>
                <a:gridCol w="1571302">
                  <a:extLst>
                    <a:ext uri="{9D8B030D-6E8A-4147-A177-3AD203B41FA5}">
                      <a16:colId xmlns:a16="http://schemas.microsoft.com/office/drawing/2014/main" val="953588323"/>
                    </a:ext>
                  </a:extLst>
                </a:gridCol>
                <a:gridCol w="1392196">
                  <a:extLst>
                    <a:ext uri="{9D8B030D-6E8A-4147-A177-3AD203B41FA5}">
                      <a16:colId xmlns:a16="http://schemas.microsoft.com/office/drawing/2014/main" val="1835726950"/>
                    </a:ext>
                  </a:extLst>
                </a:gridCol>
              </a:tblGrid>
              <a:tr h="391848"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4216M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PP4445S</a:t>
                      </a: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4445T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PP4445U</a:t>
                      </a: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R481 IM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4545S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6359"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олстостенные изделия, колпачки, литьевые компаунды, медицинские изделия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требительская и пищевая тара, медицинская посуда, цилиндры шприцев, колпачк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зделия с высокой прозрачностью и жесткостью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020875"/>
                  </a:ext>
                </a:extLst>
              </a:tr>
            </a:tbl>
          </a:graphicData>
        </a:graphic>
      </p:graphicFrame>
      <p:pic>
        <p:nvPicPr>
          <p:cNvPr id="6" name="Picture 16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23779" y="2009140"/>
            <a:ext cx="1077074" cy="718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98" descr="http://retailis.ru/data/id-41809/0/Konteyner-sterilnyy-klinsa-dlya-biomaterialov-s-kryshkoy-lozhka-shpatel-60-ml.jpeg">
            <a:extLst>
              <a:ext uri="{FF2B5EF4-FFF2-40B4-BE49-F238E27FC236}">
                <a16:creationId xmlns:a16="http://schemas.microsoft.com/office/drawing/2014/main" id="{58270ACB-5561-4C13-97D8-1FA6359769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54" r="19313" b="4169"/>
          <a:stretch/>
        </p:blipFill>
        <p:spPr bwMode="auto">
          <a:xfrm>
            <a:off x="3508805" y="2127210"/>
            <a:ext cx="210962" cy="351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9" descr="C:\Users\PanarinVV\Desktop\Фото\литье.jpg">
            <a:extLst>
              <a:ext uri="{FF2B5EF4-FFF2-40B4-BE49-F238E27FC236}">
                <a16:creationId xmlns:a16="http://schemas.microsoft.com/office/drawing/2014/main" id="{81E42231-C012-437A-94CF-294F7DCECB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6" t="23983" r="2086" b="21951"/>
          <a:stretch/>
        </p:blipFill>
        <p:spPr bwMode="auto">
          <a:xfrm>
            <a:off x="7560534" y="1947904"/>
            <a:ext cx="1049392" cy="58923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9" name="Picture 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7553" y="1947904"/>
            <a:ext cx="926041" cy="925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11" name="Picture 11" descr="https://avatars.mds.yandex.net/i?id=8ca96b692b85c4c38596f8fe1d37b648-5888889-images-thumbs&amp;n=1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143" y="1852197"/>
            <a:ext cx="1328795" cy="1032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297293" y="2884271"/>
            <a:ext cx="692191" cy="686224"/>
          </a:xfrm>
          <a:prstGeom prst="rect">
            <a:avLst/>
          </a:prstGeom>
        </p:spPr>
      </p:pic>
      <p:pic>
        <p:nvPicPr>
          <p:cNvPr id="16" name="Picture 16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23779" y="1981670"/>
            <a:ext cx="1077074" cy="71818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98" descr="http://retailis.ru/data/id-41809/0/Konteyner-sterilnyy-klinsa-dlya-biomaterialov-s-kryshkoy-lozhka-shpatel-60-ml.jpeg">
            <a:extLst>
              <a:ext uri="{FF2B5EF4-FFF2-40B4-BE49-F238E27FC236}">
                <a16:creationId xmlns:a16="http://schemas.microsoft.com/office/drawing/2014/main" id="{58270ACB-5561-4C13-97D8-1FA6359769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54" r="19313" b="4169"/>
          <a:stretch/>
        </p:blipFill>
        <p:spPr bwMode="auto">
          <a:xfrm>
            <a:off x="3508805" y="2099740"/>
            <a:ext cx="210962" cy="3513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8" name="Picture 7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97348" y="1718230"/>
            <a:ext cx="1179568" cy="117929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094681" y="3656144"/>
            <a:ext cx="984902" cy="97641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5624" name="Picture 24" descr="https://ntk-optima.ru/assets/images/news/kontejnery_polipropilenovye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2931" y="2699858"/>
            <a:ext cx="2503850" cy="1678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9101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2</a:t>
            </a:fld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7791688"/>
              </p:ext>
            </p:extLst>
          </p:nvPr>
        </p:nvGraphicFramePr>
        <p:xfrm>
          <a:off x="125854" y="650289"/>
          <a:ext cx="8753105" cy="40243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9740">
                  <a:extLst>
                    <a:ext uri="{9D8B030D-6E8A-4147-A177-3AD203B41FA5}">
                      <a16:colId xmlns:a16="http://schemas.microsoft.com/office/drawing/2014/main" val="1449241621"/>
                    </a:ext>
                  </a:extLst>
                </a:gridCol>
                <a:gridCol w="7123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8082">
                  <a:extLst>
                    <a:ext uri="{9D8B030D-6E8A-4147-A177-3AD203B41FA5}">
                      <a16:colId xmlns:a16="http://schemas.microsoft.com/office/drawing/2014/main" val="3133856597"/>
                    </a:ext>
                  </a:extLst>
                </a:gridCol>
                <a:gridCol w="645796">
                  <a:extLst>
                    <a:ext uri="{9D8B030D-6E8A-4147-A177-3AD203B41FA5}">
                      <a16:colId xmlns:a16="http://schemas.microsoft.com/office/drawing/2014/main" val="3421550606"/>
                    </a:ext>
                  </a:extLst>
                </a:gridCol>
                <a:gridCol w="649357">
                  <a:extLst>
                    <a:ext uri="{9D8B030D-6E8A-4147-A177-3AD203B41FA5}">
                      <a16:colId xmlns:a16="http://schemas.microsoft.com/office/drawing/2014/main" val="2857469748"/>
                    </a:ext>
                  </a:extLst>
                </a:gridCol>
                <a:gridCol w="751152">
                  <a:extLst>
                    <a:ext uri="{9D8B030D-6E8A-4147-A177-3AD203B41FA5}">
                      <a16:colId xmlns:a16="http://schemas.microsoft.com/office/drawing/2014/main" val="3861041685"/>
                    </a:ext>
                  </a:extLst>
                </a:gridCol>
                <a:gridCol w="627074">
                  <a:extLst>
                    <a:ext uri="{9D8B030D-6E8A-4147-A177-3AD203B41FA5}">
                      <a16:colId xmlns:a16="http://schemas.microsoft.com/office/drawing/2014/main" val="3472340020"/>
                    </a:ext>
                  </a:extLst>
                </a:gridCol>
                <a:gridCol w="618530">
                  <a:extLst>
                    <a:ext uri="{9D8B030D-6E8A-4147-A177-3AD203B41FA5}">
                      <a16:colId xmlns:a16="http://schemas.microsoft.com/office/drawing/2014/main" val="953588323"/>
                    </a:ext>
                  </a:extLst>
                </a:gridCol>
                <a:gridCol w="657606">
                  <a:extLst>
                    <a:ext uri="{9D8B030D-6E8A-4147-A177-3AD203B41FA5}">
                      <a16:colId xmlns:a16="http://schemas.microsoft.com/office/drawing/2014/main" val="1835726950"/>
                    </a:ext>
                  </a:extLst>
                </a:gridCol>
                <a:gridCol w="685565">
                  <a:extLst>
                    <a:ext uri="{9D8B030D-6E8A-4147-A177-3AD203B41FA5}">
                      <a16:colId xmlns:a16="http://schemas.microsoft.com/office/drawing/2014/main" val="3066531738"/>
                    </a:ext>
                  </a:extLst>
                </a:gridCol>
                <a:gridCol w="665400">
                  <a:extLst>
                    <a:ext uri="{9D8B030D-6E8A-4147-A177-3AD203B41FA5}">
                      <a16:colId xmlns:a16="http://schemas.microsoft.com/office/drawing/2014/main" val="4205433650"/>
                    </a:ext>
                  </a:extLst>
                </a:gridCol>
                <a:gridCol w="712449">
                  <a:extLst>
                    <a:ext uri="{9D8B030D-6E8A-4147-A177-3AD203B41FA5}">
                      <a16:colId xmlns:a16="http://schemas.microsoft.com/office/drawing/2014/main" val="4161436657"/>
                    </a:ext>
                  </a:extLst>
                </a:gridCol>
              </a:tblGrid>
              <a:tr h="383835"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rgbClr val="008C95"/>
                          </a:solidFill>
                          <a:latin typeface="Arial Narrow" panose="020B0606020202030204" pitchFamily="34" charset="0"/>
                        </a:rPr>
                        <a:t>СВОЙСТВА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PP</a:t>
                      </a: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</a:rPr>
                        <a:t>7445</a:t>
                      </a: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LM</a:t>
                      </a:r>
                      <a:endParaRPr lang="ru-RU" sz="9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PP8332M</a:t>
                      </a:r>
                      <a:endParaRPr lang="ru-RU" sz="9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PP8300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PP8400N</a:t>
                      </a:r>
                      <a:endParaRPr lang="ru-RU" sz="9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PP I122</a:t>
                      </a: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 IM</a:t>
                      </a:r>
                      <a:endParaRPr lang="ru-RU" sz="9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PP8348P</a:t>
                      </a:r>
                      <a:endParaRPr lang="ru-RU" sz="9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PP8440R</a:t>
                      </a:r>
                      <a:endParaRPr lang="ru-RU" sz="9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PP8348SM</a:t>
                      </a:r>
                      <a:endParaRPr lang="ru-RU" sz="9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PP I452 IM</a:t>
                      </a:r>
                      <a:endParaRPr lang="ru-RU" sz="9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PP8440T</a:t>
                      </a:r>
                      <a:endParaRPr lang="ru-RU" sz="9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PP7540U</a:t>
                      </a:r>
                      <a:endParaRPr lang="ru-RU" sz="9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226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Наличие добавок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, слип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пец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стабилизатор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noProof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азовая рецептура</a:t>
                      </a:r>
                      <a:endParaRPr lang="ru-RU" sz="1000" b="1" kern="1200" noProof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kumimoji="0" lang="ru-RU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kumimoji="0" lang="ru-RU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kumimoji="0" lang="ru-RU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6194104"/>
                  </a:ext>
                </a:extLst>
              </a:tr>
              <a:tr h="331120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ПТР, г/10 мин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accent1">
                              <a:lumMod val="60000"/>
                              <a:lumOff val="4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8,5</a:t>
                      </a:r>
                      <a:endParaRPr lang="ru-RU" sz="1000" b="1" kern="1200" dirty="0">
                        <a:solidFill>
                          <a:schemeClr val="accent1">
                            <a:lumMod val="60000"/>
                            <a:lumOff val="40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3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8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637188"/>
                  </a:ext>
                </a:extLst>
              </a:tr>
              <a:tr h="416052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Модуль упругости,</a:t>
                      </a:r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МПа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3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1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3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3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3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3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239360"/>
                  </a:ext>
                </a:extLst>
              </a:tr>
              <a:tr h="559559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Ударная вязкость по </a:t>
                      </a:r>
                      <a:r>
                        <a:rPr lang="ru-RU" sz="10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Изоду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при плюс 23 °С, Дж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/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м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1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~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8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~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8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7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715313"/>
                  </a:ext>
                </a:extLst>
              </a:tr>
              <a:tr h="716507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Ударная вязкость по </a:t>
                      </a:r>
                      <a:r>
                        <a:rPr lang="ru-RU" sz="10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Изоду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при минус 20 °С, Дж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/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м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~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~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0001537"/>
                  </a:ext>
                </a:extLst>
              </a:tr>
              <a:tr h="605052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сновные характеристики</a:t>
                      </a:r>
                      <a:endParaRPr lang="ru-RU" sz="1000" b="1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пецмарка</a:t>
                      </a: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со средней текучестью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пецмарка</a:t>
                      </a: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с долговременной стабильностью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арка общего назначения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8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Литьевые марки с повышенной жёсткостью и хорошей ударопрочностью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45018"/>
                  </a:ext>
                </a:extLst>
              </a:tr>
              <a:tr h="593959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Рекомендуемое</a:t>
                      </a:r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назначение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лпачки, крышки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етали аккумуляторов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овары бытового назначения, ударопрочная тара, колпачки, прочие изделия с требованиями по морозостойкости, компаунды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020875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D9EA5721-447A-4F1E-BE0D-CB91B60E27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933" y="104025"/>
            <a:ext cx="8200013" cy="492443"/>
          </a:xfrm>
        </p:spPr>
        <p:txBody>
          <a:bodyPr vert="horz">
            <a:spAutoFit/>
          </a:bodyPr>
          <a:lstStyle/>
          <a:p>
            <a:r>
              <a:rPr lang="ru-RU" sz="1600" dirty="0" smtClean="0">
                <a:latin typeface="Arial Narrow" panose="020B0606020202030204" pitchFamily="34" charset="0"/>
              </a:rPr>
              <a:t>ТЕКУЩИЕ ПРОДУКТОВЫЕ РЕШЕНИЯ ДЛЯ СЕГМЕНТА ЛИТЬЕ ПОД ДАВЛЕНИЕМ.</a:t>
            </a:r>
            <a:br>
              <a:rPr lang="ru-RU" sz="1600" dirty="0" smtClean="0">
                <a:latin typeface="Arial Narrow" panose="020B0606020202030204" pitchFamily="34" charset="0"/>
              </a:rPr>
            </a:br>
            <a:r>
              <a:rPr lang="ru-RU" sz="1600" dirty="0" err="1" smtClean="0">
                <a:latin typeface="Arial Narrow" panose="020B0606020202030204" pitchFamily="34" charset="0"/>
              </a:rPr>
              <a:t>Блоксополимеры</a:t>
            </a:r>
            <a:r>
              <a:rPr lang="ru-RU" sz="1600" dirty="0" smtClean="0">
                <a:latin typeface="Arial Narrow" panose="020B0606020202030204" pitchFamily="34" charset="0"/>
              </a:rPr>
              <a:t> ПП</a:t>
            </a:r>
            <a:endParaRPr lang="en-US" sz="16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0115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4" name="Слайд think-cell" r:id="rId5" imgW="278" imgH="278" progId="TCLayout.ActiveDocument.1">
                  <p:embed/>
                </p:oleObj>
              </mc:Choice>
              <mc:Fallback>
                <p:oleObj name="Слайд think-cell" r:id="rId5" imgW="278" imgH="27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Примеры готовых изделий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3916262"/>
              </p:ext>
            </p:extLst>
          </p:nvPr>
        </p:nvGraphicFramePr>
        <p:xfrm>
          <a:off x="239578" y="692269"/>
          <a:ext cx="8644659" cy="978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77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8397">
                  <a:extLst>
                    <a:ext uri="{9D8B030D-6E8A-4147-A177-3AD203B41FA5}">
                      <a16:colId xmlns:a16="http://schemas.microsoft.com/office/drawing/2014/main" val="3133856597"/>
                    </a:ext>
                  </a:extLst>
                </a:gridCol>
                <a:gridCol w="732313">
                  <a:extLst>
                    <a:ext uri="{9D8B030D-6E8A-4147-A177-3AD203B41FA5}">
                      <a16:colId xmlns:a16="http://schemas.microsoft.com/office/drawing/2014/main" val="3421550606"/>
                    </a:ext>
                  </a:extLst>
                </a:gridCol>
                <a:gridCol w="736351">
                  <a:extLst>
                    <a:ext uri="{9D8B030D-6E8A-4147-A177-3AD203B41FA5}">
                      <a16:colId xmlns:a16="http://schemas.microsoft.com/office/drawing/2014/main" val="2857469748"/>
                    </a:ext>
                  </a:extLst>
                </a:gridCol>
                <a:gridCol w="851783">
                  <a:extLst>
                    <a:ext uri="{9D8B030D-6E8A-4147-A177-3AD203B41FA5}">
                      <a16:colId xmlns:a16="http://schemas.microsoft.com/office/drawing/2014/main" val="3861041685"/>
                    </a:ext>
                  </a:extLst>
                </a:gridCol>
                <a:gridCol w="711082">
                  <a:extLst>
                    <a:ext uri="{9D8B030D-6E8A-4147-A177-3AD203B41FA5}">
                      <a16:colId xmlns:a16="http://schemas.microsoft.com/office/drawing/2014/main" val="3472340020"/>
                    </a:ext>
                  </a:extLst>
                </a:gridCol>
                <a:gridCol w="701394">
                  <a:extLst>
                    <a:ext uri="{9D8B030D-6E8A-4147-A177-3AD203B41FA5}">
                      <a16:colId xmlns:a16="http://schemas.microsoft.com/office/drawing/2014/main" val="953588323"/>
                    </a:ext>
                  </a:extLst>
                </a:gridCol>
                <a:gridCol w="745705">
                  <a:extLst>
                    <a:ext uri="{9D8B030D-6E8A-4147-A177-3AD203B41FA5}">
                      <a16:colId xmlns:a16="http://schemas.microsoft.com/office/drawing/2014/main" val="1835726950"/>
                    </a:ext>
                  </a:extLst>
                </a:gridCol>
                <a:gridCol w="777409">
                  <a:extLst>
                    <a:ext uri="{9D8B030D-6E8A-4147-A177-3AD203B41FA5}">
                      <a16:colId xmlns:a16="http://schemas.microsoft.com/office/drawing/2014/main" val="3066531738"/>
                    </a:ext>
                  </a:extLst>
                </a:gridCol>
                <a:gridCol w="754543">
                  <a:extLst>
                    <a:ext uri="{9D8B030D-6E8A-4147-A177-3AD203B41FA5}">
                      <a16:colId xmlns:a16="http://schemas.microsoft.com/office/drawing/2014/main" val="4205433650"/>
                    </a:ext>
                  </a:extLst>
                </a:gridCol>
                <a:gridCol w="807895">
                  <a:extLst>
                    <a:ext uri="{9D8B030D-6E8A-4147-A177-3AD203B41FA5}">
                      <a16:colId xmlns:a16="http://schemas.microsoft.com/office/drawing/2014/main" val="4161436657"/>
                    </a:ext>
                  </a:extLst>
                </a:gridCol>
              </a:tblGrid>
              <a:tr h="384264">
                <a:tc>
                  <a:txBody>
                    <a:bodyPr/>
                    <a:lstStyle/>
                    <a:p>
                      <a:pPr algn="ctr"/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PP</a:t>
                      </a: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</a:rPr>
                        <a:t>7445</a:t>
                      </a: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LM</a:t>
                      </a:r>
                      <a:endParaRPr lang="ru-RU" sz="9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PP8332M</a:t>
                      </a:r>
                      <a:endParaRPr lang="ru-RU" sz="9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PP8300N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PP8400N</a:t>
                      </a:r>
                      <a:endParaRPr lang="ru-RU" sz="9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PP I122</a:t>
                      </a: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 IM</a:t>
                      </a:r>
                      <a:endParaRPr lang="ru-RU" sz="9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PP8348P</a:t>
                      </a:r>
                      <a:endParaRPr lang="ru-RU" sz="9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PP8440R</a:t>
                      </a:r>
                      <a:endParaRPr lang="ru-RU" sz="9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PP8348SM</a:t>
                      </a:r>
                      <a:endParaRPr lang="ru-RU" sz="9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PP I452 IM</a:t>
                      </a:r>
                      <a:endParaRPr lang="ru-RU" sz="9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PP8440T</a:t>
                      </a:r>
                      <a:endParaRPr lang="ru-RU" sz="9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PP7540U</a:t>
                      </a:r>
                      <a:endParaRPr lang="ru-RU" sz="9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4624"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лпачки, крышки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етали аккумуляторов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овары бытового назначения, ударопрочная тара, колпачки, прочие изделия с требованиями по морозостойкости, компаунды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020875"/>
                  </a:ext>
                </a:extLst>
              </a:tr>
            </a:tbl>
          </a:graphicData>
        </a:graphic>
      </p:graphicFrame>
      <p:pic>
        <p:nvPicPr>
          <p:cNvPr id="9" name="Picture 15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9102" y="2145536"/>
            <a:ext cx="1212807" cy="85113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8AE5DD0C-4E4A-4108-B5A0-DC1714765C4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578" y="1916466"/>
            <a:ext cx="755179" cy="66954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5212" y="2088148"/>
            <a:ext cx="880834" cy="6338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id="{E39516A0-2E4A-4BDB-85B7-DF2BFA8ACC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5911" y="2284376"/>
            <a:ext cx="1013328" cy="5889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39407" y="1969270"/>
            <a:ext cx="1494503" cy="6096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1408" y="2088148"/>
            <a:ext cx="897580" cy="106222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46080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4</a:t>
            </a:fld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3606209"/>
              </p:ext>
            </p:extLst>
          </p:nvPr>
        </p:nvGraphicFramePr>
        <p:xfrm>
          <a:off x="125853" y="650289"/>
          <a:ext cx="8772487" cy="38128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28806">
                  <a:extLst>
                    <a:ext uri="{9D8B030D-6E8A-4147-A177-3AD203B41FA5}">
                      <a16:colId xmlns:a16="http://schemas.microsoft.com/office/drawing/2014/main" val="1449241621"/>
                    </a:ext>
                  </a:extLst>
                </a:gridCol>
                <a:gridCol w="927628">
                  <a:extLst>
                    <a:ext uri="{9D8B030D-6E8A-4147-A177-3AD203B41FA5}">
                      <a16:colId xmlns:a16="http://schemas.microsoft.com/office/drawing/2014/main" val="3421550606"/>
                    </a:ext>
                  </a:extLst>
                </a:gridCol>
                <a:gridCol w="893928">
                  <a:extLst>
                    <a:ext uri="{9D8B030D-6E8A-4147-A177-3AD203B41FA5}">
                      <a16:colId xmlns:a16="http://schemas.microsoft.com/office/drawing/2014/main" val="200102753"/>
                    </a:ext>
                  </a:extLst>
                </a:gridCol>
                <a:gridCol w="948519">
                  <a:extLst>
                    <a:ext uri="{9D8B030D-6E8A-4147-A177-3AD203B41FA5}">
                      <a16:colId xmlns:a16="http://schemas.microsoft.com/office/drawing/2014/main" val="2193990791"/>
                    </a:ext>
                  </a:extLst>
                </a:gridCol>
                <a:gridCol w="928048">
                  <a:extLst>
                    <a:ext uri="{9D8B030D-6E8A-4147-A177-3AD203B41FA5}">
                      <a16:colId xmlns:a16="http://schemas.microsoft.com/office/drawing/2014/main" val="2857469748"/>
                    </a:ext>
                  </a:extLst>
                </a:gridCol>
                <a:gridCol w="948519">
                  <a:extLst>
                    <a:ext uri="{9D8B030D-6E8A-4147-A177-3AD203B41FA5}">
                      <a16:colId xmlns:a16="http://schemas.microsoft.com/office/drawing/2014/main" val="3861041685"/>
                    </a:ext>
                  </a:extLst>
                </a:gridCol>
                <a:gridCol w="989463">
                  <a:extLst>
                    <a:ext uri="{9D8B030D-6E8A-4147-A177-3AD203B41FA5}">
                      <a16:colId xmlns:a16="http://schemas.microsoft.com/office/drawing/2014/main" val="3472340020"/>
                    </a:ext>
                  </a:extLst>
                </a:gridCol>
                <a:gridCol w="907576">
                  <a:extLst>
                    <a:ext uri="{9D8B030D-6E8A-4147-A177-3AD203B41FA5}">
                      <a16:colId xmlns:a16="http://schemas.microsoft.com/office/drawing/2014/main" val="953588323"/>
                    </a:ext>
                  </a:extLst>
                </a:gridCol>
              </a:tblGrid>
              <a:tr h="383835"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rgbClr val="008C95"/>
                          </a:solidFill>
                          <a:latin typeface="Arial Narrow" panose="020B0606020202030204" pitchFamily="34" charset="0"/>
                        </a:rPr>
                        <a:t>СВОЙСТВА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PP8300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PP8400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PP</a:t>
                      </a:r>
                      <a:r>
                        <a:rPr lang="ru-RU" sz="900" b="1" dirty="0" smtClean="0">
                          <a:solidFill>
                            <a:schemeClr val="bg1"/>
                          </a:solidFill>
                        </a:rPr>
                        <a:t>9240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K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PP9240M</a:t>
                      </a:r>
                      <a:endParaRPr lang="ru-RU" sz="9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PP9240N</a:t>
                      </a:r>
                      <a:endParaRPr lang="ru-RU" sz="9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</a:rPr>
                        <a:t>PP9240P</a:t>
                      </a:r>
                      <a:endParaRPr lang="ru-RU" sz="9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chemeClr val="bg1"/>
                          </a:solidFill>
                        </a:rPr>
                        <a:t>PP9240PM</a:t>
                      </a:r>
                      <a:endParaRPr lang="ru-RU" sz="9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226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Наличие добавок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noProof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азовая рецептура</a:t>
                      </a:r>
                      <a:endParaRPr lang="ru-RU" sz="1600" b="1" kern="1200" noProof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noProof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lang="ru-RU" sz="1000" b="1" kern="1200" noProof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noProof="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lang="ru-RU" sz="1000" b="1" kern="1200" noProof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kumimoji="0" lang="ru-RU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kumimoji="0" lang="ru-RU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kumimoji="0" lang="ru-RU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6194104"/>
                  </a:ext>
                </a:extLst>
              </a:tr>
              <a:tr h="331120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ПТР, г/10 мин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,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,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8,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637188"/>
                  </a:ext>
                </a:extLst>
              </a:tr>
              <a:tr h="368285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Модуль упругости,</a:t>
                      </a:r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МПа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3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239360"/>
                  </a:ext>
                </a:extLst>
              </a:tr>
              <a:tr h="498144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Ударная вязкость по </a:t>
                      </a:r>
                      <a:r>
                        <a:rPr lang="ru-RU" sz="10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Изоду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при плюс 23 °С, Дж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/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м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7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6646333"/>
                  </a:ext>
                </a:extLst>
              </a:tr>
              <a:tr h="632449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Ударная вязкость по </a:t>
                      </a:r>
                      <a:r>
                        <a:rPr lang="ru-RU" sz="1000" b="1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Изоду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при минус 20 °С, Дж</a:t>
                      </a: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/</a:t>
                      </a: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м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7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3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1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1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1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733572"/>
                  </a:ext>
                </a:extLst>
              </a:tr>
              <a:tr h="636792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сновные характеристики</a:t>
                      </a:r>
                      <a:endParaRPr lang="ru-RU" sz="1000" b="1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арки с высокой ударопрочностью для литья и экструзии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Литьевые марки с высокой ударопрочностью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45018"/>
                  </a:ext>
                </a:extLst>
              </a:tr>
              <a:tr h="593959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Рекомендуемое</a:t>
                      </a:r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назначение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Литьевые изделия, листы, профили с высокой ударопрочностью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зделия с высокими требованиями по морозостойкости и </a:t>
                      </a:r>
                      <a:r>
                        <a:rPr kumimoji="0" lang="ru-RU" sz="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ударопрочности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ru-RU" sz="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автокомпоненты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, компаунды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020875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D9EA5721-447A-4F1E-BE0D-CB91B60E27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933" y="104025"/>
            <a:ext cx="8200013" cy="492443"/>
          </a:xfrm>
        </p:spPr>
        <p:txBody>
          <a:bodyPr vert="horz">
            <a:spAutoFit/>
          </a:bodyPr>
          <a:lstStyle/>
          <a:p>
            <a:r>
              <a:rPr lang="ru-RU" sz="1600" dirty="0" smtClean="0">
                <a:latin typeface="Arial Narrow" panose="020B0606020202030204" pitchFamily="34" charset="0"/>
              </a:rPr>
              <a:t>ТЕКУЩИЕ ПРОДУКТОВЫЕ РЕШЕНИЯ ДЛЯ СЕГМЕНТА ЛИТЬЕ ПОД ДАВЛЕНИЕМ.</a:t>
            </a:r>
            <a:br>
              <a:rPr lang="ru-RU" sz="1600" dirty="0" smtClean="0">
                <a:latin typeface="Arial Narrow" panose="020B0606020202030204" pitchFamily="34" charset="0"/>
              </a:rPr>
            </a:br>
            <a:r>
              <a:rPr lang="ru-RU" sz="1600" dirty="0" err="1" smtClean="0">
                <a:latin typeface="Arial Narrow" panose="020B0606020202030204" pitchFamily="34" charset="0"/>
              </a:rPr>
              <a:t>Блоксополимеры</a:t>
            </a:r>
            <a:r>
              <a:rPr lang="ru-RU" sz="1600" dirty="0" smtClean="0">
                <a:latin typeface="Arial Narrow" panose="020B0606020202030204" pitchFamily="34" charset="0"/>
              </a:rPr>
              <a:t> ПП с высокой ударопрочностью</a:t>
            </a:r>
            <a:endParaRPr lang="en-US" sz="16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7218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5</a:t>
            </a:fld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1745814"/>
              </p:ext>
            </p:extLst>
          </p:nvPr>
        </p:nvGraphicFramePr>
        <p:xfrm>
          <a:off x="125853" y="650289"/>
          <a:ext cx="8780342" cy="798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44696">
                  <a:extLst>
                    <a:ext uri="{9D8B030D-6E8A-4147-A177-3AD203B41FA5}">
                      <a16:colId xmlns:a16="http://schemas.microsoft.com/office/drawing/2014/main" val="3421550606"/>
                    </a:ext>
                  </a:extLst>
                </a:gridCol>
                <a:gridCol w="1199477">
                  <a:extLst>
                    <a:ext uri="{9D8B030D-6E8A-4147-A177-3AD203B41FA5}">
                      <a16:colId xmlns:a16="http://schemas.microsoft.com/office/drawing/2014/main" val="200102753"/>
                    </a:ext>
                  </a:extLst>
                </a:gridCol>
                <a:gridCol w="1272727">
                  <a:extLst>
                    <a:ext uri="{9D8B030D-6E8A-4147-A177-3AD203B41FA5}">
                      <a16:colId xmlns:a16="http://schemas.microsoft.com/office/drawing/2014/main" val="2193990791"/>
                    </a:ext>
                  </a:extLst>
                </a:gridCol>
                <a:gridCol w="1245259">
                  <a:extLst>
                    <a:ext uri="{9D8B030D-6E8A-4147-A177-3AD203B41FA5}">
                      <a16:colId xmlns:a16="http://schemas.microsoft.com/office/drawing/2014/main" val="2857469748"/>
                    </a:ext>
                  </a:extLst>
                </a:gridCol>
                <a:gridCol w="1272727">
                  <a:extLst>
                    <a:ext uri="{9D8B030D-6E8A-4147-A177-3AD203B41FA5}">
                      <a16:colId xmlns:a16="http://schemas.microsoft.com/office/drawing/2014/main" val="3861041685"/>
                    </a:ext>
                  </a:extLst>
                </a:gridCol>
                <a:gridCol w="1327666">
                  <a:extLst>
                    <a:ext uri="{9D8B030D-6E8A-4147-A177-3AD203B41FA5}">
                      <a16:colId xmlns:a16="http://schemas.microsoft.com/office/drawing/2014/main" val="3472340020"/>
                    </a:ext>
                  </a:extLst>
                </a:gridCol>
                <a:gridCol w="1217790">
                  <a:extLst>
                    <a:ext uri="{9D8B030D-6E8A-4147-A177-3AD203B41FA5}">
                      <a16:colId xmlns:a16="http://schemas.microsoft.com/office/drawing/2014/main" val="953588323"/>
                    </a:ext>
                  </a:extLst>
                </a:gridCol>
              </a:tblGrid>
              <a:tr h="313361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PP8300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PP8400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PP</a:t>
                      </a:r>
                      <a:r>
                        <a:rPr lang="ru-RU" sz="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9240</a:t>
                      </a:r>
                      <a:r>
                        <a:rPr lang="en-US" sz="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PP9240M</a:t>
                      </a:r>
                      <a:endParaRPr lang="ru-RU" sz="8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PP9240N</a:t>
                      </a:r>
                      <a:endParaRPr lang="ru-RU" sz="8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PP9240P</a:t>
                      </a:r>
                      <a:endParaRPr lang="ru-RU" sz="800" b="1" baseline="0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PP9240PM</a:t>
                      </a:r>
                      <a:endParaRPr lang="ru-RU" sz="8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4904">
                <a:tc gridSpan="3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Литьевые изделия, листы, профили с высокой ударопрочностью</a:t>
                      </a:r>
                      <a:endParaRPr kumimoji="0" lang="ru-RU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Изделия с высокими требованиями по морозостойкости и </a:t>
                      </a:r>
                      <a:r>
                        <a:rPr kumimoji="0" lang="ru-RU" sz="8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даропрочности</a:t>
                      </a: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ru-RU" sz="8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автокомпоненты</a:t>
                      </a: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компаунд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020875"/>
                  </a:ext>
                </a:extLst>
              </a:tr>
            </a:tbl>
          </a:graphicData>
        </a:graphic>
      </p:graphicFrame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34941" y="112536"/>
            <a:ext cx="8481695" cy="474379"/>
          </a:xfrm>
        </p:spPr>
        <p:txBody>
          <a:bodyPr vert="horz"/>
          <a:lstStyle/>
          <a:p>
            <a:r>
              <a:rPr lang="ru-RU" dirty="0"/>
              <a:t>Примеры готовых изделий</a:t>
            </a:r>
          </a:p>
        </p:txBody>
      </p:sp>
      <p:pic>
        <p:nvPicPr>
          <p:cNvPr id="8" name="Picture 5" descr="C:\Users\salakhovrm\Desktop\188_750x0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0" t="37067" r="3599" b="32544"/>
          <a:stretch/>
        </p:blipFill>
        <p:spPr bwMode="auto">
          <a:xfrm>
            <a:off x="3821077" y="3861108"/>
            <a:ext cx="2596254" cy="8465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62" t="13487" r="8965" b="9271"/>
          <a:stretch/>
        </p:blipFill>
        <p:spPr>
          <a:xfrm>
            <a:off x="6642448" y="1643146"/>
            <a:ext cx="2118968" cy="128110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5842" name="Picture 2" descr="https://vdom36.ru/image/cache/catalog/vdom36/34_Cherepica/aerator-konkovyj-vilpe-airidge-felt-chernyj-1-600x60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2040" y="1460046"/>
            <a:ext cx="2195606" cy="2195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8" descr="https://cdn-img.perekrestok.ru/i/400x400-fit/xdelivery/files/1e/d7/0947b2af8ebf37d47c248f02f178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2388" y="2346720"/>
            <a:ext cx="1609838" cy="1155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71" b="16623"/>
          <a:stretch/>
        </p:blipFill>
        <p:spPr>
          <a:xfrm>
            <a:off x="343728" y="1848678"/>
            <a:ext cx="1883465" cy="130533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65" b="10199"/>
          <a:stretch/>
        </p:blipFill>
        <p:spPr>
          <a:xfrm>
            <a:off x="741296" y="3394213"/>
            <a:ext cx="1591088" cy="1338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102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6</a:t>
            </a:fld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7904353"/>
              </p:ext>
            </p:extLst>
          </p:nvPr>
        </p:nvGraphicFramePr>
        <p:xfrm>
          <a:off x="125852" y="650289"/>
          <a:ext cx="8795300" cy="39353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3515">
                  <a:extLst>
                    <a:ext uri="{9D8B030D-6E8A-4147-A177-3AD203B41FA5}">
                      <a16:colId xmlns:a16="http://schemas.microsoft.com/office/drawing/2014/main" val="1449241621"/>
                    </a:ext>
                  </a:extLst>
                </a:gridCol>
                <a:gridCol w="10508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3110">
                  <a:extLst>
                    <a:ext uri="{9D8B030D-6E8A-4147-A177-3AD203B41FA5}">
                      <a16:colId xmlns:a16="http://schemas.microsoft.com/office/drawing/2014/main" val="3421550606"/>
                    </a:ext>
                  </a:extLst>
                </a:gridCol>
                <a:gridCol w="982639">
                  <a:extLst>
                    <a:ext uri="{9D8B030D-6E8A-4147-A177-3AD203B41FA5}">
                      <a16:colId xmlns:a16="http://schemas.microsoft.com/office/drawing/2014/main" val="2857469748"/>
                    </a:ext>
                  </a:extLst>
                </a:gridCol>
                <a:gridCol w="1064525">
                  <a:extLst>
                    <a:ext uri="{9D8B030D-6E8A-4147-A177-3AD203B41FA5}">
                      <a16:colId xmlns:a16="http://schemas.microsoft.com/office/drawing/2014/main" val="2561319271"/>
                    </a:ext>
                  </a:extLst>
                </a:gridCol>
                <a:gridCol w="1132765">
                  <a:extLst>
                    <a:ext uri="{9D8B030D-6E8A-4147-A177-3AD203B41FA5}">
                      <a16:colId xmlns:a16="http://schemas.microsoft.com/office/drawing/2014/main" val="3472340020"/>
                    </a:ext>
                  </a:extLst>
                </a:gridCol>
                <a:gridCol w="1139588">
                  <a:extLst>
                    <a:ext uri="{9D8B030D-6E8A-4147-A177-3AD203B41FA5}">
                      <a16:colId xmlns:a16="http://schemas.microsoft.com/office/drawing/2014/main" val="953588323"/>
                    </a:ext>
                  </a:extLst>
                </a:gridCol>
                <a:gridCol w="1128280">
                  <a:extLst>
                    <a:ext uri="{9D8B030D-6E8A-4147-A177-3AD203B41FA5}">
                      <a16:colId xmlns:a16="http://schemas.microsoft.com/office/drawing/2014/main" val="1835726950"/>
                    </a:ext>
                  </a:extLst>
                </a:gridCol>
              </a:tblGrid>
              <a:tr h="430862"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rgbClr val="008C95"/>
                          </a:solidFill>
                          <a:latin typeface="Arial Narrow" panose="020B0606020202030204" pitchFamily="34" charset="0"/>
                        </a:rPr>
                        <a:t>СВОЙСТВА</a:t>
                      </a: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ПЭ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15803-020</a:t>
                      </a: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LD40200</a:t>
                      </a:r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 FA</a:t>
                      </a: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ПЭ 11503-070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HD15550 CC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HD45552 IM/</a:t>
                      </a:r>
                    </a:p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ПЭ2НТ21-13</a:t>
                      </a:r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UV1</a:t>
                      </a: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HD</a:t>
                      </a: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85612</a:t>
                      </a:r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 IM/</a:t>
                      </a:r>
                    </a:p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ПЭ2НТ22-12</a:t>
                      </a:r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UV1</a:t>
                      </a: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HD</a:t>
                      </a: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8561</a:t>
                      </a:r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0 IM/</a:t>
                      </a:r>
                    </a:p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ПЭ2НТ22-12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443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Тип полимера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ЭНП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ЭНП</a:t>
                      </a:r>
                      <a:endParaRPr kumimoji="0" lang="ru-RU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ЭНП</a:t>
                      </a:r>
                      <a:endParaRPr kumimoji="0" lang="ru-RU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ЭВП</a:t>
                      </a:r>
                      <a:endParaRPr kumimoji="0" lang="ru-RU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ЭВП</a:t>
                      </a: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ЭВП</a:t>
                      </a: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ЭВП</a:t>
                      </a: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6194104"/>
                  </a:ext>
                </a:extLst>
              </a:tr>
              <a:tr h="428956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Наличие добавок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азовая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рецептура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азовая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рецептура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азовая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рецептура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азовая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рецептура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УФ-стабилизатор</a:t>
                      </a: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УФ-стабилизатор</a:t>
                      </a: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азовая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рецептура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8263887"/>
                  </a:ext>
                </a:extLst>
              </a:tr>
              <a:tr h="371689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ПТР, г/10 мин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,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,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7,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,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,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7,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7,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637188"/>
                  </a:ext>
                </a:extLst>
              </a:tr>
              <a:tr h="330703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Плотность,</a:t>
                      </a:r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г</a:t>
                      </a:r>
                      <a:r>
                        <a:rPr lang="en-US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/</a:t>
                      </a:r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см³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0,9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9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0,92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0,9</a:t>
                      </a: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8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0,95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0,953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0,96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0,96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239360"/>
                  </a:ext>
                </a:extLst>
              </a:tr>
              <a:tr h="1273974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сновные характеристики</a:t>
                      </a:r>
                      <a:endParaRPr lang="ru-RU" sz="1000" b="1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арка ГОСТ</a:t>
                      </a: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9025" rtl="0" eaLnBrk="1" fontAlgn="t" latinLnBrk="0" hangingPunct="1"/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арка с хорошей текучестью</a:t>
                      </a: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9025" rtl="0" eaLnBrk="1" fontAlgn="t" latinLnBrk="0" hangingPunct="1"/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арка ГОСТ с хорошей текучестью</a:t>
                      </a: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9025" rtl="0" eaLnBrk="1" fontAlgn="t" latinLnBrk="0" hangingPunct="1"/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имодальная марка с высокой стойкостью к растрескиванию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5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ономодальная марка с хорошей стойкостью к растрескиванию и стойкостью к УФ-излучению</a:t>
                      </a: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9025" rtl="0" eaLnBrk="1" fontAlgn="t" latinLnBrk="0" hangingPunct="1"/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ономодальная марка с хорошей текучестью и стойкостью к УФ-излучению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5" rtl="0" eaLnBrk="1" fontAlgn="t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ономодальная марка с усиленной рецептурой для </a:t>
                      </a:r>
                      <a:r>
                        <a:rPr kumimoji="0" lang="ru-RU" sz="9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горячеканального</a:t>
                      </a: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литья</a:t>
                      </a: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45018"/>
                  </a:ext>
                </a:extLst>
              </a:tr>
              <a:tr h="666731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Рекомендуемое</a:t>
                      </a:r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назначение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лпачки, крышки, товары бытового назначения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лпачки для газированных напитков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лпачки, крышки для негазированных напитков, поддоны, контейнеры, ящики, изделия для </a:t>
                      </a:r>
                      <a:r>
                        <a:rPr kumimoji="0" lang="en-US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outdoor</a:t>
                      </a: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применения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лпачки, крышки для негазированных напитков, картриджи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020875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D9EA5721-447A-4F1E-BE0D-CB91B60E27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933" y="104025"/>
            <a:ext cx="8200013" cy="492443"/>
          </a:xfrm>
        </p:spPr>
        <p:txBody>
          <a:bodyPr vert="horz">
            <a:spAutoFit/>
          </a:bodyPr>
          <a:lstStyle/>
          <a:p>
            <a:r>
              <a:rPr lang="ru-RU" sz="1600" dirty="0" smtClean="0">
                <a:latin typeface="Arial Narrow" panose="020B0606020202030204" pitchFamily="34" charset="0"/>
              </a:rPr>
              <a:t>ТЕКУЩИЕ ПРОДУКТОВЫЕ РЕШЕНИЯ ДЛЯ СЕГМЕНТА ЛИТЬЕ ПОД ДАВЛЕНИЕМ.</a:t>
            </a:r>
            <a:br>
              <a:rPr lang="ru-RU" sz="1600" dirty="0" smtClean="0">
                <a:latin typeface="Arial Narrow" panose="020B0606020202030204" pitchFamily="34" charset="0"/>
              </a:rPr>
            </a:br>
            <a:r>
              <a:rPr lang="ru-RU" sz="1600" dirty="0" smtClean="0">
                <a:latin typeface="Arial Narrow" panose="020B0606020202030204" pitchFamily="34" charset="0"/>
              </a:rPr>
              <a:t>Полиэтилен</a:t>
            </a:r>
            <a:endParaRPr lang="en-US" sz="16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4778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7</a:t>
            </a:fld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5739635"/>
              </p:ext>
            </p:extLst>
          </p:nvPr>
        </p:nvGraphicFramePr>
        <p:xfrm>
          <a:off x="130396" y="969267"/>
          <a:ext cx="8780344" cy="8167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23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2503">
                  <a:extLst>
                    <a:ext uri="{9D8B030D-6E8A-4147-A177-3AD203B41FA5}">
                      <a16:colId xmlns:a16="http://schemas.microsoft.com/office/drawing/2014/main" val="3421550606"/>
                    </a:ext>
                  </a:extLst>
                </a:gridCol>
                <a:gridCol w="1020725">
                  <a:extLst>
                    <a:ext uri="{9D8B030D-6E8A-4147-A177-3AD203B41FA5}">
                      <a16:colId xmlns:a16="http://schemas.microsoft.com/office/drawing/2014/main" val="2857469748"/>
                    </a:ext>
                  </a:extLst>
                </a:gridCol>
                <a:gridCol w="1329070">
                  <a:extLst>
                    <a:ext uri="{9D8B030D-6E8A-4147-A177-3AD203B41FA5}">
                      <a16:colId xmlns:a16="http://schemas.microsoft.com/office/drawing/2014/main" val="2561319271"/>
                    </a:ext>
                  </a:extLst>
                </a:gridCol>
                <a:gridCol w="1329070">
                  <a:extLst>
                    <a:ext uri="{9D8B030D-6E8A-4147-A177-3AD203B41FA5}">
                      <a16:colId xmlns:a16="http://schemas.microsoft.com/office/drawing/2014/main" val="3472340020"/>
                    </a:ext>
                  </a:extLst>
                </a:gridCol>
                <a:gridCol w="1531088">
                  <a:extLst>
                    <a:ext uri="{9D8B030D-6E8A-4147-A177-3AD203B41FA5}">
                      <a16:colId xmlns:a16="http://schemas.microsoft.com/office/drawing/2014/main" val="953588323"/>
                    </a:ext>
                  </a:extLst>
                </a:gridCol>
                <a:gridCol w="1835545">
                  <a:extLst>
                    <a:ext uri="{9D8B030D-6E8A-4147-A177-3AD203B41FA5}">
                      <a16:colId xmlns:a16="http://schemas.microsoft.com/office/drawing/2014/main" val="1835726950"/>
                    </a:ext>
                  </a:extLst>
                </a:gridCol>
              </a:tblGrid>
              <a:tr h="304020"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ПЭ</a:t>
                      </a: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 15803-020</a:t>
                      </a:r>
                      <a:endParaRPr lang="ru-RU" sz="9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LD40200</a:t>
                      </a: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 FA</a:t>
                      </a:r>
                      <a:endParaRPr lang="ru-RU" sz="9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ПЭ 11503-070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HD15550 CC</a:t>
                      </a:r>
                      <a:endParaRPr lang="ru-RU" sz="900" b="1" baseline="0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HD45552 IM/</a:t>
                      </a:r>
                    </a:p>
                    <a:p>
                      <a:pPr algn="ctr"/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ПЭ2НТ21-13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UV1</a:t>
                      </a:r>
                      <a:endParaRPr lang="ru-RU" sz="9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HD</a:t>
                      </a:r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85612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 IM/</a:t>
                      </a:r>
                    </a:p>
                    <a:p>
                      <a:pPr algn="ctr"/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ПЭ2НТ22-12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UV1</a:t>
                      </a:r>
                      <a:endParaRPr lang="ru-RU" sz="900" b="1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HD</a:t>
                      </a:r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8561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0 IM/</a:t>
                      </a:r>
                    </a:p>
                    <a:p>
                      <a:pPr algn="ctr"/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ПЭ2НТ22-12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0453">
                <a:tc gridSpan="3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лпачки, крышки, товары бытового назначения</a:t>
                      </a:r>
                      <a:endParaRPr kumimoji="0" lang="ru-RU" sz="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лпачки для газированных напитков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0" lang="ru-RU" sz="8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лпачки, крышки для негазированных напитков, поддоны, контейнеры, ящики, изделия для </a:t>
                      </a:r>
                      <a:r>
                        <a:rPr kumimoji="0" lang="en-US" sz="8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utdoor</a:t>
                      </a:r>
                      <a:r>
                        <a:rPr kumimoji="0" lang="ru-RU" sz="8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применения</a:t>
                      </a:r>
                      <a:endParaRPr kumimoji="0" lang="ru-RU" sz="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ru-RU" sz="8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лпачки, крышки для негазированных напитков, картриджи</a:t>
                      </a:r>
                      <a:endParaRPr kumimoji="0" lang="ru-RU" sz="8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020875"/>
                  </a:ext>
                </a:extLst>
              </a:tr>
            </a:tbl>
          </a:graphicData>
        </a:graphic>
      </p:graphicFrame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79721" y="175910"/>
            <a:ext cx="8481695" cy="474379"/>
          </a:xfrm>
        </p:spPr>
        <p:txBody>
          <a:bodyPr vert="horz"/>
          <a:lstStyle/>
          <a:p>
            <a:r>
              <a:rPr lang="ru-RU" dirty="0" smtClean="0"/>
              <a:t>Примеры готовых изделий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0523" y="2105018"/>
            <a:ext cx="1674226" cy="1302176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E32B8497-4F32-4F4E-8BC3-B0109091131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54" b="27709"/>
          <a:stretch/>
        </p:blipFill>
        <p:spPr bwMode="auto">
          <a:xfrm>
            <a:off x="5934709" y="3826915"/>
            <a:ext cx="1203431" cy="586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866" name="Picture 2" descr="https://img.promportal.su/foto/good_fotos/47420/474203745/plastikoviy-kolpachok-dlya-pet-butilok-28mm_foto_largest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1850" y="2105018"/>
            <a:ext cx="1161903" cy="918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68" name="Picture 4" descr="https://avatars.mds.yandex.net/i?id=f258a2038b46e5d10aa684087d0b812f7ba6df18-8338869-images-thumbs&amp;n=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1850" y="3519128"/>
            <a:ext cx="1286534" cy="857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0" name="Picture 6" descr="https://avatars.mds.yandex.net/i?id=f3e95782a0e3e6bc98b2f082ec7c213c48cf5a53-8234358-images-thumbs&amp;n=1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0568" y="1864984"/>
            <a:ext cx="1543164" cy="1543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2" name="Picture 8" descr="https://avatars.mds.yandex.net/i?id=8f2e1f9504e5a7d06856e2cb9a815fbd787d0465-8238962-images-thumbs&amp;n=1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86040"/>
            <a:ext cx="1779584" cy="1186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4" name="Picture 10" descr="https://avatars.mds.yandex.net/i?id=78287f4c833d3b6e5b90e6307a4ee5cf01d05bde-8152091-images-thumbs&amp;n=1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0914" y="2695791"/>
            <a:ext cx="1056240" cy="1056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6" name="Picture 12" descr="https://avatars.mds.yandex.net/i?id=b6cac35050ee676aa3833a41bb4e26ce-4502909-images-thumbs&amp;n=1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688" y="3407194"/>
            <a:ext cx="955539" cy="731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78" name="Picture 14" descr="https://avatars.mds.yandex.net/i?id=6e8d3f3326b63b786b7748a446cb2709-5210468-images-thumbs&amp;n=1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7205" y="4138707"/>
            <a:ext cx="1274882" cy="849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9905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/>
          <a:srcRect t="9435"/>
          <a:stretch/>
        </p:blipFill>
        <p:spPr>
          <a:xfrm>
            <a:off x="671567" y="466206"/>
            <a:ext cx="7725458" cy="4139265"/>
          </a:xfrm>
          <a:prstGeom prst="rect">
            <a:avLst/>
          </a:prstGeom>
        </p:spPr>
      </p:pic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99167" y="54670"/>
            <a:ext cx="8670257" cy="527447"/>
          </a:xfrm>
        </p:spPr>
        <p:txBody>
          <a:bodyPr/>
          <a:lstStyle/>
          <a:p>
            <a:r>
              <a:rPr lang="ru-RU" sz="2400" kern="1200" dirty="0" smtClean="0">
                <a:latin typeface="Arial Narrow" panose="020B0606020202030204" pitchFamily="34" charset="0"/>
                <a:ea typeface="+mn-ea"/>
                <a:cs typeface="+mn-cs"/>
              </a:rPr>
              <a:t>КОМПЛЕКС ОБОРУДОВАНИЯ ДЛЯ ИСПЫТАНИЯ ЖЁСТКОЙ УПАКОВКИ</a:t>
            </a:r>
            <a:endParaRPr lang="ru-RU" sz="2400" kern="1200" dirty="0">
              <a:solidFill>
                <a:schemeClr val="accent1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9626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2543" y="217890"/>
            <a:ext cx="4599362" cy="474379"/>
          </a:xfrm>
        </p:spPr>
        <p:txBody>
          <a:bodyPr/>
          <a:lstStyle/>
          <a:p>
            <a:r>
              <a:rPr lang="ru-RU" sz="2400" dirty="0" smtClean="0">
                <a:latin typeface="Arial Narrow" panose="020B0606020202030204" pitchFamily="34" charset="0"/>
              </a:rPr>
              <a:t>КЛАССИФИКАЦИЯ ПОЛИМЕРОВ</a:t>
            </a:r>
            <a:endParaRPr lang="ru-RU" sz="2400" dirty="0">
              <a:latin typeface="Arial Narrow" panose="020B0606020202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3815469" y="788782"/>
            <a:ext cx="1936578" cy="672839"/>
          </a:xfrm>
          <a:prstGeom prst="rect">
            <a:avLst/>
          </a:prstGeom>
          <a:noFill/>
          <a:ln w="1270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800" dirty="0" smtClean="0">
                <a:latin typeface="Arial Narrow" panose="020B0606020202030204" pitchFamily="34" charset="0"/>
              </a:rPr>
              <a:t>Полимеры</a:t>
            </a:r>
            <a:endParaRPr kumimoji="0" lang="ru-RU" sz="18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2736159" y="1760141"/>
            <a:ext cx="1936578" cy="672839"/>
          </a:xfrm>
          <a:prstGeom prst="rect">
            <a:avLst/>
          </a:prstGeom>
          <a:noFill/>
          <a:ln w="1270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</a:rPr>
              <a:t>Пластики</a:t>
            </a: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6613751" y="1760141"/>
            <a:ext cx="1936578" cy="672839"/>
          </a:xfrm>
          <a:prstGeom prst="rect">
            <a:avLst/>
          </a:prstGeom>
          <a:noFill/>
          <a:ln w="1270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</a:rPr>
              <a:t>Эластомеры</a:t>
            </a: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716435" y="2820995"/>
            <a:ext cx="2099411" cy="672839"/>
          </a:xfrm>
          <a:prstGeom prst="rect">
            <a:avLst/>
          </a:prstGeom>
          <a:noFill/>
          <a:ln w="1270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 smtClean="0">
                <a:latin typeface="Arial Narrow" panose="020B0606020202030204" pitchFamily="34" charset="0"/>
              </a:rPr>
              <a:t>Реактопласты</a:t>
            </a:r>
            <a:endParaRPr lang="ru-RU" sz="1800" dirty="0">
              <a:latin typeface="Arial Narrow" panose="020B0606020202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3705658" y="2820994"/>
            <a:ext cx="2101464" cy="672839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</a:rPr>
              <a:t>Термопласты</a:t>
            </a: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6613746" y="2820994"/>
            <a:ext cx="1936578" cy="672839"/>
          </a:xfrm>
          <a:prstGeom prst="rect">
            <a:avLst/>
          </a:prstGeom>
          <a:noFill/>
          <a:ln w="1270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altLang="fr-FR" sz="1800" dirty="0">
                <a:latin typeface="Arial Narrow" panose="020B0606020202030204" pitchFamily="34" charset="0"/>
              </a:rPr>
              <a:t>Термопластичные 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altLang="fr-FR" sz="1800" dirty="0">
                <a:latin typeface="Arial Narrow" panose="020B0606020202030204" pitchFamily="34" charset="0"/>
              </a:rPr>
              <a:t>эластомеры</a:t>
            </a:r>
            <a:endParaRPr lang="en-US" altLang="fr-FR" sz="1800" dirty="0">
              <a:latin typeface="Arial Narrow" panose="020B0606020202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3336878" y="3778706"/>
            <a:ext cx="2838734" cy="759176"/>
          </a:xfrm>
          <a:prstGeom prst="rect">
            <a:avLst/>
          </a:prstGeom>
          <a:noFill/>
          <a:ln w="1270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altLang="fr-FR" sz="1800" dirty="0">
                <a:latin typeface="Arial Narrow" panose="020B0606020202030204" pitchFamily="34" charset="0"/>
              </a:rPr>
              <a:t>HDPE, LDPE, LLDPE,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altLang="fr-FR" sz="1800" dirty="0">
                <a:latin typeface="Arial Narrow" panose="020B0606020202030204" pitchFamily="34" charset="0"/>
              </a:rPr>
              <a:t> PP, PA, PVC, PS, PC, PET</a:t>
            </a:r>
          </a:p>
        </p:txBody>
      </p:sp>
      <p:cxnSp>
        <p:nvCxnSpPr>
          <p:cNvPr id="16" name="Соединительная линия уступом 15"/>
          <p:cNvCxnSpPr>
            <a:stCxn id="8" idx="2"/>
            <a:endCxn id="9" idx="0"/>
          </p:cNvCxnSpPr>
          <p:nvPr/>
        </p:nvCxnSpPr>
        <p:spPr bwMode="auto">
          <a:xfrm rot="5400000">
            <a:off x="4094843" y="1071226"/>
            <a:ext cx="298520" cy="107931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Соединительная линия уступом 17"/>
          <p:cNvCxnSpPr>
            <a:stCxn id="8" idx="2"/>
            <a:endCxn id="10" idx="0"/>
          </p:cNvCxnSpPr>
          <p:nvPr/>
        </p:nvCxnSpPr>
        <p:spPr bwMode="auto">
          <a:xfrm rot="16200000" flipH="1">
            <a:off x="6033639" y="211740"/>
            <a:ext cx="298520" cy="279828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Соединительная линия уступом 19"/>
          <p:cNvCxnSpPr>
            <a:stCxn id="9" idx="2"/>
            <a:endCxn id="11" idx="0"/>
          </p:cNvCxnSpPr>
          <p:nvPr/>
        </p:nvCxnSpPr>
        <p:spPr bwMode="auto">
          <a:xfrm rot="5400000">
            <a:off x="2541288" y="1657834"/>
            <a:ext cx="388015" cy="193830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Соединительная линия уступом 21"/>
          <p:cNvCxnSpPr>
            <a:stCxn id="9" idx="2"/>
            <a:endCxn id="12" idx="0"/>
          </p:cNvCxnSpPr>
          <p:nvPr/>
        </p:nvCxnSpPr>
        <p:spPr bwMode="auto">
          <a:xfrm rot="16200000" flipH="1">
            <a:off x="4036412" y="2101016"/>
            <a:ext cx="388014" cy="105194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 стрелкой 23"/>
          <p:cNvCxnSpPr>
            <a:stCxn id="10" idx="2"/>
            <a:endCxn id="13" idx="0"/>
          </p:cNvCxnSpPr>
          <p:nvPr/>
        </p:nvCxnSpPr>
        <p:spPr bwMode="auto">
          <a:xfrm flipH="1">
            <a:off x="7582035" y="2432980"/>
            <a:ext cx="5" cy="388014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 стрелкой 25"/>
          <p:cNvCxnSpPr>
            <a:stCxn id="12" idx="2"/>
            <a:endCxn id="14" idx="0"/>
          </p:cNvCxnSpPr>
          <p:nvPr/>
        </p:nvCxnSpPr>
        <p:spPr bwMode="auto">
          <a:xfrm flipH="1">
            <a:off x="4756245" y="3493833"/>
            <a:ext cx="145" cy="284873"/>
          </a:xfrm>
          <a:prstGeom prst="straightConnector1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050322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1"/>
          <p:cNvSpPr>
            <a:spLocks noGrp="1"/>
          </p:cNvSpPr>
          <p:nvPr>
            <p:ph type="title"/>
          </p:nvPr>
        </p:nvSpPr>
        <p:spPr>
          <a:xfrm>
            <a:off x="402542" y="217890"/>
            <a:ext cx="8481695" cy="474379"/>
          </a:xfrm>
        </p:spPr>
        <p:txBody>
          <a:bodyPr/>
          <a:lstStyle/>
          <a:p>
            <a:r>
              <a:rPr lang="ru-RU" sz="2400" dirty="0" smtClean="0">
                <a:latin typeface="Arial Narrow" panose="020B0606020202030204" pitchFamily="34" charset="0"/>
              </a:rPr>
              <a:t>ОСНОВНЫЕ ВИДЫ ПОЛИМЕРОВ, ПРИМЕНЯЕМЫЕ В СЕГМЕНТАХ ЖЕСТКОЙ УПАКОВКИ</a:t>
            </a:r>
            <a:endParaRPr lang="ru-RU" sz="2400" dirty="0">
              <a:latin typeface="Arial Narrow" panose="020B060602020203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36282" y="1063240"/>
            <a:ext cx="1214222" cy="472813"/>
          </a:xfrm>
          <a:prstGeom prst="rect">
            <a:avLst/>
          </a:prstGeom>
          <a:solidFill>
            <a:srgbClr val="008C95"/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en-US" sz="1300" dirty="0" smtClean="0">
                <a:solidFill>
                  <a:schemeClr val="bg1"/>
                </a:solidFill>
                <a:latin typeface="Arial Narrow" panose="020B0606020202030204" pitchFamily="34" charset="0"/>
                <a:ea typeface="MS PGothic" pitchFamily="34" charset="-128"/>
              </a:rPr>
              <a:t>ПП гомо полимер</a:t>
            </a:r>
            <a:endParaRPr lang="en-US" altLang="en-US" sz="1300" dirty="0">
              <a:solidFill>
                <a:schemeClr val="bg1"/>
              </a:solidFill>
              <a:latin typeface="Arial Narrow" panose="020B0606020202030204" pitchFamily="34" charset="0"/>
              <a:ea typeface="MS PGothic" pitchFamily="34" charset="-128"/>
            </a:endParaRPr>
          </a:p>
          <a:p>
            <a:pPr algn="ctr">
              <a:spcBef>
                <a:spcPct val="0"/>
              </a:spcBef>
            </a:pPr>
            <a:r>
              <a:rPr lang="en-US" altLang="en-US" sz="1300" dirty="0">
                <a:solidFill>
                  <a:schemeClr val="bg1"/>
                </a:solidFill>
                <a:latin typeface="Arial Narrow" panose="020B0606020202030204" pitchFamily="34" charset="0"/>
                <a:ea typeface="MS PGothic" pitchFamily="34" charset="-128"/>
              </a:rPr>
              <a:t>(PPH or HPP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886057" y="1063240"/>
            <a:ext cx="1334223" cy="472813"/>
          </a:xfrm>
          <a:prstGeom prst="rect">
            <a:avLst/>
          </a:prstGeom>
          <a:solidFill>
            <a:srgbClr val="008C95"/>
          </a:solidFill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en-US" sz="1300" dirty="0" smtClean="0">
                <a:solidFill>
                  <a:schemeClr val="bg1"/>
                </a:solidFill>
                <a:latin typeface="Arial Narrow" panose="020B0606020202030204" pitchFamily="34" charset="0"/>
                <a:ea typeface="MS PGothic" pitchFamily="34" charset="-128"/>
              </a:rPr>
              <a:t>ПП </a:t>
            </a:r>
            <a:r>
              <a:rPr lang="ru-RU" altLang="en-US" sz="1300" dirty="0" err="1" smtClean="0">
                <a:solidFill>
                  <a:schemeClr val="bg1"/>
                </a:solidFill>
                <a:latin typeface="Arial Narrow" panose="020B0606020202030204" pitchFamily="34" charset="0"/>
                <a:ea typeface="MS PGothic" pitchFamily="34" charset="-128"/>
              </a:rPr>
              <a:t>стат</a:t>
            </a:r>
            <a:r>
              <a:rPr lang="ru-RU" altLang="en-US" sz="1300" dirty="0" smtClean="0">
                <a:solidFill>
                  <a:schemeClr val="bg1"/>
                </a:solidFill>
                <a:latin typeface="Arial Narrow" panose="020B0606020202030204" pitchFamily="34" charset="0"/>
                <a:ea typeface="MS PGothic" pitchFamily="34" charset="-128"/>
              </a:rPr>
              <a:t> сополимер </a:t>
            </a:r>
          </a:p>
          <a:p>
            <a:pPr algn="ctr">
              <a:spcBef>
                <a:spcPct val="0"/>
              </a:spcBef>
            </a:pPr>
            <a:r>
              <a:rPr lang="ru-RU" altLang="en-US" sz="1300" dirty="0" smtClean="0">
                <a:solidFill>
                  <a:schemeClr val="bg1"/>
                </a:solidFill>
                <a:latin typeface="Arial Narrow" panose="020B0606020202030204" pitchFamily="34" charset="0"/>
                <a:ea typeface="MS PGothic" pitchFamily="34" charset="-128"/>
              </a:rPr>
              <a:t>(</a:t>
            </a:r>
            <a:r>
              <a:rPr lang="en-US" altLang="en-US" sz="1300" dirty="0" smtClean="0">
                <a:solidFill>
                  <a:schemeClr val="bg1"/>
                </a:solidFill>
                <a:latin typeface="Arial Narrow" panose="020B0606020202030204" pitchFamily="34" charset="0"/>
                <a:ea typeface="MS PGothic" pitchFamily="34" charset="-128"/>
              </a:rPr>
              <a:t>PPR </a:t>
            </a:r>
            <a:r>
              <a:rPr lang="ru-RU" altLang="en-US" sz="1300" dirty="0" smtClean="0">
                <a:solidFill>
                  <a:schemeClr val="bg1"/>
                </a:solidFill>
                <a:latin typeface="Arial Narrow" panose="020B0606020202030204" pitchFamily="34" charset="0"/>
                <a:ea typeface="MS PGothic" pitchFamily="34" charset="-128"/>
              </a:rPr>
              <a:t>или</a:t>
            </a:r>
            <a:r>
              <a:rPr lang="en-US" altLang="en-US" sz="1300" dirty="0" smtClean="0">
                <a:solidFill>
                  <a:schemeClr val="bg1"/>
                </a:solidFill>
                <a:latin typeface="Arial Narrow" panose="020B0606020202030204" pitchFamily="34" charset="0"/>
                <a:ea typeface="MS PGothic" pitchFamily="34" charset="-128"/>
              </a:rPr>
              <a:t> </a:t>
            </a:r>
            <a:r>
              <a:rPr lang="en-US" altLang="en-US" sz="1300" dirty="0">
                <a:solidFill>
                  <a:schemeClr val="bg1"/>
                </a:solidFill>
                <a:latin typeface="Arial Narrow" panose="020B0606020202030204" pitchFamily="34" charset="0"/>
                <a:ea typeface="MS PGothic" pitchFamily="34" charset="-128"/>
              </a:rPr>
              <a:t>RCP)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636929" y="1063240"/>
            <a:ext cx="1345891" cy="472813"/>
          </a:xfrm>
          <a:prstGeom prst="rect">
            <a:avLst/>
          </a:prstGeom>
          <a:solidFill>
            <a:srgbClr val="008C95"/>
          </a:solidFill>
        </p:spPr>
        <p:txBody>
          <a:bodyPr wrap="square" lIns="36000" tIns="36000" rIns="36000" bIns="36000" rtlCol="0" anchor="ctr">
            <a:spAutoFit/>
          </a:bodyPr>
          <a:lstStyle>
            <a:defPPr>
              <a:defRPr lang="ru-RU"/>
            </a:defPPr>
            <a:lvl1pPr algn="ctr">
              <a:spcBef>
                <a:spcPct val="0"/>
              </a:spcBef>
              <a:defRPr sz="1400">
                <a:solidFill>
                  <a:schemeClr val="bg1"/>
                </a:solidFill>
                <a:latin typeface="Arial Narrow" panose="020B0606020202030204" pitchFamily="34" charset="0"/>
                <a:ea typeface="MS PGothic" pitchFamily="34" charset="-128"/>
              </a:defRPr>
            </a:lvl1pPr>
          </a:lstStyle>
          <a:p>
            <a:r>
              <a:rPr lang="ru-RU" altLang="en-US" sz="1300" dirty="0" smtClean="0"/>
              <a:t>ПП блок сополимер</a:t>
            </a:r>
            <a:endParaRPr lang="en-US" altLang="en-US" sz="1300" dirty="0"/>
          </a:p>
          <a:p>
            <a:r>
              <a:rPr lang="en-US" altLang="en-US" sz="1300" dirty="0"/>
              <a:t>(HIPP, PPC or ICP)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402301" y="1063237"/>
            <a:ext cx="1541842" cy="472813"/>
          </a:xfrm>
          <a:prstGeom prst="rect">
            <a:avLst/>
          </a:prstGeom>
          <a:solidFill>
            <a:srgbClr val="008C95"/>
          </a:solidFill>
        </p:spPr>
        <p:txBody>
          <a:bodyPr wrap="square" lIns="36000" tIns="36000" rIns="36000" bIns="36000" rtlCol="0" anchor="ctr">
            <a:spAutoFit/>
          </a:bodyPr>
          <a:lstStyle>
            <a:defPPr>
              <a:defRPr lang="ru-RU"/>
            </a:defPPr>
            <a:lvl1pPr algn="ctr">
              <a:spcBef>
                <a:spcPct val="0"/>
              </a:spcBef>
              <a:defRPr sz="1400">
                <a:solidFill>
                  <a:schemeClr val="bg1"/>
                </a:solidFill>
                <a:latin typeface="Arial Narrow" panose="020B0606020202030204" pitchFamily="34" charset="0"/>
                <a:ea typeface="MS PGothic" pitchFamily="34" charset="-128"/>
              </a:defRPr>
            </a:lvl1pPr>
          </a:lstStyle>
          <a:p>
            <a:r>
              <a:rPr lang="ru-RU" altLang="en-US" sz="1300" dirty="0" smtClean="0"/>
              <a:t>ПЭ высокой </a:t>
            </a:r>
            <a:r>
              <a:rPr lang="ru-RU" altLang="en-US" sz="1300" dirty="0"/>
              <a:t>плотности</a:t>
            </a:r>
            <a:endParaRPr lang="en-US" altLang="en-US" sz="1300" dirty="0"/>
          </a:p>
          <a:p>
            <a:r>
              <a:rPr lang="en-US" altLang="en-US" sz="1300" dirty="0"/>
              <a:t>(</a:t>
            </a:r>
            <a:r>
              <a:rPr lang="ru-RU" altLang="en-US" sz="1300" dirty="0"/>
              <a:t>ПЭВП, ПЭНД, </a:t>
            </a:r>
            <a:r>
              <a:rPr lang="en-US" altLang="en-US" sz="1300" dirty="0"/>
              <a:t>HDPE)</a:t>
            </a:r>
          </a:p>
        </p:txBody>
      </p:sp>
      <p:sp>
        <p:nvSpPr>
          <p:cNvPr id="27" name="Espace réservé du contenu 2"/>
          <p:cNvSpPr>
            <a:spLocks noGrp="1" noChangeArrowheads="1"/>
          </p:cNvSpPr>
          <p:nvPr>
            <p:ph idx="4294967295"/>
          </p:nvPr>
        </p:nvSpPr>
        <p:spPr>
          <a:xfrm>
            <a:off x="253856" y="2000225"/>
            <a:ext cx="1361567" cy="1265123"/>
          </a:xfrm>
        </p:spPr>
        <p:txBody>
          <a:bodyPr lIns="0" tIns="0" rIns="0" bIns="0"/>
          <a:lstStyle/>
          <a:p>
            <a:pPr marL="171450" indent="-171450">
              <a:spcBef>
                <a:spcPts val="511"/>
              </a:spcBef>
              <a:buFont typeface="Wingdings" panose="05000000000000000000" pitchFamily="2" charset="2"/>
              <a:buChar char="ü"/>
            </a:pPr>
            <a:r>
              <a:rPr lang="ru-RU" altLang="en-US" sz="1000" dirty="0" smtClean="0">
                <a:latin typeface="Arial Narrow" panose="020B0606020202030204" pitchFamily="34" charset="0"/>
              </a:rPr>
              <a:t>Жесткость</a:t>
            </a:r>
            <a:r>
              <a:rPr lang="en-US" altLang="en-US" sz="1000" dirty="0" smtClean="0">
                <a:latin typeface="Arial Narrow" panose="020B0606020202030204" pitchFamily="34" charset="0"/>
              </a:rPr>
              <a:t>, </a:t>
            </a:r>
            <a:r>
              <a:rPr lang="ru-RU" altLang="en-US" sz="1000" dirty="0" smtClean="0">
                <a:latin typeface="Arial Narrow" panose="020B0606020202030204" pitchFamily="34" charset="0"/>
              </a:rPr>
              <a:t>хрупкость</a:t>
            </a:r>
            <a:r>
              <a:rPr lang="en-US" altLang="en-US" sz="1000" dirty="0" smtClean="0">
                <a:latin typeface="Arial Narrow" panose="020B0606020202030204" pitchFamily="34" charset="0"/>
              </a:rPr>
              <a:t> </a:t>
            </a:r>
            <a:r>
              <a:rPr lang="ru-RU" altLang="en-US" sz="1000" dirty="0" smtClean="0">
                <a:latin typeface="Arial Narrow" panose="020B0606020202030204" pitchFamily="34" charset="0"/>
              </a:rPr>
              <a:t>ниже температуры стеклования </a:t>
            </a:r>
            <a:r>
              <a:rPr lang="en-US" altLang="en-US" sz="1000" dirty="0" smtClean="0">
                <a:latin typeface="Arial Narrow" panose="020B0606020202030204" pitchFamily="34" charset="0"/>
              </a:rPr>
              <a:t>(+5</a:t>
            </a:r>
            <a:r>
              <a:rPr lang="en-US" altLang="en-US" sz="1000" dirty="0" smtClean="0">
                <a:latin typeface="Arial Narrow" panose="020B0606020202030204" pitchFamily="34" charset="0"/>
                <a:ea typeface="Times New Roman" pitchFamily="18" charset="0"/>
                <a:cs typeface="Calibri" pitchFamily="34" charset="0"/>
              </a:rPr>
              <a:t>°C</a:t>
            </a:r>
            <a:r>
              <a:rPr lang="en-US" altLang="en-US" sz="1000" dirty="0" smtClean="0">
                <a:latin typeface="Arial Narrow" panose="020B0606020202030204" pitchFamily="34" charset="0"/>
              </a:rPr>
              <a:t>)</a:t>
            </a:r>
            <a:endParaRPr lang="ru-RU" altLang="en-US" sz="1000" dirty="0" smtClean="0">
              <a:latin typeface="Arial Narrow" panose="020B0606020202030204" pitchFamily="34" charset="0"/>
            </a:endParaRPr>
          </a:p>
          <a:p>
            <a:pPr marL="171450" indent="-171450">
              <a:spcBef>
                <a:spcPts val="511"/>
              </a:spcBef>
              <a:buFont typeface="Wingdings" panose="05000000000000000000" pitchFamily="2" charset="2"/>
              <a:buChar char="ü"/>
            </a:pPr>
            <a:r>
              <a:rPr lang="ru-RU" altLang="en-US" sz="1000" dirty="0" smtClean="0">
                <a:latin typeface="Arial Narrow" panose="020B0606020202030204" pitchFamily="34" charset="0"/>
              </a:rPr>
              <a:t>Низкая прозрачность</a:t>
            </a:r>
            <a:r>
              <a:rPr lang="en-US" altLang="en-US" sz="1000" dirty="0" smtClean="0">
                <a:latin typeface="Arial Narrow" panose="020B0606020202030204" pitchFamily="34" charset="0"/>
              </a:rPr>
              <a:t>, </a:t>
            </a:r>
            <a:r>
              <a:rPr lang="ru-RU" altLang="en-US" sz="1000" dirty="0" smtClean="0">
                <a:latin typeface="Arial Narrow" panose="020B0606020202030204" pitchFamily="34" charset="0"/>
              </a:rPr>
              <a:t>мутность, может применяться </a:t>
            </a:r>
            <a:r>
              <a:rPr lang="ru-RU" altLang="en-US" sz="1000" dirty="0">
                <a:latin typeface="Arial Narrow" panose="020B0606020202030204" pitchFamily="34" charset="0"/>
              </a:rPr>
              <a:t>нуклеатор-</a:t>
            </a:r>
            <a:r>
              <a:rPr lang="ru-RU" altLang="en-US" sz="1000" dirty="0" smtClean="0">
                <a:latin typeface="Arial Narrow" panose="020B0606020202030204" pitchFamily="34" charset="0"/>
              </a:rPr>
              <a:t>просветлитель</a:t>
            </a:r>
            <a:endParaRPr lang="en-US" altLang="en-US" sz="1000" dirty="0">
              <a:latin typeface="Arial Narrow" panose="020B0606020202030204" pitchFamily="34" charset="0"/>
            </a:endParaRPr>
          </a:p>
        </p:txBody>
      </p:sp>
      <p:sp>
        <p:nvSpPr>
          <p:cNvPr id="28" name="Espace réservé du contenu 2"/>
          <p:cNvSpPr txBox="1">
            <a:spLocks noChangeArrowheads="1"/>
          </p:cNvSpPr>
          <p:nvPr/>
        </p:nvSpPr>
        <p:spPr bwMode="auto">
          <a:xfrm>
            <a:off x="1814392" y="2000225"/>
            <a:ext cx="1566137" cy="1265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1450" indent="-171450" fontAlgn="base">
              <a:spcBef>
                <a:spcPts val="511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  <a:defRPr sz="1000">
                <a:latin typeface="Arial Narrow" panose="020B0606020202030204" pitchFamily="34" charset="0"/>
              </a:defRPr>
            </a:lvl1pPr>
            <a:lvl2pPr marL="455865" indent="-162325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2pPr>
            <a:lvl3pPr marL="683121" indent="-91985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300"/>
            </a:lvl3pPr>
            <a:lvl4pPr marL="992892" indent="-150152" fontAlgn="base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000"/>
            </a:lvl4pPr>
            <a:lvl5pPr marL="1220148" indent="-127156" fontAlgn="base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000"/>
            </a:lvl5pPr>
            <a:lvl6pPr marL="1751455" indent="-269143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/>
            </a:lvl6pPr>
            <a:lvl7pPr marL="2140968" indent="-269143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/>
            </a:lvl7pPr>
            <a:lvl8pPr marL="2530481" indent="-269143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/>
            </a:lvl8pPr>
            <a:lvl9pPr marL="2919993" indent="-269143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/>
            </a:lvl9pPr>
          </a:lstStyle>
          <a:p>
            <a:r>
              <a:rPr lang="ru-RU" altLang="en-US" dirty="0">
                <a:sym typeface="Symbol" pitchFamily="18" charset="2"/>
              </a:rPr>
              <a:t>Ниже кристалличность</a:t>
            </a:r>
            <a:r>
              <a:rPr lang="en-US" altLang="en-US" dirty="0">
                <a:sym typeface="Symbol" pitchFamily="18" charset="2"/>
              </a:rPr>
              <a:t>: </a:t>
            </a:r>
            <a:r>
              <a:rPr lang="ru-RU" altLang="en-US" dirty="0">
                <a:sym typeface="Symbol" pitchFamily="18" charset="2"/>
              </a:rPr>
              <a:t>ниже жесткость</a:t>
            </a:r>
            <a:r>
              <a:rPr lang="en-US" altLang="en-US" dirty="0">
                <a:sym typeface="Symbol" pitchFamily="18" charset="2"/>
              </a:rPr>
              <a:t>, </a:t>
            </a:r>
            <a:r>
              <a:rPr lang="ru-RU" altLang="en-US" dirty="0">
                <a:sym typeface="Symbol" pitchFamily="18" charset="2"/>
              </a:rPr>
              <a:t>ниже хрупкость</a:t>
            </a:r>
            <a:r>
              <a:rPr lang="en-US" altLang="en-US" dirty="0">
                <a:sym typeface="Symbol" pitchFamily="18" charset="2"/>
              </a:rPr>
              <a:t> </a:t>
            </a:r>
            <a:r>
              <a:rPr lang="en-US" altLang="en-US" dirty="0" smtClean="0">
                <a:sym typeface="Symbol" pitchFamily="18" charset="2"/>
              </a:rPr>
              <a:t>(</a:t>
            </a:r>
            <a:r>
              <a:rPr lang="en-US" altLang="en-US" dirty="0">
                <a:sym typeface="Symbol" pitchFamily="18" charset="2"/>
              </a:rPr>
              <a:t>T</a:t>
            </a:r>
            <a:r>
              <a:rPr lang="ru-RU" altLang="en-US" dirty="0">
                <a:sym typeface="Symbol" pitchFamily="18" charset="2"/>
              </a:rPr>
              <a:t>с</a:t>
            </a:r>
            <a:r>
              <a:rPr lang="en-US" altLang="en-US" dirty="0">
                <a:sym typeface="Symbol" pitchFamily="18" charset="2"/>
              </a:rPr>
              <a:t> = -5°C)</a:t>
            </a:r>
            <a:endParaRPr lang="ru-RU" altLang="en-US" dirty="0">
              <a:sym typeface="Symbol" pitchFamily="18" charset="2"/>
            </a:endParaRPr>
          </a:p>
          <a:p>
            <a:r>
              <a:rPr lang="ru-RU" altLang="en-US" dirty="0"/>
              <a:t>Высокая прозрачность,</a:t>
            </a:r>
            <a:r>
              <a:rPr lang="en-US" altLang="en-US" dirty="0"/>
              <a:t> </a:t>
            </a:r>
            <a:r>
              <a:rPr lang="ru-RU" altLang="en-US" dirty="0"/>
              <a:t>может применяться </a:t>
            </a:r>
            <a:r>
              <a:rPr lang="ru-RU" altLang="en-US" dirty="0" smtClean="0"/>
              <a:t>нуклеатор-просветлитель</a:t>
            </a:r>
            <a:endParaRPr lang="en-US" altLang="en-US" dirty="0"/>
          </a:p>
        </p:txBody>
      </p:sp>
      <p:sp>
        <p:nvSpPr>
          <p:cNvPr id="29" name="Espace réservé du contenu 2"/>
          <p:cNvSpPr txBox="1">
            <a:spLocks noChangeArrowheads="1"/>
          </p:cNvSpPr>
          <p:nvPr/>
        </p:nvSpPr>
        <p:spPr bwMode="auto">
          <a:xfrm>
            <a:off x="3526721" y="2000225"/>
            <a:ext cx="1759477" cy="1265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171450" indent="-171450" fontAlgn="base">
              <a:spcBef>
                <a:spcPts val="511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  <a:defRPr sz="1000">
                <a:latin typeface="Arial Narrow" panose="020B0606020202030204" pitchFamily="34" charset="0"/>
              </a:defRPr>
            </a:lvl1pPr>
            <a:lvl2pPr marL="455865" indent="-162325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2pPr>
            <a:lvl3pPr marL="683121" indent="-91985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300"/>
            </a:lvl3pPr>
            <a:lvl4pPr marL="992892" indent="-150152" fontAlgn="base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000"/>
            </a:lvl4pPr>
            <a:lvl5pPr marL="1220148" indent="-127156" fontAlgn="base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000"/>
            </a:lvl5pPr>
            <a:lvl6pPr marL="1751455" indent="-269143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/>
            </a:lvl6pPr>
            <a:lvl7pPr marL="2140968" indent="-269143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/>
            </a:lvl7pPr>
            <a:lvl8pPr marL="2530481" indent="-269143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/>
            </a:lvl8pPr>
            <a:lvl9pPr marL="2919993" indent="-269143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/>
            </a:lvl9pPr>
          </a:lstStyle>
          <a:p>
            <a:r>
              <a:rPr lang="ru-RU" altLang="en-US" dirty="0">
                <a:sym typeface="Symbol" pitchFamily="18" charset="2"/>
              </a:rPr>
              <a:t>Высокие ударопрочные свойства, хорошая механическая прочность при отрицательных </a:t>
            </a:r>
            <a:r>
              <a:rPr lang="ru-RU" altLang="en-US" dirty="0" smtClean="0">
                <a:sym typeface="Symbol" pitchFamily="18" charset="2"/>
              </a:rPr>
              <a:t>температурах, может применяться </a:t>
            </a:r>
            <a:r>
              <a:rPr lang="ru-RU" altLang="en-US" dirty="0" err="1" smtClean="0">
                <a:sym typeface="Symbol" pitchFamily="18" charset="2"/>
              </a:rPr>
              <a:t>нуклеатор</a:t>
            </a:r>
            <a:endParaRPr lang="ru-RU" altLang="en-US" dirty="0"/>
          </a:p>
          <a:p>
            <a:r>
              <a:rPr lang="ru-RU" altLang="en-US" dirty="0"/>
              <a:t>Непрозрачный</a:t>
            </a:r>
            <a:endParaRPr lang="en-US" altLang="en-US" dirty="0"/>
          </a:p>
          <a:p>
            <a:endParaRPr lang="en-US" altLang="en-US" dirty="0"/>
          </a:p>
        </p:txBody>
      </p:sp>
      <p:sp>
        <p:nvSpPr>
          <p:cNvPr id="30" name="Espace réservé du contenu 2"/>
          <p:cNvSpPr txBox="1">
            <a:spLocks noChangeArrowheads="1"/>
          </p:cNvSpPr>
          <p:nvPr/>
        </p:nvSpPr>
        <p:spPr bwMode="auto">
          <a:xfrm>
            <a:off x="5420242" y="2003232"/>
            <a:ext cx="1555845" cy="1135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171450" indent="-171450" fontAlgn="base">
              <a:spcBef>
                <a:spcPts val="511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  <a:defRPr sz="1000">
                <a:latin typeface="Arial Narrow" panose="020B0606020202030204" pitchFamily="34" charset="0"/>
              </a:defRPr>
            </a:lvl1pPr>
            <a:lvl2pPr marL="455865" indent="-162325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2pPr>
            <a:lvl3pPr marL="683121" indent="-91985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300"/>
            </a:lvl3pPr>
            <a:lvl4pPr marL="992892" indent="-150152" fontAlgn="base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000"/>
            </a:lvl4pPr>
            <a:lvl5pPr marL="1220148" indent="-127156" fontAlgn="base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000"/>
            </a:lvl5pPr>
            <a:lvl6pPr marL="1751455" indent="-269143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/>
            </a:lvl6pPr>
            <a:lvl7pPr marL="2140968" indent="-269143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/>
            </a:lvl7pPr>
            <a:lvl8pPr marL="2530481" indent="-269143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/>
            </a:lvl8pPr>
            <a:lvl9pPr marL="2919993" indent="-269143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/>
            </a:lvl9pPr>
          </a:lstStyle>
          <a:p>
            <a:r>
              <a:rPr lang="ru-RU" altLang="en-US" dirty="0" smtClean="0">
                <a:sym typeface="Symbol" pitchFamily="18" charset="2"/>
              </a:rPr>
              <a:t>Хорошая </a:t>
            </a:r>
            <a:r>
              <a:rPr lang="ru-RU" altLang="en-US" dirty="0">
                <a:sym typeface="Symbol" pitchFamily="18" charset="2"/>
              </a:rPr>
              <a:t>механическая прочность при отрицательных температурах</a:t>
            </a:r>
            <a:endParaRPr lang="ru-RU" altLang="en-US" dirty="0"/>
          </a:p>
          <a:p>
            <a:r>
              <a:rPr lang="ru-RU" altLang="en-US" dirty="0"/>
              <a:t>Высокая кристалличность</a:t>
            </a:r>
          </a:p>
          <a:p>
            <a:r>
              <a:rPr lang="ru-RU" altLang="en-US" dirty="0" smtClean="0"/>
              <a:t>Жесткость</a:t>
            </a:r>
            <a:endParaRPr lang="en-US" altLang="en-US" dirty="0"/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421" y="1675601"/>
            <a:ext cx="1308788" cy="215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2" name="Groupe 8"/>
          <p:cNvGrpSpPr>
            <a:grpSpLocks/>
          </p:cNvGrpSpPr>
          <p:nvPr/>
        </p:nvGrpSpPr>
        <p:grpSpPr bwMode="auto">
          <a:xfrm>
            <a:off x="458060" y="1699175"/>
            <a:ext cx="1026876" cy="116743"/>
            <a:chOff x="827584" y="1333847"/>
            <a:chExt cx="1723628" cy="227008"/>
          </a:xfrm>
        </p:grpSpPr>
        <p:pic>
          <p:nvPicPr>
            <p:cNvPr id="33" name="Picture 3"/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584" y="1333847"/>
              <a:ext cx="576064" cy="2254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3"/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3648" y="1335439"/>
              <a:ext cx="576064" cy="2254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3"/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5148" y="1335439"/>
              <a:ext cx="576064" cy="2254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6" name="Picture 4"/>
          <p:cNvPicPr>
            <a:picLocks noChangeAspect="1" noChangeArrowheads="1"/>
          </p:cNvPicPr>
          <p:nvPr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40" t="51489" r="3491" b="1287"/>
          <a:stretch/>
        </p:blipFill>
        <p:spPr bwMode="auto">
          <a:xfrm>
            <a:off x="3614943" y="1725131"/>
            <a:ext cx="1537783" cy="158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7" name="Group 54"/>
          <p:cNvGrpSpPr>
            <a:grpSpLocks/>
          </p:cNvGrpSpPr>
          <p:nvPr/>
        </p:nvGrpSpPr>
        <p:grpSpPr bwMode="auto">
          <a:xfrm rot="5041061">
            <a:off x="6166600" y="1131154"/>
            <a:ext cx="175015" cy="1264132"/>
            <a:chOff x="3992" y="1640"/>
            <a:chExt cx="323" cy="1593"/>
          </a:xfrm>
        </p:grpSpPr>
        <p:sp>
          <p:nvSpPr>
            <p:cNvPr id="38" name="Freeform 55"/>
            <p:cNvSpPr>
              <a:spLocks/>
            </p:cNvSpPr>
            <p:nvPr/>
          </p:nvSpPr>
          <p:spPr bwMode="auto">
            <a:xfrm>
              <a:off x="4089" y="1640"/>
              <a:ext cx="141" cy="1593"/>
            </a:xfrm>
            <a:custGeom>
              <a:avLst/>
              <a:gdLst>
                <a:gd name="T0" fmla="*/ 59 w 141"/>
                <a:gd name="T1" fmla="*/ 0 h 1721"/>
                <a:gd name="T2" fmla="*/ 63 w 141"/>
                <a:gd name="T3" fmla="*/ 41 h 1721"/>
                <a:gd name="T4" fmla="*/ 89 w 141"/>
                <a:gd name="T5" fmla="*/ 78 h 1721"/>
                <a:gd name="T6" fmla="*/ 102 w 141"/>
                <a:gd name="T7" fmla="*/ 115 h 1721"/>
                <a:gd name="T8" fmla="*/ 114 w 141"/>
                <a:gd name="T9" fmla="*/ 165 h 1721"/>
                <a:gd name="T10" fmla="*/ 127 w 141"/>
                <a:gd name="T11" fmla="*/ 226 h 1721"/>
                <a:gd name="T12" fmla="*/ 140 w 141"/>
                <a:gd name="T13" fmla="*/ 264 h 1721"/>
                <a:gd name="T14" fmla="*/ 140 w 141"/>
                <a:gd name="T15" fmla="*/ 325 h 1721"/>
                <a:gd name="T16" fmla="*/ 140 w 141"/>
                <a:gd name="T17" fmla="*/ 374 h 1721"/>
                <a:gd name="T18" fmla="*/ 140 w 141"/>
                <a:gd name="T19" fmla="*/ 411 h 1721"/>
                <a:gd name="T20" fmla="*/ 140 w 141"/>
                <a:gd name="T21" fmla="*/ 448 h 1721"/>
                <a:gd name="T22" fmla="*/ 140 w 141"/>
                <a:gd name="T23" fmla="*/ 485 h 1721"/>
                <a:gd name="T24" fmla="*/ 140 w 141"/>
                <a:gd name="T25" fmla="*/ 523 h 1721"/>
                <a:gd name="T26" fmla="*/ 127 w 141"/>
                <a:gd name="T27" fmla="*/ 560 h 1721"/>
                <a:gd name="T28" fmla="*/ 114 w 141"/>
                <a:gd name="T29" fmla="*/ 597 h 1721"/>
                <a:gd name="T30" fmla="*/ 102 w 141"/>
                <a:gd name="T31" fmla="*/ 646 h 1721"/>
                <a:gd name="T32" fmla="*/ 102 w 141"/>
                <a:gd name="T33" fmla="*/ 683 h 1721"/>
                <a:gd name="T34" fmla="*/ 76 w 141"/>
                <a:gd name="T35" fmla="*/ 744 h 1721"/>
                <a:gd name="T36" fmla="*/ 50 w 141"/>
                <a:gd name="T37" fmla="*/ 781 h 1721"/>
                <a:gd name="T38" fmla="*/ 50 w 141"/>
                <a:gd name="T39" fmla="*/ 831 h 1721"/>
                <a:gd name="T40" fmla="*/ 37 w 141"/>
                <a:gd name="T41" fmla="*/ 905 h 1721"/>
                <a:gd name="T42" fmla="*/ 37 w 141"/>
                <a:gd name="T43" fmla="*/ 967 h 1721"/>
                <a:gd name="T44" fmla="*/ 37 w 141"/>
                <a:gd name="T45" fmla="*/ 1016 h 1721"/>
                <a:gd name="T46" fmla="*/ 25 w 141"/>
                <a:gd name="T47" fmla="*/ 1066 h 1721"/>
                <a:gd name="T48" fmla="*/ 12 w 141"/>
                <a:gd name="T49" fmla="*/ 1103 h 1721"/>
                <a:gd name="T50" fmla="*/ 12 w 141"/>
                <a:gd name="T51" fmla="*/ 1152 h 1721"/>
                <a:gd name="T52" fmla="*/ 12 w 141"/>
                <a:gd name="T53" fmla="*/ 1202 h 1721"/>
                <a:gd name="T54" fmla="*/ 12 w 141"/>
                <a:gd name="T55" fmla="*/ 1239 h 1721"/>
                <a:gd name="T56" fmla="*/ 12 w 141"/>
                <a:gd name="T57" fmla="*/ 1276 h 1721"/>
                <a:gd name="T58" fmla="*/ 12 w 141"/>
                <a:gd name="T59" fmla="*/ 1325 h 1721"/>
                <a:gd name="T60" fmla="*/ 12 w 141"/>
                <a:gd name="T61" fmla="*/ 1362 h 1721"/>
                <a:gd name="T62" fmla="*/ 12 w 141"/>
                <a:gd name="T63" fmla="*/ 1399 h 1721"/>
                <a:gd name="T64" fmla="*/ 12 w 141"/>
                <a:gd name="T65" fmla="*/ 1436 h 1721"/>
                <a:gd name="T66" fmla="*/ 0 w 141"/>
                <a:gd name="T67" fmla="*/ 1473 h 1721"/>
                <a:gd name="T68" fmla="*/ 0 w 141"/>
                <a:gd name="T69" fmla="*/ 1522 h 1721"/>
                <a:gd name="T70" fmla="*/ 0 w 141"/>
                <a:gd name="T71" fmla="*/ 1559 h 1721"/>
                <a:gd name="T72" fmla="*/ 0 w 141"/>
                <a:gd name="T73" fmla="*/ 1596 h 1721"/>
                <a:gd name="T74" fmla="*/ 0 w 141"/>
                <a:gd name="T75" fmla="*/ 1646 h 1721"/>
                <a:gd name="T76" fmla="*/ 25 w 141"/>
                <a:gd name="T77" fmla="*/ 1683 h 1721"/>
                <a:gd name="T78" fmla="*/ 63 w 141"/>
                <a:gd name="T79" fmla="*/ 1720 h 1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1" h="1721">
                  <a:moveTo>
                    <a:pt x="59" y="0"/>
                  </a:moveTo>
                  <a:lnTo>
                    <a:pt x="63" y="41"/>
                  </a:lnTo>
                  <a:lnTo>
                    <a:pt x="89" y="78"/>
                  </a:lnTo>
                  <a:lnTo>
                    <a:pt x="102" y="115"/>
                  </a:lnTo>
                  <a:lnTo>
                    <a:pt x="114" y="165"/>
                  </a:lnTo>
                  <a:lnTo>
                    <a:pt x="127" y="226"/>
                  </a:lnTo>
                  <a:lnTo>
                    <a:pt x="140" y="264"/>
                  </a:lnTo>
                  <a:lnTo>
                    <a:pt x="140" y="325"/>
                  </a:lnTo>
                  <a:lnTo>
                    <a:pt x="140" y="374"/>
                  </a:lnTo>
                  <a:lnTo>
                    <a:pt x="140" y="411"/>
                  </a:lnTo>
                  <a:lnTo>
                    <a:pt x="140" y="448"/>
                  </a:lnTo>
                  <a:lnTo>
                    <a:pt x="140" y="485"/>
                  </a:lnTo>
                  <a:lnTo>
                    <a:pt x="140" y="523"/>
                  </a:lnTo>
                  <a:lnTo>
                    <a:pt x="127" y="560"/>
                  </a:lnTo>
                  <a:lnTo>
                    <a:pt x="114" y="597"/>
                  </a:lnTo>
                  <a:lnTo>
                    <a:pt x="102" y="646"/>
                  </a:lnTo>
                  <a:lnTo>
                    <a:pt x="102" y="683"/>
                  </a:lnTo>
                  <a:lnTo>
                    <a:pt x="76" y="744"/>
                  </a:lnTo>
                  <a:lnTo>
                    <a:pt x="50" y="781"/>
                  </a:lnTo>
                  <a:lnTo>
                    <a:pt x="50" y="831"/>
                  </a:lnTo>
                  <a:lnTo>
                    <a:pt x="37" y="905"/>
                  </a:lnTo>
                  <a:lnTo>
                    <a:pt x="37" y="967"/>
                  </a:lnTo>
                  <a:lnTo>
                    <a:pt x="37" y="1016"/>
                  </a:lnTo>
                  <a:lnTo>
                    <a:pt x="25" y="1066"/>
                  </a:lnTo>
                  <a:lnTo>
                    <a:pt x="12" y="1103"/>
                  </a:lnTo>
                  <a:lnTo>
                    <a:pt x="12" y="1152"/>
                  </a:lnTo>
                  <a:lnTo>
                    <a:pt x="12" y="1202"/>
                  </a:lnTo>
                  <a:lnTo>
                    <a:pt x="12" y="1239"/>
                  </a:lnTo>
                  <a:lnTo>
                    <a:pt x="12" y="1276"/>
                  </a:lnTo>
                  <a:lnTo>
                    <a:pt x="12" y="1325"/>
                  </a:lnTo>
                  <a:lnTo>
                    <a:pt x="12" y="1362"/>
                  </a:lnTo>
                  <a:lnTo>
                    <a:pt x="12" y="1399"/>
                  </a:lnTo>
                  <a:lnTo>
                    <a:pt x="12" y="1436"/>
                  </a:lnTo>
                  <a:lnTo>
                    <a:pt x="0" y="1473"/>
                  </a:lnTo>
                  <a:lnTo>
                    <a:pt x="0" y="1522"/>
                  </a:lnTo>
                  <a:lnTo>
                    <a:pt x="0" y="1559"/>
                  </a:lnTo>
                  <a:lnTo>
                    <a:pt x="0" y="1596"/>
                  </a:lnTo>
                  <a:lnTo>
                    <a:pt x="0" y="1646"/>
                  </a:lnTo>
                  <a:lnTo>
                    <a:pt x="25" y="1683"/>
                  </a:lnTo>
                  <a:lnTo>
                    <a:pt x="63" y="1720"/>
                  </a:lnTo>
                </a:path>
              </a:pathLst>
            </a:custGeom>
            <a:noFill/>
            <a:ln w="12700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25"/>
            </a:p>
          </p:txBody>
        </p:sp>
        <p:sp>
          <p:nvSpPr>
            <p:cNvPr id="39" name="Line 56"/>
            <p:cNvSpPr>
              <a:spLocks noChangeShapeType="1"/>
            </p:cNvSpPr>
            <p:nvPr/>
          </p:nvSpPr>
          <p:spPr bwMode="auto">
            <a:xfrm flipV="1">
              <a:off x="4222" y="1857"/>
              <a:ext cx="93" cy="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25"/>
            </a:p>
          </p:txBody>
        </p:sp>
        <p:sp>
          <p:nvSpPr>
            <p:cNvPr id="40" name="Line 57"/>
            <p:cNvSpPr>
              <a:spLocks noChangeShapeType="1"/>
            </p:cNvSpPr>
            <p:nvPr/>
          </p:nvSpPr>
          <p:spPr bwMode="auto">
            <a:xfrm flipH="1">
              <a:off x="3992" y="3077"/>
              <a:ext cx="95" cy="3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25"/>
            </a:p>
          </p:txBody>
        </p:sp>
        <p:sp>
          <p:nvSpPr>
            <p:cNvPr id="41" name="Line 58"/>
            <p:cNvSpPr>
              <a:spLocks noChangeShapeType="1"/>
            </p:cNvSpPr>
            <p:nvPr/>
          </p:nvSpPr>
          <p:spPr bwMode="auto">
            <a:xfrm>
              <a:off x="4167" y="2334"/>
              <a:ext cx="88" cy="2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25"/>
            </a:p>
          </p:txBody>
        </p:sp>
      </p:grpSp>
      <p:pic>
        <p:nvPicPr>
          <p:cNvPr id="42" name="Picture 88" descr="C:\Users\PanarinVV\Desktop\Фото\Щетка.jpg">
            <a:extLst>
              <a:ext uri="{FF2B5EF4-FFF2-40B4-BE49-F238E27FC236}">
                <a16:creationId xmlns:a16="http://schemas.microsoft.com/office/drawing/2014/main" id="{8C6F3980-CD59-4AA7-9ED7-8302AFDF8A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5" t="13689" r="24064" b="20201"/>
          <a:stretch/>
        </p:blipFill>
        <p:spPr bwMode="auto">
          <a:xfrm>
            <a:off x="375261" y="3881130"/>
            <a:ext cx="513634" cy="207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C:\Users\PanarinVV\Desktop\Фото\87c4fcfca15954e38c017634bc222345.jpg">
            <a:extLst>
              <a:ext uri="{FF2B5EF4-FFF2-40B4-BE49-F238E27FC236}">
                <a16:creationId xmlns:a16="http://schemas.microsoft.com/office/drawing/2014/main" id="{D82F1B29-9347-4AF3-BA19-73F89E51F7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656" y="3812246"/>
            <a:ext cx="403975" cy="345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5" descr="http://forkidsandmum.ru/pictures/audio_cd_covers/1014510562.jpg">
            <a:extLst>
              <a:ext uri="{FF2B5EF4-FFF2-40B4-BE49-F238E27FC236}">
                <a16:creationId xmlns:a16="http://schemas.microsoft.com/office/drawing/2014/main" id="{DBF13589-0122-4347-8EBD-97AC8D2E3F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000" y="4238346"/>
            <a:ext cx="370941" cy="284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2" descr="C:\Users\PanarinVV\Desktop\Фото\Йогурт.jpg">
            <a:extLst>
              <a:ext uri="{FF2B5EF4-FFF2-40B4-BE49-F238E27FC236}">
                <a16:creationId xmlns:a16="http://schemas.microsoft.com/office/drawing/2014/main" id="{56E6F053-7058-49A5-92A0-BA2502213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205" y="3256714"/>
            <a:ext cx="490690" cy="351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2" descr="C:\Users\PanarinVV\Desktop\Фото\Скумбрия.jpg">
            <a:extLst>
              <a:ext uri="{FF2B5EF4-FFF2-40B4-BE49-F238E27FC236}">
                <a16:creationId xmlns:a16="http://schemas.microsoft.com/office/drawing/2014/main" id="{2E96AC4F-5BFA-48DD-893C-062A8DCBB9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498" y="3269174"/>
            <a:ext cx="750207" cy="357946"/>
          </a:xfrm>
          <a:prstGeom prst="roundRect">
            <a:avLst>
              <a:gd name="adj" fmla="val 8594"/>
            </a:avLst>
          </a:prstGeom>
          <a:solidFill>
            <a:srgbClr val="EDEDED">
              <a:alpha val="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7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5206" y="4066333"/>
            <a:ext cx="1158091" cy="336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object 16"/>
          <p:cNvSpPr/>
          <p:nvPr/>
        </p:nvSpPr>
        <p:spPr>
          <a:xfrm>
            <a:off x="2097984" y="3243682"/>
            <a:ext cx="1156593" cy="82627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9" name="Picture 76" descr="Картинки по запросу injection molding bumper auto">
            <a:hlinkClick r:id="rId12"/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380" b="19038"/>
          <a:stretch/>
        </p:blipFill>
        <p:spPr bwMode="auto">
          <a:xfrm>
            <a:off x="3829989" y="4125039"/>
            <a:ext cx="1318090" cy="4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13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3605" y="3240282"/>
            <a:ext cx="1031231" cy="848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2"/>
          <p:cNvPicPr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69" b="3078"/>
          <a:stretch>
            <a:fillRect/>
          </a:stretch>
        </p:blipFill>
        <p:spPr bwMode="auto">
          <a:xfrm>
            <a:off x="4639375" y="3240282"/>
            <a:ext cx="608318" cy="826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9" descr="PCO51863_07"/>
          <p:cNvPicPr>
            <a:picLocks noChangeAspect="1" noChangeArrowheads="1"/>
          </p:cNvPicPr>
          <p:nvPr/>
        </p:nvPicPr>
        <p:blipFill>
          <a:blip r:embed="rId16">
            <a:lum bright="-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0367" y="3120319"/>
            <a:ext cx="1400657" cy="680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0A19789E-5C46-4489-9AD2-942A124B434C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185" y="3845663"/>
            <a:ext cx="952911" cy="551061"/>
          </a:xfrm>
          <a:prstGeom prst="rect">
            <a:avLst/>
          </a:prstGeom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5A74B70E-2274-4B35-95F2-697A6B7A7D94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27" t="1161" r="14670" b="2997"/>
          <a:stretch/>
        </p:blipFill>
        <p:spPr>
          <a:xfrm>
            <a:off x="6374915" y="3809814"/>
            <a:ext cx="641311" cy="714419"/>
          </a:xfrm>
          <a:prstGeom prst="rect">
            <a:avLst/>
          </a:prstGeom>
        </p:spPr>
      </p:pic>
      <p:sp>
        <p:nvSpPr>
          <p:cNvPr id="55" name="TextBox 54"/>
          <p:cNvSpPr txBox="1"/>
          <p:nvPr/>
        </p:nvSpPr>
        <p:spPr>
          <a:xfrm>
            <a:off x="7283217" y="1065512"/>
            <a:ext cx="1489723" cy="472813"/>
          </a:xfrm>
          <a:prstGeom prst="rect">
            <a:avLst/>
          </a:prstGeom>
          <a:solidFill>
            <a:srgbClr val="008C95"/>
          </a:solidFill>
        </p:spPr>
        <p:txBody>
          <a:bodyPr wrap="square" lIns="36000" tIns="36000" rIns="36000" bIns="36000" rtlCol="0" anchor="ctr">
            <a:spAutoFit/>
          </a:bodyPr>
          <a:lstStyle>
            <a:defPPr>
              <a:defRPr lang="ru-RU"/>
            </a:defPPr>
            <a:lvl1pPr algn="ctr">
              <a:spcBef>
                <a:spcPct val="0"/>
              </a:spcBef>
              <a:defRPr sz="1400">
                <a:solidFill>
                  <a:schemeClr val="bg1"/>
                </a:solidFill>
                <a:latin typeface="Arial Narrow" panose="020B0606020202030204" pitchFamily="34" charset="0"/>
                <a:ea typeface="MS PGothic" pitchFamily="34" charset="-128"/>
              </a:defRPr>
            </a:lvl1pPr>
          </a:lstStyle>
          <a:p>
            <a:r>
              <a:rPr lang="ru-RU" altLang="en-US" sz="1300" dirty="0" smtClean="0"/>
              <a:t>ПЭ низкой </a:t>
            </a:r>
            <a:r>
              <a:rPr lang="ru-RU" altLang="en-US" sz="1300" dirty="0"/>
              <a:t>плотности</a:t>
            </a:r>
            <a:endParaRPr lang="en-US" altLang="en-US" sz="1300" dirty="0"/>
          </a:p>
          <a:p>
            <a:r>
              <a:rPr lang="en-US" altLang="en-US" sz="1300" dirty="0"/>
              <a:t>(</a:t>
            </a:r>
            <a:r>
              <a:rPr lang="ru-RU" altLang="en-US" sz="1300" dirty="0" smtClean="0"/>
              <a:t>ПЭНП</a:t>
            </a:r>
            <a:r>
              <a:rPr lang="ru-RU" altLang="en-US" sz="1300" dirty="0"/>
              <a:t>, </a:t>
            </a:r>
            <a:r>
              <a:rPr lang="ru-RU" altLang="en-US" sz="1300" dirty="0" smtClean="0"/>
              <a:t>ПЭВД</a:t>
            </a:r>
            <a:r>
              <a:rPr lang="ru-RU" altLang="en-US" sz="1300" dirty="0"/>
              <a:t>,  </a:t>
            </a:r>
            <a:r>
              <a:rPr lang="en-US" altLang="en-US" sz="1300" dirty="0"/>
              <a:t>L</a:t>
            </a:r>
            <a:r>
              <a:rPr lang="en-US" altLang="en-US" sz="1300" dirty="0" smtClean="0"/>
              <a:t>DPE</a:t>
            </a:r>
            <a:r>
              <a:rPr lang="en-US" altLang="en-US" sz="1300" dirty="0"/>
              <a:t>)</a:t>
            </a:r>
          </a:p>
        </p:txBody>
      </p:sp>
      <p:sp>
        <p:nvSpPr>
          <p:cNvPr id="56" name="Espace réservé du contenu 2"/>
          <p:cNvSpPr txBox="1">
            <a:spLocks noChangeArrowheads="1"/>
          </p:cNvSpPr>
          <p:nvPr/>
        </p:nvSpPr>
        <p:spPr bwMode="auto">
          <a:xfrm>
            <a:off x="7301159" y="2005507"/>
            <a:ext cx="1555845" cy="1135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171450" indent="-171450" fontAlgn="base">
              <a:spcBef>
                <a:spcPts val="511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ü"/>
              <a:defRPr sz="1000">
                <a:latin typeface="Arial Narrow" panose="020B0606020202030204" pitchFamily="34" charset="0"/>
              </a:defRPr>
            </a:lvl1pPr>
            <a:lvl2pPr marL="455865" indent="-162325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2pPr>
            <a:lvl3pPr marL="683121" indent="-91985" fontAlgn="base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300"/>
            </a:lvl3pPr>
            <a:lvl4pPr marL="992892" indent="-150152" fontAlgn="base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000"/>
            </a:lvl4pPr>
            <a:lvl5pPr marL="1220148" indent="-127156" fontAlgn="base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000"/>
            </a:lvl5pPr>
            <a:lvl6pPr marL="1751455" indent="-269143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/>
            </a:lvl6pPr>
            <a:lvl7pPr marL="2140968" indent="-269143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/>
            </a:lvl7pPr>
            <a:lvl8pPr marL="2530481" indent="-269143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/>
            </a:lvl8pPr>
            <a:lvl9pPr marL="2919993" indent="-269143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/>
            </a:lvl9pPr>
          </a:lstStyle>
          <a:p>
            <a:r>
              <a:rPr lang="ru-RU" altLang="en-US" dirty="0" smtClean="0">
                <a:sym typeface="Symbol" pitchFamily="18" charset="2"/>
              </a:rPr>
              <a:t>Хорошая мягкость и гибкость</a:t>
            </a:r>
          </a:p>
          <a:p>
            <a:r>
              <a:rPr lang="ru-RU" altLang="en-US" dirty="0">
                <a:sym typeface="Symbol" pitchFamily="18" charset="2"/>
              </a:rPr>
              <a:t>Хорошая механическая прочность при отрицательных </a:t>
            </a:r>
            <a:r>
              <a:rPr lang="ru-RU" altLang="en-US" dirty="0" smtClean="0">
                <a:sym typeface="Symbol" pitchFamily="18" charset="2"/>
              </a:rPr>
              <a:t>температурах</a:t>
            </a:r>
            <a:endParaRPr lang="ru-RU" altLang="en-US" dirty="0"/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 rotWithShape="1">
          <a:blip r:embed="rId19"/>
          <a:srcRect l="49701" t="34021" r="28077" b="49701"/>
          <a:stretch/>
        </p:blipFill>
        <p:spPr>
          <a:xfrm>
            <a:off x="7435361" y="1603613"/>
            <a:ext cx="1344305" cy="349820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 rotWithShape="1">
          <a:blip r:embed="rId20"/>
          <a:srcRect l="54577" t="31359" r="26231" b="24949"/>
          <a:stretch/>
        </p:blipFill>
        <p:spPr>
          <a:xfrm rot="5400000">
            <a:off x="7692361" y="3008388"/>
            <a:ext cx="766584" cy="981658"/>
          </a:xfrm>
          <a:prstGeom prst="rect">
            <a:avLst/>
          </a:prstGeom>
        </p:spPr>
      </p:pic>
      <p:pic>
        <p:nvPicPr>
          <p:cNvPr id="59" name="Picture 2" descr="https://mixsp.ru/files/cf6/cf66f6f54abe8cdddeb42971a2a67bc3.jpg"/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83" t="9855" r="9892" b="7075"/>
          <a:stretch/>
        </p:blipFill>
        <p:spPr bwMode="auto">
          <a:xfrm>
            <a:off x="7667376" y="3904030"/>
            <a:ext cx="805216" cy="593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6852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1"/>
      <p:bldP spid="28" grpId="0"/>
      <p:bldP spid="28" grpId="1"/>
      <p:bldP spid="29" grpId="0"/>
      <p:bldP spid="29" grpId="1"/>
      <p:bldP spid="30" grpId="0"/>
      <p:bldP spid="30" grpId="1"/>
      <p:bldP spid="56" grpId="0"/>
      <p:bldP spid="56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54" t="30570" r="7660" b="16783"/>
          <a:stretch/>
        </p:blipFill>
        <p:spPr bwMode="auto">
          <a:xfrm>
            <a:off x="2883879" y="2993290"/>
            <a:ext cx="3409934" cy="1656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6" name="Группа 25"/>
          <p:cNvGrpSpPr/>
          <p:nvPr/>
        </p:nvGrpSpPr>
        <p:grpSpPr>
          <a:xfrm>
            <a:off x="700076" y="1036985"/>
            <a:ext cx="8061340" cy="2257072"/>
            <a:chOff x="206173" y="911489"/>
            <a:chExt cx="10886800" cy="2693824"/>
          </a:xfrm>
        </p:grpSpPr>
        <p:grpSp>
          <p:nvGrpSpPr>
            <p:cNvPr id="10" name="Группа 9"/>
            <p:cNvGrpSpPr/>
            <p:nvPr/>
          </p:nvGrpSpPr>
          <p:grpSpPr>
            <a:xfrm>
              <a:off x="206173" y="911489"/>
              <a:ext cx="10886800" cy="2693824"/>
              <a:chOff x="217659" y="1442779"/>
              <a:chExt cx="10886800" cy="2693824"/>
            </a:xfrm>
          </p:grpSpPr>
          <p:grpSp>
            <p:nvGrpSpPr>
              <p:cNvPr id="9" name="Группа 8"/>
              <p:cNvGrpSpPr/>
              <p:nvPr/>
            </p:nvGrpSpPr>
            <p:grpSpPr>
              <a:xfrm>
                <a:off x="217659" y="1442779"/>
                <a:ext cx="9472477" cy="2693824"/>
                <a:chOff x="114503" y="2884100"/>
                <a:chExt cx="9472477" cy="2693824"/>
              </a:xfrm>
            </p:grpSpPr>
            <p:pic>
              <p:nvPicPr>
                <p:cNvPr id="37892" name="Picture 4"/>
                <p:cNvPicPr>
                  <a:picLocks noChangeAspect="1" noChangeArrowheads="1"/>
                </p:cNvPicPr>
                <p:nvPr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14455" y="3187149"/>
                  <a:ext cx="8772525" cy="23907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" name="TextBox 7"/>
                <p:cNvSpPr txBox="1"/>
                <p:nvPr/>
              </p:nvSpPr>
              <p:spPr>
                <a:xfrm>
                  <a:off x="114503" y="3346202"/>
                  <a:ext cx="2207067" cy="2754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900" b="1" dirty="0">
                      <a:latin typeface="Arial Narrow" panose="020B0606020202030204" pitchFamily="34" charset="0"/>
                    </a:rPr>
                    <a:t>Гидроцилиндр впрыска</a:t>
                  </a:r>
                </a:p>
              </p:txBody>
            </p:sp>
            <p:sp>
              <p:nvSpPr>
                <p:cNvPr id="11" name="TextBox 10"/>
                <p:cNvSpPr txBox="1"/>
                <p:nvPr/>
              </p:nvSpPr>
              <p:spPr>
                <a:xfrm>
                  <a:off x="1767693" y="2911110"/>
                  <a:ext cx="1338474" cy="4407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ru-RU" sz="900" b="1" dirty="0">
                      <a:latin typeface="Arial Narrow" panose="020B0606020202030204" pitchFamily="34" charset="0"/>
                    </a:rPr>
                    <a:t>Питающий бункер</a:t>
                  </a:r>
                </a:p>
              </p:txBody>
            </p:sp>
            <p:sp>
              <p:nvSpPr>
                <p:cNvPr id="12" name="TextBox 11"/>
                <p:cNvSpPr txBox="1"/>
                <p:nvPr/>
              </p:nvSpPr>
              <p:spPr>
                <a:xfrm>
                  <a:off x="3063718" y="3049400"/>
                  <a:ext cx="1440161" cy="2754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900" b="1" dirty="0">
                      <a:latin typeface="Arial Narrow" panose="020B0606020202030204" pitchFamily="34" charset="0"/>
                    </a:rPr>
                    <a:t>Нагреватели</a:t>
                  </a:r>
                </a:p>
              </p:txBody>
            </p:sp>
            <p:sp>
              <p:nvSpPr>
                <p:cNvPr id="13" name="TextBox 12"/>
                <p:cNvSpPr txBox="1"/>
                <p:nvPr/>
              </p:nvSpPr>
              <p:spPr>
                <a:xfrm>
                  <a:off x="4444632" y="2906118"/>
                  <a:ext cx="1512170" cy="4407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900" b="1" dirty="0">
                      <a:latin typeface="Arial Narrow" panose="020B0606020202030204" pitchFamily="34" charset="0"/>
                    </a:rPr>
                    <a:t>Материальный цилиндр</a:t>
                  </a:r>
                </a:p>
              </p:txBody>
            </p:sp>
            <p:sp>
              <p:nvSpPr>
                <p:cNvPr id="14" name="TextBox 13"/>
                <p:cNvSpPr txBox="1"/>
                <p:nvPr/>
              </p:nvSpPr>
              <p:spPr>
                <a:xfrm>
                  <a:off x="4879579" y="3402591"/>
                  <a:ext cx="1211851" cy="2754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900" b="1" dirty="0">
                      <a:latin typeface="Arial Narrow" panose="020B0606020202030204" pitchFamily="34" charset="0"/>
                    </a:rPr>
                    <a:t>Шнек</a:t>
                  </a:r>
                </a:p>
              </p:txBody>
            </p:sp>
            <p:sp>
              <p:nvSpPr>
                <p:cNvPr id="15" name="TextBox 14"/>
                <p:cNvSpPr txBox="1"/>
                <p:nvPr/>
              </p:nvSpPr>
              <p:spPr>
                <a:xfrm>
                  <a:off x="6417264" y="2884100"/>
                  <a:ext cx="1438183" cy="4407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900" b="1" dirty="0">
                      <a:latin typeface="Arial Narrow" panose="020B0606020202030204" pitchFamily="34" charset="0"/>
                    </a:rPr>
                    <a:t>Неподвижная плита</a:t>
                  </a:r>
                </a:p>
              </p:txBody>
            </p:sp>
            <p:sp>
              <p:nvSpPr>
                <p:cNvPr id="20" name="TextBox 19"/>
                <p:cNvSpPr txBox="1"/>
                <p:nvPr/>
              </p:nvSpPr>
              <p:spPr>
                <a:xfrm>
                  <a:off x="6536378" y="3260974"/>
                  <a:ext cx="1030124" cy="4407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900" b="1" dirty="0">
                      <a:latin typeface="Arial Narrow" panose="020B0606020202030204" pitchFamily="34" charset="0"/>
                    </a:rPr>
                    <a:t>Пресс-форма</a:t>
                  </a:r>
                </a:p>
              </p:txBody>
            </p:sp>
            <p:sp>
              <p:nvSpPr>
                <p:cNvPr id="21" name="TextBox 20"/>
                <p:cNvSpPr txBox="1"/>
                <p:nvPr/>
              </p:nvSpPr>
              <p:spPr>
                <a:xfrm>
                  <a:off x="7312134" y="3218365"/>
                  <a:ext cx="1887326" cy="2754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900" b="1" dirty="0">
                      <a:latin typeface="Arial Narrow" panose="020B0606020202030204" pitchFamily="34" charset="0"/>
                    </a:rPr>
                    <a:t>Подвижная плита</a:t>
                  </a:r>
                </a:p>
              </p:txBody>
            </p:sp>
            <p:sp>
              <p:nvSpPr>
                <p:cNvPr id="22" name="TextBox 21"/>
                <p:cNvSpPr txBox="1"/>
                <p:nvPr/>
              </p:nvSpPr>
              <p:spPr>
                <a:xfrm>
                  <a:off x="7758175" y="3439228"/>
                  <a:ext cx="1368152" cy="2754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900" b="1" dirty="0">
                      <a:latin typeface="Arial Narrow" panose="020B0606020202030204" pitchFamily="34" charset="0"/>
                    </a:rPr>
                    <a:t>Колонны</a:t>
                  </a:r>
                </a:p>
              </p:txBody>
            </p:sp>
            <p:sp>
              <p:nvSpPr>
                <p:cNvPr id="24" name="TextBox 23"/>
                <p:cNvSpPr txBox="1"/>
                <p:nvPr/>
              </p:nvSpPr>
              <p:spPr>
                <a:xfrm>
                  <a:off x="3165937" y="5095565"/>
                  <a:ext cx="1024455" cy="4407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900" b="1" dirty="0">
                      <a:latin typeface="Arial Narrow" panose="020B0606020202030204" pitchFamily="34" charset="0"/>
                    </a:rPr>
                    <a:t>Узел впрыска</a:t>
                  </a:r>
                </a:p>
              </p:txBody>
            </p:sp>
            <p:sp>
              <p:nvSpPr>
                <p:cNvPr id="25" name="TextBox 24"/>
                <p:cNvSpPr txBox="1"/>
                <p:nvPr/>
              </p:nvSpPr>
              <p:spPr>
                <a:xfrm>
                  <a:off x="7227562" y="5137125"/>
                  <a:ext cx="1086622" cy="4407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ru-RU" sz="900" b="1" dirty="0">
                      <a:latin typeface="Arial Narrow" panose="020B0606020202030204" pitchFamily="34" charset="0"/>
                    </a:rPr>
                    <a:t>Узел смыкания</a:t>
                  </a:r>
                </a:p>
              </p:txBody>
            </p:sp>
          </p:grpSp>
          <p:sp>
            <p:nvSpPr>
              <p:cNvPr id="23" name="TextBox 22"/>
              <p:cNvSpPr txBox="1"/>
              <p:nvPr/>
            </p:nvSpPr>
            <p:spPr>
              <a:xfrm>
                <a:off x="9001598" y="1892347"/>
                <a:ext cx="2102861" cy="4407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900" b="1" dirty="0">
                    <a:latin typeface="Arial Narrow" panose="020B0606020202030204" pitchFamily="34" charset="0"/>
                  </a:rPr>
                  <a:t>Гидроцилиндр узла смыкания</a:t>
                </a:r>
              </a:p>
            </p:txBody>
          </p:sp>
        </p:grpSp>
        <p:sp>
          <p:nvSpPr>
            <p:cNvPr id="29" name="TextBox 28"/>
            <p:cNvSpPr txBox="1"/>
            <p:nvPr/>
          </p:nvSpPr>
          <p:spPr>
            <a:xfrm>
              <a:off x="5068495" y="1757200"/>
              <a:ext cx="794323" cy="2754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latin typeface="Arial Narrow" panose="020B0606020202030204" pitchFamily="34" charset="0"/>
                </a:rPr>
                <a:t>Сопло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4349518" y="2652545"/>
              <a:ext cx="1758200" cy="2754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latin typeface="Arial Narrow" panose="020B0606020202030204" pitchFamily="34" charset="0"/>
                </a:rPr>
                <a:t>Запорный клапан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3329682" y="2652545"/>
              <a:ext cx="1512168" cy="2754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b="1" dirty="0">
                  <a:latin typeface="Arial Narrow" panose="020B0606020202030204" pitchFamily="34" charset="0"/>
                </a:rPr>
                <a:t>Редуктор</a:t>
              </a:r>
            </a:p>
          </p:txBody>
        </p:sp>
      </p:grpSp>
      <p:sp>
        <p:nvSpPr>
          <p:cNvPr id="33" name="Заголовок 1"/>
          <p:cNvSpPr>
            <a:spLocks noGrp="1"/>
          </p:cNvSpPr>
          <p:nvPr>
            <p:ph type="title"/>
          </p:nvPr>
        </p:nvSpPr>
        <p:spPr>
          <a:xfrm>
            <a:off x="402542" y="217890"/>
            <a:ext cx="8481695" cy="474379"/>
          </a:xfrm>
        </p:spPr>
        <p:txBody>
          <a:bodyPr>
            <a:noAutofit/>
          </a:bodyPr>
          <a:lstStyle/>
          <a:p>
            <a:pPr defTabSz="914400"/>
            <a:r>
              <a:rPr lang="ru-RU" sz="2400" kern="1200" dirty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ЛИТЬЕ ПОД ДАВЛЕНИЕМ</a:t>
            </a:r>
            <a:br>
              <a:rPr lang="ru-RU" sz="2400" kern="1200" dirty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</a:br>
            <a:r>
              <a:rPr lang="ru-RU" sz="2400" kern="1200" dirty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Принципиальная схема </a:t>
            </a:r>
            <a:r>
              <a:rPr lang="ru-RU" sz="2400" kern="1200" dirty="0" err="1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Термопластавтомата</a:t>
            </a:r>
            <a:r>
              <a:rPr lang="ru-RU" sz="2400" kern="1200" dirty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 (ТПА)</a:t>
            </a:r>
          </a:p>
        </p:txBody>
      </p:sp>
    </p:spTree>
    <p:extLst>
      <p:ext uri="{BB962C8B-B14F-4D97-AF65-F5344CB8AC3E}">
        <p14:creationId xmlns:p14="http://schemas.microsoft.com/office/powerpoint/2010/main" val="2183340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/>
          <p:nvPr/>
        </p:nvSpPr>
        <p:spPr>
          <a:xfrm>
            <a:off x="3353148" y="1907807"/>
            <a:ext cx="0" cy="242943"/>
          </a:xfrm>
          <a:custGeom>
            <a:avLst/>
            <a:gdLst/>
            <a:ahLst/>
            <a:cxnLst/>
            <a:rect l="l" t="t" r="r" b="b"/>
            <a:pathLst>
              <a:path h="546735">
                <a:moveTo>
                  <a:pt x="0" y="0"/>
                </a:moveTo>
                <a:lnTo>
                  <a:pt x="0" y="546353"/>
                </a:lnTo>
              </a:path>
            </a:pathLst>
          </a:custGeom>
          <a:ln w="44958">
            <a:solidFill>
              <a:srgbClr val="33CCCC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" name="object 4"/>
          <p:cNvSpPr/>
          <p:nvPr/>
        </p:nvSpPr>
        <p:spPr>
          <a:xfrm>
            <a:off x="3335280" y="1905775"/>
            <a:ext cx="36073" cy="246893"/>
          </a:xfrm>
          <a:custGeom>
            <a:avLst/>
            <a:gdLst/>
            <a:ahLst/>
            <a:cxnLst/>
            <a:rect l="l" t="t" r="r" b="b"/>
            <a:pathLst>
              <a:path w="54610" h="555625">
                <a:moveTo>
                  <a:pt x="54102" y="555498"/>
                </a:moveTo>
                <a:lnTo>
                  <a:pt x="54101" y="0"/>
                </a:lnTo>
                <a:lnTo>
                  <a:pt x="0" y="0"/>
                </a:lnTo>
                <a:lnTo>
                  <a:pt x="0" y="555498"/>
                </a:lnTo>
                <a:lnTo>
                  <a:pt x="4572" y="555498"/>
                </a:lnTo>
                <a:lnTo>
                  <a:pt x="4572" y="9144"/>
                </a:lnTo>
                <a:lnTo>
                  <a:pt x="9144" y="4572"/>
                </a:lnTo>
                <a:lnTo>
                  <a:pt x="9144" y="9144"/>
                </a:lnTo>
                <a:lnTo>
                  <a:pt x="44196" y="9144"/>
                </a:lnTo>
                <a:lnTo>
                  <a:pt x="44196" y="4572"/>
                </a:lnTo>
                <a:lnTo>
                  <a:pt x="49529" y="9144"/>
                </a:lnTo>
                <a:lnTo>
                  <a:pt x="49530" y="555498"/>
                </a:lnTo>
                <a:lnTo>
                  <a:pt x="54102" y="555498"/>
                </a:lnTo>
                <a:close/>
              </a:path>
              <a:path w="54610" h="555625">
                <a:moveTo>
                  <a:pt x="9144" y="9144"/>
                </a:moveTo>
                <a:lnTo>
                  <a:pt x="9144" y="4572"/>
                </a:lnTo>
                <a:lnTo>
                  <a:pt x="4572" y="9144"/>
                </a:lnTo>
                <a:lnTo>
                  <a:pt x="9144" y="9144"/>
                </a:lnTo>
                <a:close/>
              </a:path>
              <a:path w="54610" h="555625">
                <a:moveTo>
                  <a:pt x="9144" y="545592"/>
                </a:moveTo>
                <a:lnTo>
                  <a:pt x="9144" y="9144"/>
                </a:lnTo>
                <a:lnTo>
                  <a:pt x="4572" y="9144"/>
                </a:lnTo>
                <a:lnTo>
                  <a:pt x="4572" y="545592"/>
                </a:lnTo>
                <a:lnTo>
                  <a:pt x="9144" y="545592"/>
                </a:lnTo>
                <a:close/>
              </a:path>
              <a:path w="54610" h="555625">
                <a:moveTo>
                  <a:pt x="49530" y="545592"/>
                </a:moveTo>
                <a:lnTo>
                  <a:pt x="4572" y="545592"/>
                </a:lnTo>
                <a:lnTo>
                  <a:pt x="9144" y="550926"/>
                </a:lnTo>
                <a:lnTo>
                  <a:pt x="9144" y="555498"/>
                </a:lnTo>
                <a:lnTo>
                  <a:pt x="44196" y="555498"/>
                </a:lnTo>
                <a:lnTo>
                  <a:pt x="44196" y="550926"/>
                </a:lnTo>
                <a:lnTo>
                  <a:pt x="49530" y="545592"/>
                </a:lnTo>
                <a:close/>
              </a:path>
              <a:path w="54610" h="555625">
                <a:moveTo>
                  <a:pt x="9144" y="555498"/>
                </a:moveTo>
                <a:lnTo>
                  <a:pt x="9144" y="550926"/>
                </a:lnTo>
                <a:lnTo>
                  <a:pt x="4572" y="545592"/>
                </a:lnTo>
                <a:lnTo>
                  <a:pt x="4572" y="555498"/>
                </a:lnTo>
                <a:lnTo>
                  <a:pt x="9144" y="555498"/>
                </a:lnTo>
                <a:close/>
              </a:path>
              <a:path w="54610" h="555625">
                <a:moveTo>
                  <a:pt x="49529" y="9144"/>
                </a:moveTo>
                <a:lnTo>
                  <a:pt x="44196" y="4572"/>
                </a:lnTo>
                <a:lnTo>
                  <a:pt x="44196" y="9144"/>
                </a:lnTo>
                <a:lnTo>
                  <a:pt x="49529" y="9144"/>
                </a:lnTo>
                <a:close/>
              </a:path>
              <a:path w="54610" h="555625">
                <a:moveTo>
                  <a:pt x="49530" y="545592"/>
                </a:moveTo>
                <a:lnTo>
                  <a:pt x="49529" y="9144"/>
                </a:lnTo>
                <a:lnTo>
                  <a:pt x="44196" y="9144"/>
                </a:lnTo>
                <a:lnTo>
                  <a:pt x="44196" y="545592"/>
                </a:lnTo>
                <a:lnTo>
                  <a:pt x="49530" y="545592"/>
                </a:lnTo>
                <a:close/>
              </a:path>
              <a:path w="54610" h="555625">
                <a:moveTo>
                  <a:pt x="49530" y="555498"/>
                </a:moveTo>
                <a:lnTo>
                  <a:pt x="49530" y="545592"/>
                </a:lnTo>
                <a:lnTo>
                  <a:pt x="44196" y="550926"/>
                </a:lnTo>
                <a:lnTo>
                  <a:pt x="44196" y="555498"/>
                </a:lnTo>
                <a:lnTo>
                  <a:pt x="49530" y="555498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" name="object 5"/>
          <p:cNvSpPr/>
          <p:nvPr/>
        </p:nvSpPr>
        <p:spPr>
          <a:xfrm>
            <a:off x="3293250" y="1907807"/>
            <a:ext cx="0" cy="242943"/>
          </a:xfrm>
          <a:custGeom>
            <a:avLst/>
            <a:gdLst/>
            <a:ahLst/>
            <a:cxnLst/>
            <a:rect l="l" t="t" r="r" b="b"/>
            <a:pathLst>
              <a:path h="546735">
                <a:moveTo>
                  <a:pt x="0" y="0"/>
                </a:moveTo>
                <a:lnTo>
                  <a:pt x="0" y="546353"/>
                </a:lnTo>
              </a:path>
            </a:pathLst>
          </a:custGeom>
          <a:ln w="44958">
            <a:solidFill>
              <a:srgbClr val="99CC0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" name="object 6"/>
          <p:cNvSpPr/>
          <p:nvPr/>
        </p:nvSpPr>
        <p:spPr>
          <a:xfrm>
            <a:off x="3275382" y="1905775"/>
            <a:ext cx="36073" cy="246893"/>
          </a:xfrm>
          <a:custGeom>
            <a:avLst/>
            <a:gdLst/>
            <a:ahLst/>
            <a:cxnLst/>
            <a:rect l="l" t="t" r="r" b="b"/>
            <a:pathLst>
              <a:path w="54610" h="555625">
                <a:moveTo>
                  <a:pt x="54102" y="555498"/>
                </a:moveTo>
                <a:lnTo>
                  <a:pt x="54101" y="0"/>
                </a:lnTo>
                <a:lnTo>
                  <a:pt x="0" y="0"/>
                </a:lnTo>
                <a:lnTo>
                  <a:pt x="0" y="555498"/>
                </a:lnTo>
                <a:lnTo>
                  <a:pt x="4572" y="555498"/>
                </a:lnTo>
                <a:lnTo>
                  <a:pt x="4572" y="9144"/>
                </a:lnTo>
                <a:lnTo>
                  <a:pt x="9905" y="4572"/>
                </a:lnTo>
                <a:lnTo>
                  <a:pt x="9905" y="9144"/>
                </a:lnTo>
                <a:lnTo>
                  <a:pt x="44957" y="9144"/>
                </a:lnTo>
                <a:lnTo>
                  <a:pt x="44957" y="4572"/>
                </a:lnTo>
                <a:lnTo>
                  <a:pt x="49529" y="9144"/>
                </a:lnTo>
                <a:lnTo>
                  <a:pt x="49530" y="555498"/>
                </a:lnTo>
                <a:lnTo>
                  <a:pt x="54102" y="555498"/>
                </a:lnTo>
                <a:close/>
              </a:path>
              <a:path w="54610" h="555625">
                <a:moveTo>
                  <a:pt x="9905" y="9144"/>
                </a:moveTo>
                <a:lnTo>
                  <a:pt x="9905" y="4572"/>
                </a:lnTo>
                <a:lnTo>
                  <a:pt x="4572" y="9144"/>
                </a:lnTo>
                <a:lnTo>
                  <a:pt x="9905" y="9144"/>
                </a:lnTo>
                <a:close/>
              </a:path>
              <a:path w="54610" h="555625">
                <a:moveTo>
                  <a:pt x="9906" y="545592"/>
                </a:moveTo>
                <a:lnTo>
                  <a:pt x="9905" y="9144"/>
                </a:lnTo>
                <a:lnTo>
                  <a:pt x="4572" y="9144"/>
                </a:lnTo>
                <a:lnTo>
                  <a:pt x="4572" y="545592"/>
                </a:lnTo>
                <a:lnTo>
                  <a:pt x="9906" y="545592"/>
                </a:lnTo>
                <a:close/>
              </a:path>
              <a:path w="54610" h="555625">
                <a:moveTo>
                  <a:pt x="49530" y="545592"/>
                </a:moveTo>
                <a:lnTo>
                  <a:pt x="4572" y="545592"/>
                </a:lnTo>
                <a:lnTo>
                  <a:pt x="9906" y="550926"/>
                </a:lnTo>
                <a:lnTo>
                  <a:pt x="9906" y="555498"/>
                </a:lnTo>
                <a:lnTo>
                  <a:pt x="44958" y="555498"/>
                </a:lnTo>
                <a:lnTo>
                  <a:pt x="44958" y="550926"/>
                </a:lnTo>
                <a:lnTo>
                  <a:pt x="49530" y="545592"/>
                </a:lnTo>
                <a:close/>
              </a:path>
              <a:path w="54610" h="555625">
                <a:moveTo>
                  <a:pt x="9906" y="555498"/>
                </a:moveTo>
                <a:lnTo>
                  <a:pt x="9906" y="550926"/>
                </a:lnTo>
                <a:lnTo>
                  <a:pt x="4572" y="545592"/>
                </a:lnTo>
                <a:lnTo>
                  <a:pt x="4572" y="555498"/>
                </a:lnTo>
                <a:lnTo>
                  <a:pt x="9906" y="555498"/>
                </a:lnTo>
                <a:close/>
              </a:path>
              <a:path w="54610" h="555625">
                <a:moveTo>
                  <a:pt x="49529" y="9144"/>
                </a:moveTo>
                <a:lnTo>
                  <a:pt x="44957" y="4572"/>
                </a:lnTo>
                <a:lnTo>
                  <a:pt x="44957" y="9144"/>
                </a:lnTo>
                <a:lnTo>
                  <a:pt x="49529" y="9144"/>
                </a:lnTo>
                <a:close/>
              </a:path>
              <a:path w="54610" h="555625">
                <a:moveTo>
                  <a:pt x="49530" y="545592"/>
                </a:moveTo>
                <a:lnTo>
                  <a:pt x="49529" y="9144"/>
                </a:lnTo>
                <a:lnTo>
                  <a:pt x="44957" y="9144"/>
                </a:lnTo>
                <a:lnTo>
                  <a:pt x="44958" y="545592"/>
                </a:lnTo>
                <a:lnTo>
                  <a:pt x="49530" y="545592"/>
                </a:lnTo>
                <a:close/>
              </a:path>
              <a:path w="54610" h="555625">
                <a:moveTo>
                  <a:pt x="49530" y="555498"/>
                </a:moveTo>
                <a:lnTo>
                  <a:pt x="49530" y="545592"/>
                </a:lnTo>
                <a:lnTo>
                  <a:pt x="44958" y="550926"/>
                </a:lnTo>
                <a:lnTo>
                  <a:pt x="44958" y="555498"/>
                </a:lnTo>
                <a:lnTo>
                  <a:pt x="49530" y="555498"/>
                </a:lnTo>
                <a:close/>
              </a:path>
            </a:pathLst>
          </a:custGeom>
          <a:solidFill>
            <a:srgbClr val="99CC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" name="object 7"/>
          <p:cNvSpPr/>
          <p:nvPr/>
        </p:nvSpPr>
        <p:spPr>
          <a:xfrm>
            <a:off x="2990489" y="1827898"/>
            <a:ext cx="1007945" cy="566584"/>
          </a:xfrm>
          <a:custGeom>
            <a:avLst/>
            <a:gdLst/>
            <a:ahLst/>
            <a:cxnLst/>
            <a:rect l="l" t="t" r="r" b="b"/>
            <a:pathLst>
              <a:path w="1525904" h="1275079">
                <a:moveTo>
                  <a:pt x="1525524" y="1274825"/>
                </a:moveTo>
                <a:lnTo>
                  <a:pt x="1524000" y="1232153"/>
                </a:lnTo>
                <a:lnTo>
                  <a:pt x="48768" y="1226058"/>
                </a:lnTo>
                <a:lnTo>
                  <a:pt x="48768" y="5333"/>
                </a:lnTo>
                <a:lnTo>
                  <a:pt x="0" y="0"/>
                </a:lnTo>
                <a:lnTo>
                  <a:pt x="4572" y="1270254"/>
                </a:lnTo>
                <a:lnTo>
                  <a:pt x="1525524" y="1274825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" name="object 8"/>
          <p:cNvSpPr/>
          <p:nvPr/>
        </p:nvSpPr>
        <p:spPr>
          <a:xfrm>
            <a:off x="2986965" y="1825866"/>
            <a:ext cx="1014237" cy="571099"/>
          </a:xfrm>
          <a:custGeom>
            <a:avLst/>
            <a:gdLst/>
            <a:ahLst/>
            <a:cxnLst/>
            <a:rect l="l" t="t" r="r" b="b"/>
            <a:pathLst>
              <a:path w="1535429" h="1285240">
                <a:moveTo>
                  <a:pt x="58674" y="1226076"/>
                </a:moveTo>
                <a:lnTo>
                  <a:pt x="58674" y="6857"/>
                </a:lnTo>
                <a:lnTo>
                  <a:pt x="57150" y="5333"/>
                </a:lnTo>
                <a:lnTo>
                  <a:pt x="54864" y="4571"/>
                </a:lnTo>
                <a:lnTo>
                  <a:pt x="5334" y="0"/>
                </a:lnTo>
                <a:lnTo>
                  <a:pt x="3810" y="0"/>
                </a:lnTo>
                <a:lnTo>
                  <a:pt x="3048" y="761"/>
                </a:lnTo>
                <a:lnTo>
                  <a:pt x="1524" y="1523"/>
                </a:lnTo>
                <a:lnTo>
                  <a:pt x="762" y="2285"/>
                </a:lnTo>
                <a:lnTo>
                  <a:pt x="0" y="3809"/>
                </a:lnTo>
                <a:lnTo>
                  <a:pt x="0" y="4571"/>
                </a:lnTo>
                <a:lnTo>
                  <a:pt x="4572" y="9905"/>
                </a:lnTo>
                <a:lnTo>
                  <a:pt x="9906" y="4571"/>
                </a:lnTo>
                <a:lnTo>
                  <a:pt x="9926" y="10400"/>
                </a:lnTo>
                <a:lnTo>
                  <a:pt x="49530" y="14055"/>
                </a:lnTo>
                <a:lnTo>
                  <a:pt x="49530" y="9905"/>
                </a:lnTo>
                <a:lnTo>
                  <a:pt x="54102" y="14477"/>
                </a:lnTo>
                <a:lnTo>
                  <a:pt x="54102" y="1226057"/>
                </a:lnTo>
                <a:lnTo>
                  <a:pt x="58674" y="1226076"/>
                </a:lnTo>
                <a:close/>
              </a:path>
              <a:path w="1535429" h="1285240">
                <a:moveTo>
                  <a:pt x="9926" y="10400"/>
                </a:moveTo>
                <a:lnTo>
                  <a:pt x="9906" y="4571"/>
                </a:lnTo>
                <a:lnTo>
                  <a:pt x="4572" y="9905"/>
                </a:lnTo>
                <a:lnTo>
                  <a:pt x="9926" y="10400"/>
                </a:lnTo>
                <a:close/>
              </a:path>
              <a:path w="1535429" h="1285240">
                <a:moveTo>
                  <a:pt x="14461" y="1270267"/>
                </a:moveTo>
                <a:lnTo>
                  <a:pt x="9926" y="10400"/>
                </a:lnTo>
                <a:lnTo>
                  <a:pt x="4572" y="9905"/>
                </a:lnTo>
                <a:lnTo>
                  <a:pt x="4572" y="1093361"/>
                </a:lnTo>
                <a:lnTo>
                  <a:pt x="5334" y="1277873"/>
                </a:lnTo>
                <a:lnTo>
                  <a:pt x="6858" y="1279397"/>
                </a:lnTo>
                <a:lnTo>
                  <a:pt x="9906" y="1279397"/>
                </a:lnTo>
                <a:lnTo>
                  <a:pt x="9906" y="1270253"/>
                </a:lnTo>
                <a:lnTo>
                  <a:pt x="14461" y="1270267"/>
                </a:lnTo>
                <a:close/>
              </a:path>
              <a:path w="1535429" h="1285240">
                <a:moveTo>
                  <a:pt x="14478" y="1274825"/>
                </a:moveTo>
                <a:lnTo>
                  <a:pt x="14461" y="1270267"/>
                </a:lnTo>
                <a:lnTo>
                  <a:pt x="9906" y="1270253"/>
                </a:lnTo>
                <a:lnTo>
                  <a:pt x="14478" y="1274825"/>
                </a:lnTo>
                <a:close/>
              </a:path>
              <a:path w="1535429" h="1285240">
                <a:moveTo>
                  <a:pt x="14478" y="1279414"/>
                </a:moveTo>
                <a:lnTo>
                  <a:pt x="14478" y="1274825"/>
                </a:lnTo>
                <a:lnTo>
                  <a:pt x="9906" y="1270253"/>
                </a:lnTo>
                <a:lnTo>
                  <a:pt x="9906" y="1279397"/>
                </a:lnTo>
                <a:lnTo>
                  <a:pt x="14478" y="1279414"/>
                </a:lnTo>
                <a:close/>
              </a:path>
              <a:path w="1535429" h="1285240">
                <a:moveTo>
                  <a:pt x="1530858" y="1284729"/>
                </a:moveTo>
                <a:lnTo>
                  <a:pt x="1530858" y="1274825"/>
                </a:lnTo>
                <a:lnTo>
                  <a:pt x="1525524" y="1280159"/>
                </a:lnTo>
                <a:lnTo>
                  <a:pt x="1525336" y="1274809"/>
                </a:lnTo>
                <a:lnTo>
                  <a:pt x="14461" y="1270267"/>
                </a:lnTo>
                <a:lnTo>
                  <a:pt x="14478" y="1279414"/>
                </a:lnTo>
                <a:lnTo>
                  <a:pt x="1530858" y="1284729"/>
                </a:lnTo>
                <a:close/>
              </a:path>
              <a:path w="1535429" h="1285240">
                <a:moveTo>
                  <a:pt x="54102" y="14477"/>
                </a:moveTo>
                <a:lnTo>
                  <a:pt x="49530" y="9905"/>
                </a:lnTo>
                <a:lnTo>
                  <a:pt x="49530" y="14055"/>
                </a:lnTo>
                <a:lnTo>
                  <a:pt x="54102" y="14477"/>
                </a:lnTo>
                <a:close/>
              </a:path>
              <a:path w="1535429" h="1285240">
                <a:moveTo>
                  <a:pt x="58674" y="1235220"/>
                </a:moveTo>
                <a:lnTo>
                  <a:pt x="58674" y="1230629"/>
                </a:lnTo>
                <a:lnTo>
                  <a:pt x="54102" y="1226057"/>
                </a:lnTo>
                <a:lnTo>
                  <a:pt x="54102" y="14477"/>
                </a:lnTo>
                <a:lnTo>
                  <a:pt x="49530" y="14055"/>
                </a:lnTo>
                <a:lnTo>
                  <a:pt x="49530" y="1232915"/>
                </a:lnTo>
                <a:lnTo>
                  <a:pt x="51816" y="1235201"/>
                </a:lnTo>
                <a:lnTo>
                  <a:pt x="58674" y="1235220"/>
                </a:lnTo>
                <a:close/>
              </a:path>
              <a:path w="1535429" h="1285240">
                <a:moveTo>
                  <a:pt x="1535430" y="1280921"/>
                </a:moveTo>
                <a:lnTo>
                  <a:pt x="1535430" y="1279397"/>
                </a:lnTo>
                <a:lnTo>
                  <a:pt x="1533906" y="1236725"/>
                </a:lnTo>
                <a:lnTo>
                  <a:pt x="1533906" y="1234439"/>
                </a:lnTo>
                <a:lnTo>
                  <a:pt x="1531620" y="1232153"/>
                </a:lnTo>
                <a:lnTo>
                  <a:pt x="54102" y="1226057"/>
                </a:lnTo>
                <a:lnTo>
                  <a:pt x="58674" y="1230629"/>
                </a:lnTo>
                <a:lnTo>
                  <a:pt x="58674" y="1235220"/>
                </a:lnTo>
                <a:lnTo>
                  <a:pt x="1524000" y="1241275"/>
                </a:lnTo>
                <a:lnTo>
                  <a:pt x="1524000" y="1236725"/>
                </a:lnTo>
                <a:lnTo>
                  <a:pt x="1529334" y="1241297"/>
                </a:lnTo>
                <a:lnTo>
                  <a:pt x="1529334" y="1274821"/>
                </a:lnTo>
                <a:lnTo>
                  <a:pt x="1530858" y="1274825"/>
                </a:lnTo>
                <a:lnTo>
                  <a:pt x="1530858" y="1284729"/>
                </a:lnTo>
                <a:lnTo>
                  <a:pt x="1531620" y="1284731"/>
                </a:lnTo>
                <a:lnTo>
                  <a:pt x="1533144" y="1283969"/>
                </a:lnTo>
                <a:lnTo>
                  <a:pt x="1534668" y="1282445"/>
                </a:lnTo>
                <a:lnTo>
                  <a:pt x="1535430" y="1280921"/>
                </a:lnTo>
                <a:close/>
              </a:path>
              <a:path w="1535429" h="1285240">
                <a:moveTo>
                  <a:pt x="1529334" y="1241297"/>
                </a:moveTo>
                <a:lnTo>
                  <a:pt x="1524000" y="1236725"/>
                </a:lnTo>
                <a:lnTo>
                  <a:pt x="1524159" y="1241276"/>
                </a:lnTo>
                <a:lnTo>
                  <a:pt x="1529334" y="1241297"/>
                </a:lnTo>
                <a:close/>
              </a:path>
              <a:path w="1535429" h="1285240">
                <a:moveTo>
                  <a:pt x="1524159" y="1241276"/>
                </a:moveTo>
                <a:lnTo>
                  <a:pt x="1524000" y="1236725"/>
                </a:lnTo>
                <a:lnTo>
                  <a:pt x="1524000" y="1241275"/>
                </a:lnTo>
                <a:lnTo>
                  <a:pt x="1524159" y="1241276"/>
                </a:lnTo>
                <a:close/>
              </a:path>
              <a:path w="1535429" h="1285240">
                <a:moveTo>
                  <a:pt x="1529334" y="1274821"/>
                </a:moveTo>
                <a:lnTo>
                  <a:pt x="1529334" y="1241297"/>
                </a:lnTo>
                <a:lnTo>
                  <a:pt x="1524159" y="1241276"/>
                </a:lnTo>
                <a:lnTo>
                  <a:pt x="1525336" y="1274809"/>
                </a:lnTo>
                <a:lnTo>
                  <a:pt x="1529334" y="1274821"/>
                </a:lnTo>
                <a:close/>
              </a:path>
              <a:path w="1535429" h="1285240">
                <a:moveTo>
                  <a:pt x="1530858" y="1274825"/>
                </a:moveTo>
                <a:lnTo>
                  <a:pt x="1525336" y="1274809"/>
                </a:lnTo>
                <a:lnTo>
                  <a:pt x="1525524" y="1280159"/>
                </a:lnTo>
                <a:lnTo>
                  <a:pt x="1530858" y="1274825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" name="object 9"/>
          <p:cNvSpPr/>
          <p:nvPr/>
        </p:nvSpPr>
        <p:spPr>
          <a:xfrm>
            <a:off x="2944181" y="1827898"/>
            <a:ext cx="1024305" cy="612013"/>
          </a:xfrm>
          <a:custGeom>
            <a:avLst/>
            <a:gdLst/>
            <a:ahLst/>
            <a:cxnLst/>
            <a:rect l="l" t="t" r="r" b="b"/>
            <a:pathLst>
              <a:path w="1550670" h="1377315">
                <a:moveTo>
                  <a:pt x="1550670" y="1368552"/>
                </a:moveTo>
                <a:lnTo>
                  <a:pt x="1547622" y="1331975"/>
                </a:lnTo>
                <a:lnTo>
                  <a:pt x="48768" y="1331976"/>
                </a:lnTo>
                <a:lnTo>
                  <a:pt x="45720" y="2285"/>
                </a:lnTo>
                <a:lnTo>
                  <a:pt x="0" y="0"/>
                </a:lnTo>
                <a:lnTo>
                  <a:pt x="4572" y="1376934"/>
                </a:lnTo>
                <a:lnTo>
                  <a:pt x="1550670" y="1368552"/>
                </a:lnTo>
                <a:close/>
              </a:path>
            </a:pathLst>
          </a:custGeom>
          <a:solidFill>
            <a:srgbClr val="99CC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3049884" y="2150579"/>
            <a:ext cx="1015495" cy="311509"/>
          </a:xfrm>
          <a:custGeom>
            <a:avLst/>
            <a:gdLst/>
            <a:ahLst/>
            <a:cxnLst/>
            <a:rect l="l" t="t" r="r" b="b"/>
            <a:pathLst>
              <a:path w="1537335" h="701040">
                <a:moveTo>
                  <a:pt x="0" y="0"/>
                </a:moveTo>
                <a:lnTo>
                  <a:pt x="0" y="701040"/>
                </a:lnTo>
                <a:lnTo>
                  <a:pt x="1536953" y="701040"/>
                </a:lnTo>
                <a:lnTo>
                  <a:pt x="1536953" y="0"/>
                </a:lnTo>
                <a:lnTo>
                  <a:pt x="0" y="0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049882" y="2175951"/>
            <a:ext cx="1424455" cy="284463"/>
          </a:xfrm>
          <a:prstGeom prst="rect">
            <a:avLst/>
          </a:prstGeom>
        </p:spPr>
        <p:txBody>
          <a:bodyPr vert="horz" wrap="square" lIns="0" tIns="7392" rIns="0" bIns="0" rtlCol="0">
            <a:spAutoFit/>
          </a:bodyPr>
          <a:lstStyle/>
          <a:p>
            <a:pPr marL="92597" marR="526013" indent="-38128">
              <a:spcBef>
                <a:spcPts val="58"/>
              </a:spcBef>
            </a:pPr>
            <a:r>
              <a:rPr lang="ru-RU" sz="900" dirty="0">
                <a:latin typeface="Arial Narrow" panose="020B0606020202030204" pitchFamily="34" charset="0"/>
                <a:cs typeface="DaunPenh"/>
              </a:rPr>
              <a:t>Охлаждающая система</a:t>
            </a:r>
            <a:endParaRPr sz="900" dirty="0">
              <a:latin typeface="Arial Narrow" panose="020B0606020202030204" pitchFamily="34" charset="0"/>
              <a:cs typeface="DaunPenh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244174" y="2015817"/>
            <a:ext cx="83555" cy="1113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973375" y="2059497"/>
            <a:ext cx="84310" cy="181149"/>
          </a:xfrm>
          <a:custGeom>
            <a:avLst/>
            <a:gdLst/>
            <a:ahLst/>
            <a:cxnLst/>
            <a:rect l="l" t="t" r="r" b="b"/>
            <a:pathLst>
              <a:path w="127635" h="407670">
                <a:moveTo>
                  <a:pt x="127253" y="76200"/>
                </a:moveTo>
                <a:lnTo>
                  <a:pt x="64007" y="0"/>
                </a:lnTo>
                <a:lnTo>
                  <a:pt x="0" y="76200"/>
                </a:lnTo>
                <a:lnTo>
                  <a:pt x="58673" y="76200"/>
                </a:lnTo>
                <a:lnTo>
                  <a:pt x="58673" y="63246"/>
                </a:lnTo>
                <a:lnTo>
                  <a:pt x="68579" y="63246"/>
                </a:lnTo>
                <a:lnTo>
                  <a:pt x="68579" y="76200"/>
                </a:lnTo>
                <a:lnTo>
                  <a:pt x="127253" y="76200"/>
                </a:lnTo>
                <a:close/>
              </a:path>
              <a:path w="127635" h="407670">
                <a:moveTo>
                  <a:pt x="68579" y="76200"/>
                </a:moveTo>
                <a:lnTo>
                  <a:pt x="68579" y="63246"/>
                </a:lnTo>
                <a:lnTo>
                  <a:pt x="58673" y="63246"/>
                </a:lnTo>
                <a:lnTo>
                  <a:pt x="58673" y="76200"/>
                </a:lnTo>
                <a:lnTo>
                  <a:pt x="68579" y="76200"/>
                </a:lnTo>
                <a:close/>
              </a:path>
              <a:path w="127635" h="407670">
                <a:moveTo>
                  <a:pt x="68580" y="407670"/>
                </a:moveTo>
                <a:lnTo>
                  <a:pt x="68579" y="76200"/>
                </a:lnTo>
                <a:lnTo>
                  <a:pt x="58673" y="76200"/>
                </a:lnTo>
                <a:lnTo>
                  <a:pt x="58673" y="407670"/>
                </a:lnTo>
                <a:lnTo>
                  <a:pt x="68580" y="40767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3322696" y="2015818"/>
            <a:ext cx="84058" cy="9988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902404" y="2073380"/>
            <a:ext cx="83891" cy="151804"/>
          </a:xfrm>
          <a:custGeom>
            <a:avLst/>
            <a:gdLst/>
            <a:ahLst/>
            <a:cxnLst/>
            <a:rect l="l" t="t" r="r" b="b"/>
            <a:pathLst>
              <a:path w="127000" h="341629">
                <a:moveTo>
                  <a:pt x="126492" y="265175"/>
                </a:moveTo>
                <a:lnTo>
                  <a:pt x="0" y="265175"/>
                </a:lnTo>
                <a:lnTo>
                  <a:pt x="58674" y="335867"/>
                </a:lnTo>
                <a:lnTo>
                  <a:pt x="58674" y="278129"/>
                </a:lnTo>
                <a:lnTo>
                  <a:pt x="67818" y="278129"/>
                </a:lnTo>
                <a:lnTo>
                  <a:pt x="67818" y="335867"/>
                </a:lnTo>
                <a:lnTo>
                  <a:pt x="126492" y="265175"/>
                </a:lnTo>
                <a:close/>
              </a:path>
              <a:path w="127000" h="341629">
                <a:moveTo>
                  <a:pt x="67818" y="265175"/>
                </a:moveTo>
                <a:lnTo>
                  <a:pt x="67817" y="0"/>
                </a:lnTo>
                <a:lnTo>
                  <a:pt x="58673" y="0"/>
                </a:lnTo>
                <a:lnTo>
                  <a:pt x="58674" y="265175"/>
                </a:lnTo>
                <a:lnTo>
                  <a:pt x="67818" y="265175"/>
                </a:lnTo>
                <a:close/>
              </a:path>
              <a:path w="127000" h="341629">
                <a:moveTo>
                  <a:pt x="67818" y="335867"/>
                </a:moveTo>
                <a:lnTo>
                  <a:pt x="67818" y="278129"/>
                </a:lnTo>
                <a:lnTo>
                  <a:pt x="58674" y="278129"/>
                </a:lnTo>
                <a:lnTo>
                  <a:pt x="58674" y="335867"/>
                </a:lnTo>
                <a:lnTo>
                  <a:pt x="63246" y="341375"/>
                </a:lnTo>
                <a:lnTo>
                  <a:pt x="67818" y="33586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" name="object 20"/>
          <p:cNvSpPr/>
          <p:nvPr/>
        </p:nvSpPr>
        <p:spPr>
          <a:xfrm>
            <a:off x="3553228" y="1001384"/>
            <a:ext cx="143956" cy="104524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" name="object 21"/>
          <p:cNvSpPr/>
          <p:nvPr/>
        </p:nvSpPr>
        <p:spPr>
          <a:xfrm>
            <a:off x="3550207" y="999352"/>
            <a:ext cx="150164" cy="1049649"/>
          </a:xfrm>
          <a:custGeom>
            <a:avLst/>
            <a:gdLst/>
            <a:ahLst/>
            <a:cxnLst/>
            <a:rect l="l" t="t" r="r" b="b"/>
            <a:pathLst>
              <a:path w="227329" h="2362200">
                <a:moveTo>
                  <a:pt x="227075" y="2362200"/>
                </a:moveTo>
                <a:lnTo>
                  <a:pt x="227075" y="0"/>
                </a:lnTo>
                <a:lnTo>
                  <a:pt x="0" y="0"/>
                </a:lnTo>
                <a:lnTo>
                  <a:pt x="0" y="2362200"/>
                </a:lnTo>
                <a:lnTo>
                  <a:pt x="4572" y="2362200"/>
                </a:lnTo>
                <a:lnTo>
                  <a:pt x="4572" y="9143"/>
                </a:lnTo>
                <a:lnTo>
                  <a:pt x="9905" y="4571"/>
                </a:lnTo>
                <a:lnTo>
                  <a:pt x="9905" y="9143"/>
                </a:lnTo>
                <a:lnTo>
                  <a:pt x="217170" y="9143"/>
                </a:lnTo>
                <a:lnTo>
                  <a:pt x="217170" y="4571"/>
                </a:lnTo>
                <a:lnTo>
                  <a:pt x="222503" y="9143"/>
                </a:lnTo>
                <a:lnTo>
                  <a:pt x="222503" y="2362200"/>
                </a:lnTo>
                <a:lnTo>
                  <a:pt x="227075" y="2362200"/>
                </a:lnTo>
                <a:close/>
              </a:path>
              <a:path w="227329" h="2362200">
                <a:moveTo>
                  <a:pt x="9905" y="9143"/>
                </a:moveTo>
                <a:lnTo>
                  <a:pt x="9905" y="4571"/>
                </a:lnTo>
                <a:lnTo>
                  <a:pt x="4572" y="9143"/>
                </a:lnTo>
                <a:lnTo>
                  <a:pt x="9905" y="9143"/>
                </a:lnTo>
                <a:close/>
              </a:path>
              <a:path w="227329" h="2362200">
                <a:moveTo>
                  <a:pt x="9905" y="2352293"/>
                </a:moveTo>
                <a:lnTo>
                  <a:pt x="9905" y="9143"/>
                </a:lnTo>
                <a:lnTo>
                  <a:pt x="4572" y="9143"/>
                </a:lnTo>
                <a:lnTo>
                  <a:pt x="4572" y="2352293"/>
                </a:lnTo>
                <a:lnTo>
                  <a:pt x="9905" y="2352293"/>
                </a:lnTo>
                <a:close/>
              </a:path>
              <a:path w="227329" h="2362200">
                <a:moveTo>
                  <a:pt x="222503" y="2352293"/>
                </a:moveTo>
                <a:lnTo>
                  <a:pt x="4572" y="2352293"/>
                </a:lnTo>
                <a:lnTo>
                  <a:pt x="9905" y="2356866"/>
                </a:lnTo>
                <a:lnTo>
                  <a:pt x="9905" y="2362200"/>
                </a:lnTo>
                <a:lnTo>
                  <a:pt x="217170" y="2362200"/>
                </a:lnTo>
                <a:lnTo>
                  <a:pt x="217170" y="2356866"/>
                </a:lnTo>
                <a:lnTo>
                  <a:pt x="222503" y="2352293"/>
                </a:lnTo>
                <a:close/>
              </a:path>
              <a:path w="227329" h="2362200">
                <a:moveTo>
                  <a:pt x="9905" y="2362200"/>
                </a:moveTo>
                <a:lnTo>
                  <a:pt x="9905" y="2356866"/>
                </a:lnTo>
                <a:lnTo>
                  <a:pt x="4572" y="2352293"/>
                </a:lnTo>
                <a:lnTo>
                  <a:pt x="4572" y="2362200"/>
                </a:lnTo>
                <a:lnTo>
                  <a:pt x="9905" y="2362200"/>
                </a:lnTo>
                <a:close/>
              </a:path>
              <a:path w="227329" h="2362200">
                <a:moveTo>
                  <a:pt x="222503" y="9143"/>
                </a:moveTo>
                <a:lnTo>
                  <a:pt x="217170" y="4571"/>
                </a:lnTo>
                <a:lnTo>
                  <a:pt x="217170" y="9143"/>
                </a:lnTo>
                <a:lnTo>
                  <a:pt x="222503" y="9143"/>
                </a:lnTo>
                <a:close/>
              </a:path>
              <a:path w="227329" h="2362200">
                <a:moveTo>
                  <a:pt x="222503" y="2352293"/>
                </a:moveTo>
                <a:lnTo>
                  <a:pt x="222503" y="9143"/>
                </a:lnTo>
                <a:lnTo>
                  <a:pt x="217170" y="9143"/>
                </a:lnTo>
                <a:lnTo>
                  <a:pt x="217170" y="2352293"/>
                </a:lnTo>
                <a:lnTo>
                  <a:pt x="222503" y="2352293"/>
                </a:lnTo>
                <a:close/>
              </a:path>
              <a:path w="227329" h="2362200">
                <a:moveTo>
                  <a:pt x="222503" y="2362200"/>
                </a:moveTo>
                <a:lnTo>
                  <a:pt x="222503" y="2352293"/>
                </a:lnTo>
                <a:lnTo>
                  <a:pt x="217170" y="2356866"/>
                </a:lnTo>
                <a:lnTo>
                  <a:pt x="217170" y="2362200"/>
                </a:lnTo>
                <a:lnTo>
                  <a:pt x="222503" y="23622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" name="object 22"/>
          <p:cNvSpPr/>
          <p:nvPr/>
        </p:nvSpPr>
        <p:spPr>
          <a:xfrm>
            <a:off x="3110285" y="1119892"/>
            <a:ext cx="446717" cy="0"/>
          </a:xfrm>
          <a:custGeom>
            <a:avLst/>
            <a:gdLst/>
            <a:ahLst/>
            <a:cxnLst/>
            <a:rect l="l" t="t" r="r" b="b"/>
            <a:pathLst>
              <a:path w="676275">
                <a:moveTo>
                  <a:pt x="0" y="0"/>
                </a:moveTo>
                <a:lnTo>
                  <a:pt x="675894" y="0"/>
                </a:lnTo>
              </a:path>
            </a:pathLst>
          </a:custGeom>
          <a:ln w="91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" name="object 23"/>
          <p:cNvSpPr/>
          <p:nvPr/>
        </p:nvSpPr>
        <p:spPr>
          <a:xfrm>
            <a:off x="3556498" y="1119893"/>
            <a:ext cx="0" cy="802191"/>
          </a:xfrm>
          <a:custGeom>
            <a:avLst/>
            <a:gdLst/>
            <a:ahLst/>
            <a:cxnLst/>
            <a:rect l="l" t="t" r="r" b="b"/>
            <a:pathLst>
              <a:path h="1805304">
                <a:moveTo>
                  <a:pt x="0" y="0"/>
                </a:moveTo>
                <a:lnTo>
                  <a:pt x="0" y="1805177"/>
                </a:lnTo>
              </a:path>
            </a:pathLst>
          </a:custGeom>
          <a:ln w="990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" name="object 24"/>
          <p:cNvSpPr/>
          <p:nvPr/>
        </p:nvSpPr>
        <p:spPr>
          <a:xfrm>
            <a:off x="3107264" y="1919826"/>
            <a:ext cx="446297" cy="0"/>
          </a:xfrm>
          <a:custGeom>
            <a:avLst/>
            <a:gdLst/>
            <a:ahLst/>
            <a:cxnLst/>
            <a:rect l="l" t="t" r="r" b="b"/>
            <a:pathLst>
              <a:path w="675639">
                <a:moveTo>
                  <a:pt x="0" y="0"/>
                </a:moveTo>
                <a:lnTo>
                  <a:pt x="675131" y="0"/>
                </a:lnTo>
              </a:path>
            </a:pathLst>
          </a:custGeom>
          <a:ln w="990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" name="object 25"/>
          <p:cNvSpPr/>
          <p:nvPr/>
        </p:nvSpPr>
        <p:spPr>
          <a:xfrm>
            <a:off x="3240148" y="1389414"/>
            <a:ext cx="6292" cy="16930"/>
          </a:xfrm>
          <a:custGeom>
            <a:avLst/>
            <a:gdLst/>
            <a:ahLst/>
            <a:cxnLst/>
            <a:rect l="l" t="t" r="r" b="b"/>
            <a:pathLst>
              <a:path w="9525" h="38100">
                <a:moveTo>
                  <a:pt x="9144" y="38100"/>
                </a:moveTo>
                <a:lnTo>
                  <a:pt x="9144" y="0"/>
                </a:lnTo>
                <a:lnTo>
                  <a:pt x="0" y="0"/>
                </a:lnTo>
                <a:lnTo>
                  <a:pt x="0" y="38100"/>
                </a:lnTo>
                <a:lnTo>
                  <a:pt x="9144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" name="object 26"/>
          <p:cNvSpPr/>
          <p:nvPr/>
        </p:nvSpPr>
        <p:spPr>
          <a:xfrm>
            <a:off x="3240148" y="1418873"/>
            <a:ext cx="6292" cy="16930"/>
          </a:xfrm>
          <a:custGeom>
            <a:avLst/>
            <a:gdLst/>
            <a:ahLst/>
            <a:cxnLst/>
            <a:rect l="l" t="t" r="r" b="b"/>
            <a:pathLst>
              <a:path w="9525" h="38100">
                <a:moveTo>
                  <a:pt x="9144" y="38100"/>
                </a:moveTo>
                <a:lnTo>
                  <a:pt x="9144" y="0"/>
                </a:lnTo>
                <a:lnTo>
                  <a:pt x="0" y="0"/>
                </a:lnTo>
                <a:lnTo>
                  <a:pt x="0" y="38100"/>
                </a:lnTo>
                <a:lnTo>
                  <a:pt x="9144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" name="object 27"/>
          <p:cNvSpPr/>
          <p:nvPr/>
        </p:nvSpPr>
        <p:spPr>
          <a:xfrm>
            <a:off x="3240148" y="1448669"/>
            <a:ext cx="6292" cy="16930"/>
          </a:xfrm>
          <a:custGeom>
            <a:avLst/>
            <a:gdLst/>
            <a:ahLst/>
            <a:cxnLst/>
            <a:rect l="l" t="t" r="r" b="b"/>
            <a:pathLst>
              <a:path w="9525" h="38100">
                <a:moveTo>
                  <a:pt x="9144" y="38100"/>
                </a:moveTo>
                <a:lnTo>
                  <a:pt x="9144" y="0"/>
                </a:lnTo>
                <a:lnTo>
                  <a:pt x="0" y="0"/>
                </a:lnTo>
                <a:lnTo>
                  <a:pt x="0" y="38100"/>
                </a:lnTo>
                <a:lnTo>
                  <a:pt x="9144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" name="object 28"/>
          <p:cNvSpPr/>
          <p:nvPr/>
        </p:nvSpPr>
        <p:spPr>
          <a:xfrm>
            <a:off x="3104245" y="1121924"/>
            <a:ext cx="6292" cy="16930"/>
          </a:xfrm>
          <a:custGeom>
            <a:avLst/>
            <a:gdLst/>
            <a:ahLst/>
            <a:cxnLst/>
            <a:rect l="l" t="t" r="r" b="b"/>
            <a:pathLst>
              <a:path w="9525" h="38100">
                <a:moveTo>
                  <a:pt x="9144" y="38100"/>
                </a:moveTo>
                <a:lnTo>
                  <a:pt x="9144" y="0"/>
                </a:lnTo>
                <a:lnTo>
                  <a:pt x="0" y="0"/>
                </a:lnTo>
                <a:lnTo>
                  <a:pt x="0" y="38100"/>
                </a:lnTo>
                <a:lnTo>
                  <a:pt x="9144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" name="object 29"/>
          <p:cNvSpPr/>
          <p:nvPr/>
        </p:nvSpPr>
        <p:spPr>
          <a:xfrm>
            <a:off x="3104245" y="1151382"/>
            <a:ext cx="6292" cy="16930"/>
          </a:xfrm>
          <a:custGeom>
            <a:avLst/>
            <a:gdLst/>
            <a:ahLst/>
            <a:cxnLst/>
            <a:rect l="l" t="t" r="r" b="b"/>
            <a:pathLst>
              <a:path w="9525" h="38100">
                <a:moveTo>
                  <a:pt x="9144" y="38100"/>
                </a:moveTo>
                <a:lnTo>
                  <a:pt x="9144" y="0"/>
                </a:lnTo>
                <a:lnTo>
                  <a:pt x="0" y="0"/>
                </a:lnTo>
                <a:lnTo>
                  <a:pt x="0" y="38100"/>
                </a:lnTo>
                <a:lnTo>
                  <a:pt x="9144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" name="object 30"/>
          <p:cNvSpPr/>
          <p:nvPr/>
        </p:nvSpPr>
        <p:spPr>
          <a:xfrm>
            <a:off x="3104245" y="1181177"/>
            <a:ext cx="6292" cy="16930"/>
          </a:xfrm>
          <a:custGeom>
            <a:avLst/>
            <a:gdLst/>
            <a:ahLst/>
            <a:cxnLst/>
            <a:rect l="l" t="t" r="r" b="b"/>
            <a:pathLst>
              <a:path w="9525" h="38100">
                <a:moveTo>
                  <a:pt x="9144" y="38100"/>
                </a:moveTo>
                <a:lnTo>
                  <a:pt x="9144" y="0"/>
                </a:lnTo>
                <a:lnTo>
                  <a:pt x="0" y="0"/>
                </a:lnTo>
                <a:lnTo>
                  <a:pt x="0" y="38100"/>
                </a:lnTo>
                <a:lnTo>
                  <a:pt x="9144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" name="object 31"/>
          <p:cNvSpPr/>
          <p:nvPr/>
        </p:nvSpPr>
        <p:spPr>
          <a:xfrm>
            <a:off x="3104245" y="1210636"/>
            <a:ext cx="6292" cy="16930"/>
          </a:xfrm>
          <a:custGeom>
            <a:avLst/>
            <a:gdLst/>
            <a:ahLst/>
            <a:cxnLst/>
            <a:rect l="l" t="t" r="r" b="b"/>
            <a:pathLst>
              <a:path w="9525" h="38100">
                <a:moveTo>
                  <a:pt x="9144" y="38100"/>
                </a:moveTo>
                <a:lnTo>
                  <a:pt x="9144" y="0"/>
                </a:lnTo>
                <a:lnTo>
                  <a:pt x="0" y="0"/>
                </a:lnTo>
                <a:lnTo>
                  <a:pt x="0" y="38100"/>
                </a:lnTo>
                <a:lnTo>
                  <a:pt x="9144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0" name="object 32"/>
          <p:cNvSpPr/>
          <p:nvPr/>
        </p:nvSpPr>
        <p:spPr>
          <a:xfrm>
            <a:off x="3104245" y="1240433"/>
            <a:ext cx="6292" cy="16930"/>
          </a:xfrm>
          <a:custGeom>
            <a:avLst/>
            <a:gdLst/>
            <a:ahLst/>
            <a:cxnLst/>
            <a:rect l="l" t="t" r="r" b="b"/>
            <a:pathLst>
              <a:path w="9525" h="38100">
                <a:moveTo>
                  <a:pt x="9144" y="38100"/>
                </a:moveTo>
                <a:lnTo>
                  <a:pt x="9144" y="0"/>
                </a:lnTo>
                <a:lnTo>
                  <a:pt x="0" y="0"/>
                </a:lnTo>
                <a:lnTo>
                  <a:pt x="0" y="38100"/>
                </a:lnTo>
                <a:lnTo>
                  <a:pt x="9144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1" name="object 33"/>
          <p:cNvSpPr/>
          <p:nvPr/>
        </p:nvSpPr>
        <p:spPr>
          <a:xfrm>
            <a:off x="3104245" y="1269890"/>
            <a:ext cx="6292" cy="16930"/>
          </a:xfrm>
          <a:custGeom>
            <a:avLst/>
            <a:gdLst/>
            <a:ahLst/>
            <a:cxnLst/>
            <a:rect l="l" t="t" r="r" b="b"/>
            <a:pathLst>
              <a:path w="9525" h="38100">
                <a:moveTo>
                  <a:pt x="9144" y="38100"/>
                </a:moveTo>
                <a:lnTo>
                  <a:pt x="9144" y="0"/>
                </a:lnTo>
                <a:lnTo>
                  <a:pt x="0" y="0"/>
                </a:lnTo>
                <a:lnTo>
                  <a:pt x="0" y="38100"/>
                </a:lnTo>
                <a:lnTo>
                  <a:pt x="9144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2" name="object 34"/>
          <p:cNvSpPr/>
          <p:nvPr/>
        </p:nvSpPr>
        <p:spPr>
          <a:xfrm>
            <a:off x="3104748" y="1298671"/>
            <a:ext cx="134645" cy="92268"/>
          </a:xfrm>
          <a:custGeom>
            <a:avLst/>
            <a:gdLst/>
            <a:ahLst/>
            <a:cxnLst/>
            <a:rect l="l" t="t" r="r" b="b"/>
            <a:pathLst>
              <a:path w="203835" h="207645">
                <a:moveTo>
                  <a:pt x="33528" y="27432"/>
                </a:moveTo>
                <a:lnTo>
                  <a:pt x="6858" y="0"/>
                </a:lnTo>
                <a:lnTo>
                  <a:pt x="0" y="6858"/>
                </a:lnTo>
                <a:lnTo>
                  <a:pt x="26670" y="33528"/>
                </a:lnTo>
                <a:lnTo>
                  <a:pt x="33528" y="27432"/>
                </a:lnTo>
                <a:close/>
              </a:path>
              <a:path w="203835" h="207645">
                <a:moveTo>
                  <a:pt x="80772" y="74676"/>
                </a:moveTo>
                <a:lnTo>
                  <a:pt x="54102" y="48006"/>
                </a:lnTo>
                <a:lnTo>
                  <a:pt x="47244" y="54102"/>
                </a:lnTo>
                <a:lnTo>
                  <a:pt x="73914" y="81534"/>
                </a:lnTo>
                <a:lnTo>
                  <a:pt x="80772" y="74676"/>
                </a:lnTo>
                <a:close/>
              </a:path>
              <a:path w="203835" h="207645">
                <a:moveTo>
                  <a:pt x="127254" y="122682"/>
                </a:moveTo>
                <a:lnTo>
                  <a:pt x="100584" y="95249"/>
                </a:lnTo>
                <a:lnTo>
                  <a:pt x="93726" y="102107"/>
                </a:lnTo>
                <a:lnTo>
                  <a:pt x="120396" y="129539"/>
                </a:lnTo>
                <a:lnTo>
                  <a:pt x="127254" y="122682"/>
                </a:lnTo>
                <a:close/>
              </a:path>
              <a:path w="203835" h="207645">
                <a:moveTo>
                  <a:pt x="173736" y="169926"/>
                </a:moveTo>
                <a:lnTo>
                  <a:pt x="147066" y="143256"/>
                </a:lnTo>
                <a:lnTo>
                  <a:pt x="140208" y="149352"/>
                </a:lnTo>
                <a:lnTo>
                  <a:pt x="166878" y="176784"/>
                </a:lnTo>
                <a:lnTo>
                  <a:pt x="173736" y="169926"/>
                </a:lnTo>
                <a:close/>
              </a:path>
              <a:path w="203835" h="207645">
                <a:moveTo>
                  <a:pt x="203454" y="200405"/>
                </a:moveTo>
                <a:lnTo>
                  <a:pt x="193548" y="190499"/>
                </a:lnTo>
                <a:lnTo>
                  <a:pt x="186690" y="197358"/>
                </a:lnTo>
                <a:lnTo>
                  <a:pt x="196596" y="207264"/>
                </a:lnTo>
                <a:lnTo>
                  <a:pt x="203454" y="2004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3" name="object 35"/>
          <p:cNvSpPr/>
          <p:nvPr/>
        </p:nvSpPr>
        <p:spPr>
          <a:xfrm>
            <a:off x="3240147" y="1474741"/>
            <a:ext cx="311654" cy="55304"/>
          </a:xfrm>
          <a:custGeom>
            <a:avLst/>
            <a:gdLst/>
            <a:ahLst/>
            <a:cxnLst/>
            <a:rect l="l" t="t" r="r" b="b"/>
            <a:pathLst>
              <a:path w="471804" h="124460">
                <a:moveTo>
                  <a:pt x="18288" y="37338"/>
                </a:moveTo>
                <a:lnTo>
                  <a:pt x="9144" y="0"/>
                </a:lnTo>
                <a:lnTo>
                  <a:pt x="0" y="2286"/>
                </a:lnTo>
                <a:lnTo>
                  <a:pt x="9144" y="39624"/>
                </a:lnTo>
                <a:lnTo>
                  <a:pt x="18288" y="37338"/>
                </a:lnTo>
                <a:close/>
              </a:path>
              <a:path w="471804" h="124460">
                <a:moveTo>
                  <a:pt x="77724" y="41148"/>
                </a:moveTo>
                <a:lnTo>
                  <a:pt x="40386" y="38862"/>
                </a:lnTo>
                <a:lnTo>
                  <a:pt x="39624" y="48006"/>
                </a:lnTo>
                <a:lnTo>
                  <a:pt x="76962" y="51053"/>
                </a:lnTo>
                <a:lnTo>
                  <a:pt x="77724" y="41148"/>
                </a:lnTo>
                <a:close/>
              </a:path>
              <a:path w="471804" h="124460">
                <a:moveTo>
                  <a:pt x="144780" y="46481"/>
                </a:moveTo>
                <a:lnTo>
                  <a:pt x="106680" y="43433"/>
                </a:lnTo>
                <a:lnTo>
                  <a:pt x="105918" y="53339"/>
                </a:lnTo>
                <a:lnTo>
                  <a:pt x="144018" y="56387"/>
                </a:lnTo>
                <a:lnTo>
                  <a:pt x="144780" y="46481"/>
                </a:lnTo>
                <a:close/>
              </a:path>
              <a:path w="471804" h="124460">
                <a:moveTo>
                  <a:pt x="211074" y="51815"/>
                </a:moveTo>
                <a:lnTo>
                  <a:pt x="172974" y="48767"/>
                </a:lnTo>
                <a:lnTo>
                  <a:pt x="172212" y="58673"/>
                </a:lnTo>
                <a:lnTo>
                  <a:pt x="210312" y="61721"/>
                </a:lnTo>
                <a:lnTo>
                  <a:pt x="211074" y="51815"/>
                </a:lnTo>
                <a:close/>
              </a:path>
              <a:path w="471804" h="124460">
                <a:moveTo>
                  <a:pt x="277368" y="57149"/>
                </a:moveTo>
                <a:lnTo>
                  <a:pt x="239268" y="54101"/>
                </a:lnTo>
                <a:lnTo>
                  <a:pt x="238506" y="63245"/>
                </a:lnTo>
                <a:lnTo>
                  <a:pt x="276606" y="66293"/>
                </a:lnTo>
                <a:lnTo>
                  <a:pt x="277368" y="57149"/>
                </a:lnTo>
                <a:close/>
              </a:path>
              <a:path w="471804" h="124460">
                <a:moveTo>
                  <a:pt x="343662" y="62483"/>
                </a:moveTo>
                <a:lnTo>
                  <a:pt x="305562" y="59435"/>
                </a:lnTo>
                <a:lnTo>
                  <a:pt x="304800" y="68579"/>
                </a:lnTo>
                <a:lnTo>
                  <a:pt x="342900" y="71627"/>
                </a:lnTo>
                <a:lnTo>
                  <a:pt x="343662" y="62483"/>
                </a:lnTo>
                <a:close/>
              </a:path>
              <a:path w="471804" h="124460">
                <a:moveTo>
                  <a:pt x="410718" y="67817"/>
                </a:moveTo>
                <a:lnTo>
                  <a:pt x="372618" y="64769"/>
                </a:lnTo>
                <a:lnTo>
                  <a:pt x="371856" y="73913"/>
                </a:lnTo>
                <a:lnTo>
                  <a:pt x="390906" y="75437"/>
                </a:lnTo>
                <a:lnTo>
                  <a:pt x="390906" y="73913"/>
                </a:lnTo>
                <a:lnTo>
                  <a:pt x="410242" y="73527"/>
                </a:lnTo>
                <a:lnTo>
                  <a:pt x="410718" y="67817"/>
                </a:lnTo>
                <a:close/>
              </a:path>
              <a:path w="471804" h="124460">
                <a:moveTo>
                  <a:pt x="410242" y="73527"/>
                </a:moveTo>
                <a:lnTo>
                  <a:pt x="390906" y="73913"/>
                </a:lnTo>
                <a:lnTo>
                  <a:pt x="390906" y="75437"/>
                </a:lnTo>
                <a:lnTo>
                  <a:pt x="409956" y="76961"/>
                </a:lnTo>
                <a:lnTo>
                  <a:pt x="410242" y="73527"/>
                </a:lnTo>
                <a:close/>
              </a:path>
              <a:path w="471804" h="124460">
                <a:moveTo>
                  <a:pt x="429006" y="82295"/>
                </a:moveTo>
                <a:lnTo>
                  <a:pt x="429006" y="73151"/>
                </a:lnTo>
                <a:lnTo>
                  <a:pt x="410242" y="73527"/>
                </a:lnTo>
                <a:lnTo>
                  <a:pt x="409956" y="76961"/>
                </a:lnTo>
                <a:lnTo>
                  <a:pt x="390906" y="75437"/>
                </a:lnTo>
                <a:lnTo>
                  <a:pt x="390906" y="83819"/>
                </a:lnTo>
                <a:lnTo>
                  <a:pt x="429006" y="82295"/>
                </a:lnTo>
                <a:close/>
              </a:path>
              <a:path w="471804" h="124460">
                <a:moveTo>
                  <a:pt x="467106" y="71627"/>
                </a:moveTo>
                <a:lnTo>
                  <a:pt x="438912" y="69341"/>
                </a:lnTo>
                <a:lnTo>
                  <a:pt x="438150" y="79247"/>
                </a:lnTo>
                <a:lnTo>
                  <a:pt x="457200" y="80792"/>
                </a:lnTo>
                <a:lnTo>
                  <a:pt x="457200" y="72389"/>
                </a:lnTo>
                <a:lnTo>
                  <a:pt x="467106" y="71627"/>
                </a:lnTo>
                <a:close/>
              </a:path>
              <a:path w="471804" h="124460">
                <a:moveTo>
                  <a:pt x="467106" y="71627"/>
                </a:moveTo>
                <a:lnTo>
                  <a:pt x="457200" y="72389"/>
                </a:lnTo>
                <a:lnTo>
                  <a:pt x="457904" y="80849"/>
                </a:lnTo>
                <a:lnTo>
                  <a:pt x="466344" y="81533"/>
                </a:lnTo>
                <a:lnTo>
                  <a:pt x="467106" y="71627"/>
                </a:lnTo>
                <a:close/>
              </a:path>
              <a:path w="471804" h="124460">
                <a:moveTo>
                  <a:pt x="457904" y="80849"/>
                </a:moveTo>
                <a:lnTo>
                  <a:pt x="457200" y="72389"/>
                </a:lnTo>
                <a:lnTo>
                  <a:pt x="457200" y="80792"/>
                </a:lnTo>
                <a:lnTo>
                  <a:pt x="457904" y="80849"/>
                </a:lnTo>
                <a:close/>
              </a:path>
              <a:path w="471804" h="124460">
                <a:moveTo>
                  <a:pt x="466344" y="81533"/>
                </a:moveTo>
                <a:lnTo>
                  <a:pt x="457904" y="80849"/>
                </a:lnTo>
                <a:lnTo>
                  <a:pt x="457962" y="81533"/>
                </a:lnTo>
                <a:lnTo>
                  <a:pt x="466344" y="81533"/>
                </a:lnTo>
                <a:close/>
              </a:path>
              <a:path w="471804" h="124460">
                <a:moveTo>
                  <a:pt x="471678" y="79247"/>
                </a:moveTo>
                <a:lnTo>
                  <a:pt x="471678" y="73913"/>
                </a:lnTo>
                <a:lnTo>
                  <a:pt x="470154" y="72389"/>
                </a:lnTo>
                <a:lnTo>
                  <a:pt x="467106" y="71627"/>
                </a:lnTo>
                <a:lnTo>
                  <a:pt x="466344" y="81533"/>
                </a:lnTo>
                <a:lnTo>
                  <a:pt x="469392" y="81533"/>
                </a:lnTo>
                <a:lnTo>
                  <a:pt x="471678" y="79247"/>
                </a:lnTo>
                <a:close/>
              </a:path>
              <a:path w="471804" h="124460">
                <a:moveTo>
                  <a:pt x="362712" y="84581"/>
                </a:moveTo>
                <a:lnTo>
                  <a:pt x="361950" y="74675"/>
                </a:lnTo>
                <a:lnTo>
                  <a:pt x="323850" y="75437"/>
                </a:lnTo>
                <a:lnTo>
                  <a:pt x="324612" y="85343"/>
                </a:lnTo>
                <a:lnTo>
                  <a:pt x="362712" y="84581"/>
                </a:lnTo>
                <a:close/>
              </a:path>
              <a:path w="471804" h="124460">
                <a:moveTo>
                  <a:pt x="295656" y="86105"/>
                </a:moveTo>
                <a:lnTo>
                  <a:pt x="295656" y="76199"/>
                </a:lnTo>
                <a:lnTo>
                  <a:pt x="257556" y="77723"/>
                </a:lnTo>
                <a:lnTo>
                  <a:pt x="257556" y="86867"/>
                </a:lnTo>
                <a:lnTo>
                  <a:pt x="295656" y="86105"/>
                </a:lnTo>
                <a:close/>
              </a:path>
              <a:path w="471804" h="124460">
                <a:moveTo>
                  <a:pt x="229362" y="87630"/>
                </a:moveTo>
                <a:lnTo>
                  <a:pt x="228600" y="78485"/>
                </a:lnTo>
                <a:lnTo>
                  <a:pt x="190500" y="79247"/>
                </a:lnTo>
                <a:lnTo>
                  <a:pt x="191262" y="89153"/>
                </a:lnTo>
                <a:lnTo>
                  <a:pt x="229362" y="87630"/>
                </a:lnTo>
                <a:close/>
              </a:path>
              <a:path w="471804" h="124460">
                <a:moveTo>
                  <a:pt x="162306" y="89915"/>
                </a:moveTo>
                <a:lnTo>
                  <a:pt x="162306" y="80009"/>
                </a:lnTo>
                <a:lnTo>
                  <a:pt x="124206" y="80772"/>
                </a:lnTo>
                <a:lnTo>
                  <a:pt x="124206" y="90677"/>
                </a:lnTo>
                <a:lnTo>
                  <a:pt x="162306" y="89915"/>
                </a:lnTo>
                <a:close/>
              </a:path>
              <a:path w="471804" h="124460">
                <a:moveTo>
                  <a:pt x="96012" y="91440"/>
                </a:moveTo>
                <a:lnTo>
                  <a:pt x="95250" y="81534"/>
                </a:lnTo>
                <a:lnTo>
                  <a:pt x="57150" y="83058"/>
                </a:lnTo>
                <a:lnTo>
                  <a:pt x="57912" y="92202"/>
                </a:lnTo>
                <a:lnTo>
                  <a:pt x="96012" y="91440"/>
                </a:lnTo>
                <a:close/>
              </a:path>
              <a:path w="471804" h="124460">
                <a:moveTo>
                  <a:pt x="32766" y="90678"/>
                </a:moveTo>
                <a:lnTo>
                  <a:pt x="28956" y="92964"/>
                </a:lnTo>
                <a:lnTo>
                  <a:pt x="28956" y="83820"/>
                </a:lnTo>
                <a:lnTo>
                  <a:pt x="26670" y="83820"/>
                </a:lnTo>
                <a:lnTo>
                  <a:pt x="25146" y="84582"/>
                </a:lnTo>
                <a:lnTo>
                  <a:pt x="24384" y="86106"/>
                </a:lnTo>
                <a:lnTo>
                  <a:pt x="7620" y="120396"/>
                </a:lnTo>
                <a:lnTo>
                  <a:pt x="16764" y="124205"/>
                </a:lnTo>
                <a:lnTo>
                  <a:pt x="32766" y="9067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4" name="object 36"/>
          <p:cNvSpPr/>
          <p:nvPr/>
        </p:nvSpPr>
        <p:spPr>
          <a:xfrm>
            <a:off x="3104246" y="1538058"/>
            <a:ext cx="142195" cy="386000"/>
          </a:xfrm>
          <a:custGeom>
            <a:avLst/>
            <a:gdLst/>
            <a:ahLst/>
            <a:cxnLst/>
            <a:rect l="l" t="t" r="r" b="b"/>
            <a:pathLst>
              <a:path w="215264" h="868679">
                <a:moveTo>
                  <a:pt x="214884" y="38100"/>
                </a:moveTo>
                <a:lnTo>
                  <a:pt x="214884" y="0"/>
                </a:lnTo>
                <a:lnTo>
                  <a:pt x="205739" y="0"/>
                </a:lnTo>
                <a:lnTo>
                  <a:pt x="205739" y="38100"/>
                </a:lnTo>
                <a:lnTo>
                  <a:pt x="214884" y="38100"/>
                </a:lnTo>
                <a:close/>
              </a:path>
              <a:path w="215264" h="868679">
                <a:moveTo>
                  <a:pt x="214884" y="105155"/>
                </a:moveTo>
                <a:lnTo>
                  <a:pt x="214884" y="67055"/>
                </a:lnTo>
                <a:lnTo>
                  <a:pt x="205739" y="67055"/>
                </a:lnTo>
                <a:lnTo>
                  <a:pt x="205739" y="105155"/>
                </a:lnTo>
                <a:lnTo>
                  <a:pt x="214884" y="105155"/>
                </a:lnTo>
                <a:close/>
              </a:path>
              <a:path w="215264" h="868679">
                <a:moveTo>
                  <a:pt x="214884" y="171450"/>
                </a:moveTo>
                <a:lnTo>
                  <a:pt x="214884" y="133350"/>
                </a:lnTo>
                <a:lnTo>
                  <a:pt x="205739" y="133350"/>
                </a:lnTo>
                <a:lnTo>
                  <a:pt x="205739" y="171450"/>
                </a:lnTo>
                <a:lnTo>
                  <a:pt x="214884" y="171450"/>
                </a:lnTo>
                <a:close/>
              </a:path>
              <a:path w="215264" h="868679">
                <a:moveTo>
                  <a:pt x="207264" y="197358"/>
                </a:moveTo>
                <a:lnTo>
                  <a:pt x="178308" y="220979"/>
                </a:lnTo>
                <a:lnTo>
                  <a:pt x="184404" y="228600"/>
                </a:lnTo>
                <a:lnTo>
                  <a:pt x="205740" y="210632"/>
                </a:lnTo>
                <a:lnTo>
                  <a:pt x="205740" y="200405"/>
                </a:lnTo>
                <a:lnTo>
                  <a:pt x="207264" y="197358"/>
                </a:lnTo>
                <a:close/>
              </a:path>
              <a:path w="215264" h="868679">
                <a:moveTo>
                  <a:pt x="214884" y="203453"/>
                </a:moveTo>
                <a:lnTo>
                  <a:pt x="214884" y="200405"/>
                </a:lnTo>
                <a:lnTo>
                  <a:pt x="205740" y="200405"/>
                </a:lnTo>
                <a:lnTo>
                  <a:pt x="205740" y="210632"/>
                </a:lnTo>
                <a:lnTo>
                  <a:pt x="213360" y="204215"/>
                </a:lnTo>
                <a:lnTo>
                  <a:pt x="214884" y="203453"/>
                </a:lnTo>
                <a:close/>
              </a:path>
              <a:path w="215264" h="868679">
                <a:moveTo>
                  <a:pt x="162306" y="246887"/>
                </a:moveTo>
                <a:lnTo>
                  <a:pt x="156210" y="239267"/>
                </a:lnTo>
                <a:lnTo>
                  <a:pt x="127254" y="263651"/>
                </a:lnTo>
                <a:lnTo>
                  <a:pt x="133350" y="270510"/>
                </a:lnTo>
                <a:lnTo>
                  <a:pt x="162306" y="246887"/>
                </a:lnTo>
                <a:close/>
              </a:path>
              <a:path w="215264" h="868679">
                <a:moveTo>
                  <a:pt x="111252" y="288798"/>
                </a:moveTo>
                <a:lnTo>
                  <a:pt x="105156" y="281939"/>
                </a:lnTo>
                <a:lnTo>
                  <a:pt x="75437" y="305562"/>
                </a:lnTo>
                <a:lnTo>
                  <a:pt x="81534" y="313181"/>
                </a:lnTo>
                <a:lnTo>
                  <a:pt x="111252" y="288798"/>
                </a:lnTo>
                <a:close/>
              </a:path>
              <a:path w="215264" h="868679">
                <a:moveTo>
                  <a:pt x="59436" y="331470"/>
                </a:moveTo>
                <a:lnTo>
                  <a:pt x="53340" y="323850"/>
                </a:lnTo>
                <a:lnTo>
                  <a:pt x="24384" y="348234"/>
                </a:lnTo>
                <a:lnTo>
                  <a:pt x="30480" y="355853"/>
                </a:lnTo>
                <a:lnTo>
                  <a:pt x="59436" y="331470"/>
                </a:lnTo>
                <a:close/>
              </a:path>
              <a:path w="215264" h="868679">
                <a:moveTo>
                  <a:pt x="7874" y="373506"/>
                </a:moveTo>
                <a:lnTo>
                  <a:pt x="2286" y="366522"/>
                </a:lnTo>
                <a:lnTo>
                  <a:pt x="1524" y="367284"/>
                </a:lnTo>
                <a:lnTo>
                  <a:pt x="0" y="368046"/>
                </a:lnTo>
                <a:lnTo>
                  <a:pt x="0" y="407670"/>
                </a:lnTo>
                <a:lnTo>
                  <a:pt x="7620" y="407670"/>
                </a:lnTo>
                <a:lnTo>
                  <a:pt x="7620" y="374141"/>
                </a:lnTo>
                <a:lnTo>
                  <a:pt x="7874" y="373506"/>
                </a:lnTo>
                <a:close/>
              </a:path>
              <a:path w="215264" h="868679">
                <a:moveTo>
                  <a:pt x="8382" y="374141"/>
                </a:moveTo>
                <a:lnTo>
                  <a:pt x="7874" y="373506"/>
                </a:lnTo>
                <a:lnTo>
                  <a:pt x="7620" y="374141"/>
                </a:lnTo>
                <a:lnTo>
                  <a:pt x="8382" y="374141"/>
                </a:lnTo>
                <a:close/>
              </a:path>
              <a:path w="215264" h="868679">
                <a:moveTo>
                  <a:pt x="8382" y="407670"/>
                </a:moveTo>
                <a:lnTo>
                  <a:pt x="8382" y="374141"/>
                </a:lnTo>
                <a:lnTo>
                  <a:pt x="7620" y="374141"/>
                </a:lnTo>
                <a:lnTo>
                  <a:pt x="7620" y="407670"/>
                </a:lnTo>
                <a:lnTo>
                  <a:pt x="8382" y="407670"/>
                </a:lnTo>
                <a:close/>
              </a:path>
              <a:path w="215264" h="868679">
                <a:moveTo>
                  <a:pt x="9144" y="407670"/>
                </a:moveTo>
                <a:lnTo>
                  <a:pt x="9144" y="370331"/>
                </a:lnTo>
                <a:lnTo>
                  <a:pt x="7874" y="373506"/>
                </a:lnTo>
                <a:lnTo>
                  <a:pt x="8382" y="374141"/>
                </a:lnTo>
                <a:lnTo>
                  <a:pt x="8382" y="407670"/>
                </a:lnTo>
                <a:lnTo>
                  <a:pt x="9144" y="407670"/>
                </a:lnTo>
                <a:close/>
              </a:path>
              <a:path w="215264" h="868679">
                <a:moveTo>
                  <a:pt x="9906" y="474725"/>
                </a:moveTo>
                <a:lnTo>
                  <a:pt x="9906" y="436625"/>
                </a:lnTo>
                <a:lnTo>
                  <a:pt x="0" y="436625"/>
                </a:lnTo>
                <a:lnTo>
                  <a:pt x="0" y="474725"/>
                </a:lnTo>
                <a:lnTo>
                  <a:pt x="9906" y="474725"/>
                </a:lnTo>
                <a:close/>
              </a:path>
              <a:path w="215264" h="868679">
                <a:moveTo>
                  <a:pt x="9906" y="541020"/>
                </a:moveTo>
                <a:lnTo>
                  <a:pt x="9906" y="502920"/>
                </a:lnTo>
                <a:lnTo>
                  <a:pt x="0" y="502920"/>
                </a:lnTo>
                <a:lnTo>
                  <a:pt x="762" y="541020"/>
                </a:lnTo>
                <a:lnTo>
                  <a:pt x="9906" y="541020"/>
                </a:lnTo>
                <a:close/>
              </a:path>
              <a:path w="215264" h="868679">
                <a:moveTo>
                  <a:pt x="10668" y="608076"/>
                </a:moveTo>
                <a:lnTo>
                  <a:pt x="9906" y="569976"/>
                </a:lnTo>
                <a:lnTo>
                  <a:pt x="762" y="569976"/>
                </a:lnTo>
                <a:lnTo>
                  <a:pt x="762" y="608076"/>
                </a:lnTo>
                <a:lnTo>
                  <a:pt x="10668" y="608076"/>
                </a:lnTo>
                <a:close/>
              </a:path>
              <a:path w="215264" h="868679">
                <a:moveTo>
                  <a:pt x="10668" y="674370"/>
                </a:moveTo>
                <a:lnTo>
                  <a:pt x="10668" y="636270"/>
                </a:lnTo>
                <a:lnTo>
                  <a:pt x="762" y="636270"/>
                </a:lnTo>
                <a:lnTo>
                  <a:pt x="1524" y="674370"/>
                </a:lnTo>
                <a:lnTo>
                  <a:pt x="10668" y="674370"/>
                </a:lnTo>
                <a:close/>
              </a:path>
              <a:path w="215264" h="868679">
                <a:moveTo>
                  <a:pt x="10668" y="741426"/>
                </a:moveTo>
                <a:lnTo>
                  <a:pt x="10668" y="703326"/>
                </a:lnTo>
                <a:lnTo>
                  <a:pt x="1524" y="703326"/>
                </a:lnTo>
                <a:lnTo>
                  <a:pt x="1524" y="741426"/>
                </a:lnTo>
                <a:lnTo>
                  <a:pt x="10668" y="741426"/>
                </a:lnTo>
                <a:close/>
              </a:path>
              <a:path w="215264" h="868679">
                <a:moveTo>
                  <a:pt x="11430" y="807720"/>
                </a:moveTo>
                <a:lnTo>
                  <a:pt x="11430" y="769620"/>
                </a:lnTo>
                <a:lnTo>
                  <a:pt x="1524" y="769620"/>
                </a:lnTo>
                <a:lnTo>
                  <a:pt x="1524" y="807720"/>
                </a:lnTo>
                <a:lnTo>
                  <a:pt x="11430" y="807720"/>
                </a:lnTo>
                <a:close/>
              </a:path>
              <a:path w="215264" h="868679">
                <a:moveTo>
                  <a:pt x="11430" y="868679"/>
                </a:moveTo>
                <a:lnTo>
                  <a:pt x="11430" y="836676"/>
                </a:lnTo>
                <a:lnTo>
                  <a:pt x="2286" y="836676"/>
                </a:lnTo>
                <a:lnTo>
                  <a:pt x="2286" y="868679"/>
                </a:lnTo>
                <a:lnTo>
                  <a:pt x="11430" y="86867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5" name="object 37"/>
          <p:cNvSpPr/>
          <p:nvPr/>
        </p:nvSpPr>
        <p:spPr>
          <a:xfrm>
            <a:off x="3105754" y="1119892"/>
            <a:ext cx="451331" cy="388257"/>
          </a:xfrm>
          <a:custGeom>
            <a:avLst/>
            <a:gdLst/>
            <a:ahLst/>
            <a:cxnLst/>
            <a:rect l="l" t="t" r="r" b="b"/>
            <a:pathLst>
              <a:path w="683260" h="873760">
                <a:moveTo>
                  <a:pt x="682752" y="873252"/>
                </a:moveTo>
                <a:lnTo>
                  <a:pt x="675132" y="0"/>
                </a:lnTo>
                <a:lnTo>
                  <a:pt x="6858" y="2286"/>
                </a:lnTo>
                <a:lnTo>
                  <a:pt x="0" y="403098"/>
                </a:lnTo>
                <a:lnTo>
                  <a:pt x="208026" y="604266"/>
                </a:lnTo>
                <a:lnTo>
                  <a:pt x="212598" y="785622"/>
                </a:lnTo>
                <a:lnTo>
                  <a:pt x="222504" y="828294"/>
                </a:lnTo>
                <a:lnTo>
                  <a:pt x="682752" y="873252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6" name="object 38"/>
          <p:cNvSpPr/>
          <p:nvPr/>
        </p:nvSpPr>
        <p:spPr>
          <a:xfrm>
            <a:off x="3108775" y="1510971"/>
            <a:ext cx="446297" cy="405751"/>
          </a:xfrm>
          <a:custGeom>
            <a:avLst/>
            <a:gdLst/>
            <a:ahLst/>
            <a:cxnLst/>
            <a:rect l="l" t="t" r="r" b="b"/>
            <a:pathLst>
              <a:path w="675639" h="913129">
                <a:moveTo>
                  <a:pt x="211074" y="911299"/>
                </a:moveTo>
                <a:lnTo>
                  <a:pt x="211074" y="254507"/>
                </a:lnTo>
                <a:lnTo>
                  <a:pt x="0" y="436625"/>
                </a:lnTo>
                <a:lnTo>
                  <a:pt x="2286" y="910589"/>
                </a:lnTo>
                <a:lnTo>
                  <a:pt x="211074" y="911299"/>
                </a:lnTo>
                <a:close/>
              </a:path>
              <a:path w="675639" h="913129">
                <a:moveTo>
                  <a:pt x="675132" y="912875"/>
                </a:moveTo>
                <a:lnTo>
                  <a:pt x="668274" y="0"/>
                </a:lnTo>
                <a:lnTo>
                  <a:pt x="215646" y="13715"/>
                </a:lnTo>
                <a:lnTo>
                  <a:pt x="208026" y="92201"/>
                </a:lnTo>
                <a:lnTo>
                  <a:pt x="211074" y="254507"/>
                </a:lnTo>
                <a:lnTo>
                  <a:pt x="211074" y="911299"/>
                </a:lnTo>
                <a:lnTo>
                  <a:pt x="675132" y="912875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7" name="object 39"/>
          <p:cNvSpPr/>
          <p:nvPr/>
        </p:nvSpPr>
        <p:spPr>
          <a:xfrm>
            <a:off x="2902404" y="1114813"/>
            <a:ext cx="195046" cy="802191"/>
          </a:xfrm>
          <a:custGeom>
            <a:avLst/>
            <a:gdLst/>
            <a:ahLst/>
            <a:cxnLst/>
            <a:rect l="l" t="t" r="r" b="b"/>
            <a:pathLst>
              <a:path w="295275" h="1805304">
                <a:moveTo>
                  <a:pt x="0" y="0"/>
                </a:moveTo>
                <a:lnTo>
                  <a:pt x="0" y="1805177"/>
                </a:lnTo>
                <a:lnTo>
                  <a:pt x="294893" y="1805177"/>
                </a:lnTo>
                <a:lnTo>
                  <a:pt x="294893" y="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8" name="object 40"/>
          <p:cNvSpPr/>
          <p:nvPr/>
        </p:nvSpPr>
        <p:spPr>
          <a:xfrm>
            <a:off x="2898880" y="1112782"/>
            <a:ext cx="201338" cy="806423"/>
          </a:xfrm>
          <a:custGeom>
            <a:avLst/>
            <a:gdLst/>
            <a:ahLst/>
            <a:cxnLst/>
            <a:rect l="l" t="t" r="r" b="b"/>
            <a:pathLst>
              <a:path w="304800" h="1814829">
                <a:moveTo>
                  <a:pt x="304800" y="1814322"/>
                </a:moveTo>
                <a:lnTo>
                  <a:pt x="304800" y="0"/>
                </a:lnTo>
                <a:lnTo>
                  <a:pt x="0" y="0"/>
                </a:lnTo>
                <a:lnTo>
                  <a:pt x="0" y="1814322"/>
                </a:lnTo>
                <a:lnTo>
                  <a:pt x="5333" y="1814322"/>
                </a:lnTo>
                <a:lnTo>
                  <a:pt x="5333" y="9144"/>
                </a:lnTo>
                <a:lnTo>
                  <a:pt x="9905" y="4572"/>
                </a:lnTo>
                <a:lnTo>
                  <a:pt x="9905" y="9144"/>
                </a:lnTo>
                <a:lnTo>
                  <a:pt x="295655" y="9144"/>
                </a:lnTo>
                <a:lnTo>
                  <a:pt x="295655" y="4572"/>
                </a:lnTo>
                <a:lnTo>
                  <a:pt x="300227" y="9144"/>
                </a:lnTo>
                <a:lnTo>
                  <a:pt x="300227" y="1814322"/>
                </a:lnTo>
                <a:lnTo>
                  <a:pt x="304800" y="1814322"/>
                </a:lnTo>
                <a:close/>
              </a:path>
              <a:path w="304800" h="1814829">
                <a:moveTo>
                  <a:pt x="9905" y="9144"/>
                </a:moveTo>
                <a:lnTo>
                  <a:pt x="9905" y="4572"/>
                </a:lnTo>
                <a:lnTo>
                  <a:pt x="5333" y="9144"/>
                </a:lnTo>
                <a:lnTo>
                  <a:pt x="9905" y="9144"/>
                </a:lnTo>
                <a:close/>
              </a:path>
              <a:path w="304800" h="1814829">
                <a:moveTo>
                  <a:pt x="9905" y="1805177"/>
                </a:moveTo>
                <a:lnTo>
                  <a:pt x="9905" y="9144"/>
                </a:lnTo>
                <a:lnTo>
                  <a:pt x="5333" y="9144"/>
                </a:lnTo>
                <a:lnTo>
                  <a:pt x="5333" y="1805177"/>
                </a:lnTo>
                <a:lnTo>
                  <a:pt x="9905" y="1805177"/>
                </a:lnTo>
                <a:close/>
              </a:path>
              <a:path w="304800" h="1814829">
                <a:moveTo>
                  <a:pt x="300227" y="1805177"/>
                </a:moveTo>
                <a:lnTo>
                  <a:pt x="5333" y="1805177"/>
                </a:lnTo>
                <a:lnTo>
                  <a:pt x="9905" y="1809750"/>
                </a:lnTo>
                <a:lnTo>
                  <a:pt x="9905" y="1814322"/>
                </a:lnTo>
                <a:lnTo>
                  <a:pt x="295655" y="1814322"/>
                </a:lnTo>
                <a:lnTo>
                  <a:pt x="295655" y="1809750"/>
                </a:lnTo>
                <a:lnTo>
                  <a:pt x="300227" y="1805177"/>
                </a:lnTo>
                <a:close/>
              </a:path>
              <a:path w="304800" h="1814829">
                <a:moveTo>
                  <a:pt x="9905" y="1814322"/>
                </a:moveTo>
                <a:lnTo>
                  <a:pt x="9905" y="1809750"/>
                </a:lnTo>
                <a:lnTo>
                  <a:pt x="5333" y="1805177"/>
                </a:lnTo>
                <a:lnTo>
                  <a:pt x="5333" y="1814322"/>
                </a:lnTo>
                <a:lnTo>
                  <a:pt x="9905" y="1814322"/>
                </a:lnTo>
                <a:close/>
              </a:path>
              <a:path w="304800" h="1814829">
                <a:moveTo>
                  <a:pt x="300227" y="9144"/>
                </a:moveTo>
                <a:lnTo>
                  <a:pt x="295655" y="4572"/>
                </a:lnTo>
                <a:lnTo>
                  <a:pt x="295655" y="9144"/>
                </a:lnTo>
                <a:lnTo>
                  <a:pt x="300227" y="9144"/>
                </a:lnTo>
                <a:close/>
              </a:path>
              <a:path w="304800" h="1814829">
                <a:moveTo>
                  <a:pt x="300227" y="1805177"/>
                </a:moveTo>
                <a:lnTo>
                  <a:pt x="300227" y="9144"/>
                </a:lnTo>
                <a:lnTo>
                  <a:pt x="295655" y="9144"/>
                </a:lnTo>
                <a:lnTo>
                  <a:pt x="295655" y="1805177"/>
                </a:lnTo>
                <a:lnTo>
                  <a:pt x="300227" y="1805177"/>
                </a:lnTo>
                <a:close/>
              </a:path>
              <a:path w="304800" h="1814829">
                <a:moveTo>
                  <a:pt x="300227" y="1814322"/>
                </a:moveTo>
                <a:lnTo>
                  <a:pt x="300227" y="1805177"/>
                </a:lnTo>
                <a:lnTo>
                  <a:pt x="295655" y="1809750"/>
                </a:lnTo>
                <a:lnTo>
                  <a:pt x="295655" y="1814322"/>
                </a:lnTo>
                <a:lnTo>
                  <a:pt x="300227" y="18143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9" name="object 41"/>
          <p:cNvSpPr/>
          <p:nvPr/>
        </p:nvSpPr>
        <p:spPr>
          <a:xfrm>
            <a:off x="3097198" y="1312554"/>
            <a:ext cx="94796" cy="373867"/>
          </a:xfrm>
          <a:custGeom>
            <a:avLst/>
            <a:gdLst/>
            <a:ahLst/>
            <a:cxnLst/>
            <a:rect l="l" t="t" r="r" b="b"/>
            <a:pathLst>
              <a:path w="143510" h="841375">
                <a:moveTo>
                  <a:pt x="143256" y="700278"/>
                </a:moveTo>
                <a:lnTo>
                  <a:pt x="135636" y="153162"/>
                </a:lnTo>
                <a:lnTo>
                  <a:pt x="0" y="0"/>
                </a:lnTo>
                <a:lnTo>
                  <a:pt x="0" y="841247"/>
                </a:lnTo>
                <a:lnTo>
                  <a:pt x="143256" y="700278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0" name="object 42"/>
          <p:cNvSpPr/>
          <p:nvPr/>
        </p:nvSpPr>
        <p:spPr>
          <a:xfrm>
            <a:off x="3094178" y="1310183"/>
            <a:ext cx="100668" cy="378382"/>
          </a:xfrm>
          <a:custGeom>
            <a:avLst/>
            <a:gdLst/>
            <a:ahLst/>
            <a:cxnLst/>
            <a:rect l="l" t="t" r="r" b="b"/>
            <a:pathLst>
              <a:path w="152400" h="851535">
                <a:moveTo>
                  <a:pt x="152400" y="706374"/>
                </a:moveTo>
                <a:lnTo>
                  <a:pt x="144780" y="158496"/>
                </a:lnTo>
                <a:lnTo>
                  <a:pt x="144780" y="156210"/>
                </a:lnTo>
                <a:lnTo>
                  <a:pt x="144018" y="155448"/>
                </a:lnTo>
                <a:lnTo>
                  <a:pt x="8382" y="1524"/>
                </a:lnTo>
                <a:lnTo>
                  <a:pt x="6858" y="0"/>
                </a:lnTo>
                <a:lnTo>
                  <a:pt x="4572" y="0"/>
                </a:lnTo>
                <a:lnTo>
                  <a:pt x="3047" y="762"/>
                </a:lnTo>
                <a:lnTo>
                  <a:pt x="761" y="1524"/>
                </a:lnTo>
                <a:lnTo>
                  <a:pt x="0" y="3048"/>
                </a:lnTo>
                <a:lnTo>
                  <a:pt x="0" y="848106"/>
                </a:lnTo>
                <a:lnTo>
                  <a:pt x="762" y="850392"/>
                </a:lnTo>
                <a:lnTo>
                  <a:pt x="762" y="8382"/>
                </a:lnTo>
                <a:lnTo>
                  <a:pt x="9143" y="5334"/>
                </a:lnTo>
                <a:lnTo>
                  <a:pt x="9143" y="17847"/>
                </a:lnTo>
                <a:lnTo>
                  <a:pt x="135636" y="160683"/>
                </a:lnTo>
                <a:lnTo>
                  <a:pt x="135636" y="158496"/>
                </a:lnTo>
                <a:lnTo>
                  <a:pt x="136398" y="161544"/>
                </a:lnTo>
                <a:lnTo>
                  <a:pt x="136398" y="219286"/>
                </a:lnTo>
                <a:lnTo>
                  <a:pt x="142465" y="703337"/>
                </a:lnTo>
                <a:lnTo>
                  <a:pt x="144018" y="701802"/>
                </a:lnTo>
                <a:lnTo>
                  <a:pt x="144018" y="715397"/>
                </a:lnTo>
                <a:lnTo>
                  <a:pt x="151638" y="707898"/>
                </a:lnTo>
                <a:lnTo>
                  <a:pt x="152400" y="706374"/>
                </a:lnTo>
                <a:close/>
              </a:path>
              <a:path w="152400" h="851535">
                <a:moveTo>
                  <a:pt x="9143" y="17847"/>
                </a:moveTo>
                <a:lnTo>
                  <a:pt x="9143" y="5334"/>
                </a:lnTo>
                <a:lnTo>
                  <a:pt x="762" y="8382"/>
                </a:lnTo>
                <a:lnTo>
                  <a:pt x="9143" y="17847"/>
                </a:lnTo>
                <a:close/>
              </a:path>
              <a:path w="152400" h="851535">
                <a:moveTo>
                  <a:pt x="9144" y="835233"/>
                </a:moveTo>
                <a:lnTo>
                  <a:pt x="9143" y="17847"/>
                </a:lnTo>
                <a:lnTo>
                  <a:pt x="762" y="8382"/>
                </a:lnTo>
                <a:lnTo>
                  <a:pt x="762" y="850392"/>
                </a:lnTo>
                <a:lnTo>
                  <a:pt x="1524" y="850392"/>
                </a:lnTo>
                <a:lnTo>
                  <a:pt x="1524" y="842772"/>
                </a:lnTo>
                <a:lnTo>
                  <a:pt x="9144" y="835233"/>
                </a:lnTo>
                <a:close/>
              </a:path>
              <a:path w="152400" h="851535">
                <a:moveTo>
                  <a:pt x="144018" y="715397"/>
                </a:moveTo>
                <a:lnTo>
                  <a:pt x="144018" y="701802"/>
                </a:lnTo>
                <a:lnTo>
                  <a:pt x="142494" y="705612"/>
                </a:lnTo>
                <a:lnTo>
                  <a:pt x="142465" y="703337"/>
                </a:lnTo>
                <a:lnTo>
                  <a:pt x="1524" y="842772"/>
                </a:lnTo>
                <a:lnTo>
                  <a:pt x="9144" y="846582"/>
                </a:lnTo>
                <a:lnTo>
                  <a:pt x="9144" y="848130"/>
                </a:lnTo>
                <a:lnTo>
                  <a:pt x="144018" y="715397"/>
                </a:lnTo>
                <a:close/>
              </a:path>
              <a:path w="152400" h="851535">
                <a:moveTo>
                  <a:pt x="9144" y="848130"/>
                </a:moveTo>
                <a:lnTo>
                  <a:pt x="9144" y="846582"/>
                </a:lnTo>
                <a:lnTo>
                  <a:pt x="1524" y="842772"/>
                </a:lnTo>
                <a:lnTo>
                  <a:pt x="1524" y="850392"/>
                </a:lnTo>
                <a:lnTo>
                  <a:pt x="3048" y="850392"/>
                </a:lnTo>
                <a:lnTo>
                  <a:pt x="4572" y="851154"/>
                </a:lnTo>
                <a:lnTo>
                  <a:pt x="6858" y="851154"/>
                </a:lnTo>
                <a:lnTo>
                  <a:pt x="7620" y="849630"/>
                </a:lnTo>
                <a:lnTo>
                  <a:pt x="9144" y="848130"/>
                </a:lnTo>
                <a:close/>
              </a:path>
              <a:path w="152400" h="851535">
                <a:moveTo>
                  <a:pt x="136398" y="161544"/>
                </a:moveTo>
                <a:lnTo>
                  <a:pt x="135636" y="158496"/>
                </a:lnTo>
                <a:lnTo>
                  <a:pt x="135663" y="160714"/>
                </a:lnTo>
                <a:lnTo>
                  <a:pt x="136398" y="161544"/>
                </a:lnTo>
                <a:close/>
              </a:path>
              <a:path w="152400" h="851535">
                <a:moveTo>
                  <a:pt x="135663" y="160714"/>
                </a:moveTo>
                <a:lnTo>
                  <a:pt x="135636" y="158496"/>
                </a:lnTo>
                <a:lnTo>
                  <a:pt x="135636" y="160683"/>
                </a:lnTo>
                <a:close/>
              </a:path>
              <a:path w="152400" h="851535">
                <a:moveTo>
                  <a:pt x="136398" y="219286"/>
                </a:moveTo>
                <a:lnTo>
                  <a:pt x="136398" y="161544"/>
                </a:lnTo>
                <a:lnTo>
                  <a:pt x="135663" y="160714"/>
                </a:lnTo>
                <a:lnTo>
                  <a:pt x="136398" y="219286"/>
                </a:lnTo>
                <a:close/>
              </a:path>
              <a:path w="152400" h="851535">
                <a:moveTo>
                  <a:pt x="144018" y="701802"/>
                </a:moveTo>
                <a:lnTo>
                  <a:pt x="142465" y="703337"/>
                </a:lnTo>
                <a:lnTo>
                  <a:pt x="142494" y="705612"/>
                </a:lnTo>
                <a:lnTo>
                  <a:pt x="144018" y="70180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1" name="object 43"/>
          <p:cNvSpPr/>
          <p:nvPr/>
        </p:nvSpPr>
        <p:spPr>
          <a:xfrm>
            <a:off x="1816691" y="1441221"/>
            <a:ext cx="852328" cy="118508"/>
          </a:xfrm>
          <a:custGeom>
            <a:avLst/>
            <a:gdLst/>
            <a:ahLst/>
            <a:cxnLst/>
            <a:rect l="l" t="t" r="r" b="b"/>
            <a:pathLst>
              <a:path w="1290320" h="266700">
                <a:moveTo>
                  <a:pt x="0" y="0"/>
                </a:moveTo>
                <a:lnTo>
                  <a:pt x="0" y="266700"/>
                </a:lnTo>
                <a:lnTo>
                  <a:pt x="1290065" y="266700"/>
                </a:lnTo>
                <a:lnTo>
                  <a:pt x="1290065" y="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2" name="object 44"/>
          <p:cNvSpPr/>
          <p:nvPr/>
        </p:nvSpPr>
        <p:spPr>
          <a:xfrm>
            <a:off x="1813672" y="1439189"/>
            <a:ext cx="858200" cy="122742"/>
          </a:xfrm>
          <a:custGeom>
            <a:avLst/>
            <a:gdLst/>
            <a:ahLst/>
            <a:cxnLst/>
            <a:rect l="l" t="t" r="r" b="b"/>
            <a:pathLst>
              <a:path w="1299210" h="276225">
                <a:moveTo>
                  <a:pt x="1299209" y="275843"/>
                </a:moveTo>
                <a:lnTo>
                  <a:pt x="1299209" y="0"/>
                </a:lnTo>
                <a:lnTo>
                  <a:pt x="0" y="0"/>
                </a:lnTo>
                <a:lnTo>
                  <a:pt x="0" y="275843"/>
                </a:lnTo>
                <a:lnTo>
                  <a:pt x="4571" y="275843"/>
                </a:lnTo>
                <a:lnTo>
                  <a:pt x="4571" y="9143"/>
                </a:lnTo>
                <a:lnTo>
                  <a:pt x="9905" y="4571"/>
                </a:lnTo>
                <a:lnTo>
                  <a:pt x="9905" y="9143"/>
                </a:lnTo>
                <a:lnTo>
                  <a:pt x="1289303" y="9143"/>
                </a:lnTo>
                <a:lnTo>
                  <a:pt x="1289303" y="4571"/>
                </a:lnTo>
                <a:lnTo>
                  <a:pt x="1294637" y="9143"/>
                </a:lnTo>
                <a:lnTo>
                  <a:pt x="1294637" y="275843"/>
                </a:lnTo>
                <a:lnTo>
                  <a:pt x="1299209" y="275843"/>
                </a:lnTo>
                <a:close/>
              </a:path>
              <a:path w="1299210" h="276225">
                <a:moveTo>
                  <a:pt x="9905" y="9143"/>
                </a:moveTo>
                <a:lnTo>
                  <a:pt x="9905" y="4571"/>
                </a:lnTo>
                <a:lnTo>
                  <a:pt x="4571" y="9143"/>
                </a:lnTo>
                <a:lnTo>
                  <a:pt x="9905" y="9143"/>
                </a:lnTo>
                <a:close/>
              </a:path>
              <a:path w="1299210" h="276225">
                <a:moveTo>
                  <a:pt x="9905" y="265938"/>
                </a:moveTo>
                <a:lnTo>
                  <a:pt x="9905" y="9143"/>
                </a:lnTo>
                <a:lnTo>
                  <a:pt x="4571" y="9143"/>
                </a:lnTo>
                <a:lnTo>
                  <a:pt x="4571" y="265938"/>
                </a:lnTo>
                <a:lnTo>
                  <a:pt x="9905" y="265938"/>
                </a:lnTo>
                <a:close/>
              </a:path>
              <a:path w="1299210" h="276225">
                <a:moveTo>
                  <a:pt x="1294637" y="265938"/>
                </a:moveTo>
                <a:lnTo>
                  <a:pt x="4571" y="265938"/>
                </a:lnTo>
                <a:lnTo>
                  <a:pt x="9905" y="271271"/>
                </a:lnTo>
                <a:lnTo>
                  <a:pt x="9905" y="275843"/>
                </a:lnTo>
                <a:lnTo>
                  <a:pt x="1289303" y="275843"/>
                </a:lnTo>
                <a:lnTo>
                  <a:pt x="1289303" y="271271"/>
                </a:lnTo>
                <a:lnTo>
                  <a:pt x="1294637" y="265938"/>
                </a:lnTo>
                <a:close/>
              </a:path>
              <a:path w="1299210" h="276225">
                <a:moveTo>
                  <a:pt x="9905" y="275843"/>
                </a:moveTo>
                <a:lnTo>
                  <a:pt x="9905" y="271271"/>
                </a:lnTo>
                <a:lnTo>
                  <a:pt x="4571" y="265938"/>
                </a:lnTo>
                <a:lnTo>
                  <a:pt x="4571" y="275843"/>
                </a:lnTo>
                <a:lnTo>
                  <a:pt x="9905" y="275843"/>
                </a:lnTo>
                <a:close/>
              </a:path>
              <a:path w="1299210" h="276225">
                <a:moveTo>
                  <a:pt x="1294637" y="9143"/>
                </a:moveTo>
                <a:lnTo>
                  <a:pt x="1289303" y="4571"/>
                </a:lnTo>
                <a:lnTo>
                  <a:pt x="1289303" y="9143"/>
                </a:lnTo>
                <a:lnTo>
                  <a:pt x="1294637" y="9143"/>
                </a:lnTo>
                <a:close/>
              </a:path>
              <a:path w="1299210" h="276225">
                <a:moveTo>
                  <a:pt x="1294637" y="265938"/>
                </a:moveTo>
                <a:lnTo>
                  <a:pt x="1294637" y="9143"/>
                </a:lnTo>
                <a:lnTo>
                  <a:pt x="1289303" y="9143"/>
                </a:lnTo>
                <a:lnTo>
                  <a:pt x="1289303" y="265938"/>
                </a:lnTo>
                <a:lnTo>
                  <a:pt x="1294637" y="265938"/>
                </a:lnTo>
                <a:close/>
              </a:path>
              <a:path w="1299210" h="276225">
                <a:moveTo>
                  <a:pt x="1294637" y="275843"/>
                </a:moveTo>
                <a:lnTo>
                  <a:pt x="1294637" y="265938"/>
                </a:lnTo>
                <a:lnTo>
                  <a:pt x="1289303" y="271271"/>
                </a:lnTo>
                <a:lnTo>
                  <a:pt x="1289303" y="275843"/>
                </a:lnTo>
                <a:lnTo>
                  <a:pt x="1294637" y="27584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3" name="object 45"/>
          <p:cNvSpPr/>
          <p:nvPr/>
        </p:nvSpPr>
        <p:spPr>
          <a:xfrm>
            <a:off x="925270" y="1439528"/>
            <a:ext cx="853167" cy="124152"/>
          </a:xfrm>
          <a:custGeom>
            <a:avLst/>
            <a:gdLst/>
            <a:ahLst/>
            <a:cxnLst/>
            <a:rect l="l" t="t" r="r" b="b"/>
            <a:pathLst>
              <a:path w="1291589" h="279400">
                <a:moveTo>
                  <a:pt x="1291590" y="266700"/>
                </a:moveTo>
                <a:lnTo>
                  <a:pt x="1289304" y="0"/>
                </a:lnTo>
                <a:lnTo>
                  <a:pt x="0" y="12192"/>
                </a:lnTo>
                <a:lnTo>
                  <a:pt x="2285" y="278892"/>
                </a:lnTo>
                <a:lnTo>
                  <a:pt x="1291590" y="26670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4" name="object 46"/>
          <p:cNvSpPr/>
          <p:nvPr/>
        </p:nvSpPr>
        <p:spPr>
          <a:xfrm>
            <a:off x="921747" y="1437157"/>
            <a:ext cx="860298" cy="128385"/>
          </a:xfrm>
          <a:custGeom>
            <a:avLst/>
            <a:gdLst/>
            <a:ahLst/>
            <a:cxnLst/>
            <a:rect l="l" t="t" r="r" b="b"/>
            <a:pathLst>
              <a:path w="1302385" h="288925">
                <a:moveTo>
                  <a:pt x="1302258" y="276606"/>
                </a:moveTo>
                <a:lnTo>
                  <a:pt x="1299210" y="0"/>
                </a:lnTo>
                <a:lnTo>
                  <a:pt x="0" y="12954"/>
                </a:lnTo>
                <a:lnTo>
                  <a:pt x="3047" y="288798"/>
                </a:lnTo>
                <a:lnTo>
                  <a:pt x="5334" y="288776"/>
                </a:lnTo>
                <a:lnTo>
                  <a:pt x="5334" y="22098"/>
                </a:lnTo>
                <a:lnTo>
                  <a:pt x="9906" y="17526"/>
                </a:lnTo>
                <a:lnTo>
                  <a:pt x="9944" y="22054"/>
                </a:lnTo>
                <a:lnTo>
                  <a:pt x="1290066" y="9949"/>
                </a:lnTo>
                <a:lnTo>
                  <a:pt x="1290066" y="5334"/>
                </a:lnTo>
                <a:lnTo>
                  <a:pt x="1294638" y="9906"/>
                </a:lnTo>
                <a:lnTo>
                  <a:pt x="1294638" y="266722"/>
                </a:lnTo>
                <a:lnTo>
                  <a:pt x="1296924" y="266700"/>
                </a:lnTo>
                <a:lnTo>
                  <a:pt x="1296924" y="276656"/>
                </a:lnTo>
                <a:lnTo>
                  <a:pt x="1302258" y="276606"/>
                </a:lnTo>
                <a:close/>
              </a:path>
              <a:path w="1302385" h="288925">
                <a:moveTo>
                  <a:pt x="12152" y="279608"/>
                </a:moveTo>
                <a:lnTo>
                  <a:pt x="9906" y="17526"/>
                </a:lnTo>
                <a:lnTo>
                  <a:pt x="5334" y="22098"/>
                </a:lnTo>
                <a:lnTo>
                  <a:pt x="9944" y="22054"/>
                </a:lnTo>
                <a:lnTo>
                  <a:pt x="9944" y="279630"/>
                </a:lnTo>
                <a:lnTo>
                  <a:pt x="12152" y="279608"/>
                </a:lnTo>
                <a:close/>
              </a:path>
              <a:path w="1302385" h="288925">
                <a:moveTo>
                  <a:pt x="9944" y="279630"/>
                </a:moveTo>
                <a:lnTo>
                  <a:pt x="9944" y="22054"/>
                </a:lnTo>
                <a:lnTo>
                  <a:pt x="5334" y="22098"/>
                </a:lnTo>
                <a:lnTo>
                  <a:pt x="5334" y="288776"/>
                </a:lnTo>
                <a:lnTo>
                  <a:pt x="7619" y="288755"/>
                </a:lnTo>
                <a:lnTo>
                  <a:pt x="7619" y="279654"/>
                </a:lnTo>
                <a:lnTo>
                  <a:pt x="9944" y="279630"/>
                </a:lnTo>
                <a:close/>
              </a:path>
              <a:path w="1302385" h="288925">
                <a:moveTo>
                  <a:pt x="12191" y="284226"/>
                </a:moveTo>
                <a:lnTo>
                  <a:pt x="12152" y="279608"/>
                </a:lnTo>
                <a:lnTo>
                  <a:pt x="7619" y="279654"/>
                </a:lnTo>
                <a:lnTo>
                  <a:pt x="12191" y="284226"/>
                </a:lnTo>
                <a:close/>
              </a:path>
              <a:path w="1302385" h="288925">
                <a:moveTo>
                  <a:pt x="12191" y="288712"/>
                </a:moveTo>
                <a:lnTo>
                  <a:pt x="12191" y="284226"/>
                </a:lnTo>
                <a:lnTo>
                  <a:pt x="7619" y="279654"/>
                </a:lnTo>
                <a:lnTo>
                  <a:pt x="7619" y="288755"/>
                </a:lnTo>
                <a:lnTo>
                  <a:pt x="12191" y="288712"/>
                </a:lnTo>
                <a:close/>
              </a:path>
              <a:path w="1302385" h="288925">
                <a:moveTo>
                  <a:pt x="1296924" y="276656"/>
                </a:moveTo>
                <a:lnTo>
                  <a:pt x="1296924" y="266700"/>
                </a:lnTo>
                <a:lnTo>
                  <a:pt x="1292352" y="272034"/>
                </a:lnTo>
                <a:lnTo>
                  <a:pt x="1292306" y="266746"/>
                </a:lnTo>
                <a:lnTo>
                  <a:pt x="12152" y="279608"/>
                </a:lnTo>
                <a:lnTo>
                  <a:pt x="12191" y="288712"/>
                </a:lnTo>
                <a:lnTo>
                  <a:pt x="1296924" y="276656"/>
                </a:lnTo>
                <a:close/>
              </a:path>
              <a:path w="1302385" h="288925">
                <a:moveTo>
                  <a:pt x="1294638" y="9906"/>
                </a:moveTo>
                <a:lnTo>
                  <a:pt x="1290066" y="5334"/>
                </a:lnTo>
                <a:lnTo>
                  <a:pt x="1290105" y="9948"/>
                </a:lnTo>
                <a:lnTo>
                  <a:pt x="1294638" y="9906"/>
                </a:lnTo>
                <a:close/>
              </a:path>
              <a:path w="1302385" h="288925">
                <a:moveTo>
                  <a:pt x="1290105" y="9948"/>
                </a:moveTo>
                <a:lnTo>
                  <a:pt x="1290066" y="5334"/>
                </a:lnTo>
                <a:lnTo>
                  <a:pt x="1290066" y="9949"/>
                </a:lnTo>
                <a:close/>
              </a:path>
              <a:path w="1302385" h="288925">
                <a:moveTo>
                  <a:pt x="1294638" y="266722"/>
                </a:moveTo>
                <a:lnTo>
                  <a:pt x="1294638" y="9906"/>
                </a:lnTo>
                <a:lnTo>
                  <a:pt x="1290105" y="9948"/>
                </a:lnTo>
                <a:lnTo>
                  <a:pt x="1292306" y="266746"/>
                </a:lnTo>
                <a:lnTo>
                  <a:pt x="1294638" y="266722"/>
                </a:lnTo>
                <a:close/>
              </a:path>
              <a:path w="1302385" h="288925">
                <a:moveTo>
                  <a:pt x="1296924" y="266700"/>
                </a:moveTo>
                <a:lnTo>
                  <a:pt x="1292306" y="266746"/>
                </a:lnTo>
                <a:lnTo>
                  <a:pt x="1292352" y="272034"/>
                </a:lnTo>
                <a:lnTo>
                  <a:pt x="1296924" y="2667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5" name="object 47"/>
          <p:cNvSpPr/>
          <p:nvPr/>
        </p:nvSpPr>
        <p:spPr>
          <a:xfrm>
            <a:off x="1690409" y="1417281"/>
            <a:ext cx="211824" cy="146725"/>
          </a:xfrm>
          <a:custGeom>
            <a:avLst/>
            <a:gdLst/>
            <a:ahLst/>
            <a:cxnLst/>
            <a:rect l="l" t="t" r="r" b="b"/>
            <a:pathLst>
              <a:path w="320675" h="330200">
                <a:moveTo>
                  <a:pt x="320632" y="183162"/>
                </a:moveTo>
                <a:lnTo>
                  <a:pt x="318293" y="140077"/>
                </a:lnTo>
                <a:lnTo>
                  <a:pt x="304715" y="97310"/>
                </a:lnTo>
                <a:lnTo>
                  <a:pt x="280539" y="59404"/>
                </a:lnTo>
                <a:lnTo>
                  <a:pt x="248976" y="30028"/>
                </a:lnTo>
                <a:lnTo>
                  <a:pt x="212037" y="9965"/>
                </a:lnTo>
                <a:lnTo>
                  <a:pt x="171732" y="0"/>
                </a:lnTo>
                <a:lnTo>
                  <a:pt x="130072" y="913"/>
                </a:lnTo>
                <a:lnTo>
                  <a:pt x="89069" y="13490"/>
                </a:lnTo>
                <a:lnTo>
                  <a:pt x="53435" y="36833"/>
                </a:lnTo>
                <a:lnTo>
                  <a:pt x="26246" y="68156"/>
                </a:lnTo>
                <a:lnTo>
                  <a:pt x="8202" y="105406"/>
                </a:lnTo>
                <a:lnTo>
                  <a:pt x="0" y="146529"/>
                </a:lnTo>
                <a:lnTo>
                  <a:pt x="2338" y="189473"/>
                </a:lnTo>
                <a:lnTo>
                  <a:pt x="15917" y="232184"/>
                </a:lnTo>
                <a:lnTo>
                  <a:pt x="40093" y="270146"/>
                </a:lnTo>
                <a:lnTo>
                  <a:pt x="71656" y="299663"/>
                </a:lnTo>
                <a:lnTo>
                  <a:pt x="108595" y="319909"/>
                </a:lnTo>
                <a:lnTo>
                  <a:pt x="148900" y="330058"/>
                </a:lnTo>
                <a:lnTo>
                  <a:pt x="190559" y="329286"/>
                </a:lnTo>
                <a:lnTo>
                  <a:pt x="231563" y="316766"/>
                </a:lnTo>
                <a:lnTo>
                  <a:pt x="267197" y="293366"/>
                </a:lnTo>
                <a:lnTo>
                  <a:pt x="294385" y="261902"/>
                </a:lnTo>
                <a:lnTo>
                  <a:pt x="312430" y="224468"/>
                </a:lnTo>
                <a:lnTo>
                  <a:pt x="320632" y="183162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6" name="object 48"/>
          <p:cNvSpPr/>
          <p:nvPr/>
        </p:nvSpPr>
        <p:spPr>
          <a:xfrm>
            <a:off x="1687041" y="1415036"/>
            <a:ext cx="218535" cy="151522"/>
          </a:xfrm>
          <a:custGeom>
            <a:avLst/>
            <a:gdLst/>
            <a:ahLst/>
            <a:cxnLst/>
            <a:rect l="l" t="t" r="r" b="b"/>
            <a:pathLst>
              <a:path w="330835" h="340995">
                <a:moveTo>
                  <a:pt x="330698" y="188579"/>
                </a:moveTo>
                <a:lnTo>
                  <a:pt x="320246" y="117353"/>
                </a:lnTo>
                <a:lnTo>
                  <a:pt x="283470" y="55382"/>
                </a:lnTo>
                <a:lnTo>
                  <a:pt x="225174" y="12865"/>
                </a:lnTo>
                <a:lnTo>
                  <a:pt x="150159" y="0"/>
                </a:lnTo>
                <a:lnTo>
                  <a:pt x="107882" y="7873"/>
                </a:lnTo>
                <a:lnTo>
                  <a:pt x="100262" y="10921"/>
                </a:lnTo>
                <a:lnTo>
                  <a:pt x="91880" y="13969"/>
                </a:lnTo>
                <a:lnTo>
                  <a:pt x="85022" y="17779"/>
                </a:lnTo>
                <a:lnTo>
                  <a:pt x="77402" y="22351"/>
                </a:lnTo>
                <a:lnTo>
                  <a:pt x="70544" y="26161"/>
                </a:lnTo>
                <a:lnTo>
                  <a:pt x="40279" y="53615"/>
                </a:lnTo>
                <a:lnTo>
                  <a:pt x="18818" y="84366"/>
                </a:lnTo>
                <a:lnTo>
                  <a:pt x="5583" y="117357"/>
                </a:lnTo>
                <a:lnTo>
                  <a:pt x="0" y="151530"/>
                </a:lnTo>
                <a:lnTo>
                  <a:pt x="1490" y="185827"/>
                </a:lnTo>
                <a:lnTo>
                  <a:pt x="9281" y="218360"/>
                </a:lnTo>
                <a:lnTo>
                  <a:pt x="9281" y="159643"/>
                </a:lnTo>
                <a:lnTo>
                  <a:pt x="13385" y="125440"/>
                </a:lnTo>
                <a:lnTo>
                  <a:pt x="46059" y="61685"/>
                </a:lnTo>
                <a:lnTo>
                  <a:pt x="75878" y="34543"/>
                </a:lnTo>
                <a:lnTo>
                  <a:pt x="110930" y="17017"/>
                </a:lnTo>
                <a:lnTo>
                  <a:pt x="151682" y="9420"/>
                </a:lnTo>
                <a:lnTo>
                  <a:pt x="189456" y="11646"/>
                </a:lnTo>
                <a:lnTo>
                  <a:pt x="253494" y="40313"/>
                </a:lnTo>
                <a:lnTo>
                  <a:pt x="298620" y="92740"/>
                </a:lnTo>
                <a:lnTo>
                  <a:pt x="320212" y="158590"/>
                </a:lnTo>
                <a:lnTo>
                  <a:pt x="320754" y="193323"/>
                </a:lnTo>
                <a:lnTo>
                  <a:pt x="320754" y="233466"/>
                </a:lnTo>
                <a:lnTo>
                  <a:pt x="324552" y="224476"/>
                </a:lnTo>
                <a:lnTo>
                  <a:pt x="330698" y="188579"/>
                </a:lnTo>
                <a:close/>
              </a:path>
              <a:path w="330835" h="340995">
                <a:moveTo>
                  <a:pt x="320754" y="233466"/>
                </a:moveTo>
                <a:lnTo>
                  <a:pt x="320754" y="193323"/>
                </a:lnTo>
                <a:lnTo>
                  <a:pt x="313699" y="227540"/>
                </a:lnTo>
                <a:lnTo>
                  <a:pt x="298474" y="259952"/>
                </a:lnTo>
                <a:lnTo>
                  <a:pt x="241232" y="314197"/>
                </a:lnTo>
                <a:lnTo>
                  <a:pt x="187480" y="329986"/>
                </a:lnTo>
                <a:lnTo>
                  <a:pt x="150159" y="329890"/>
                </a:lnTo>
                <a:lnTo>
                  <a:pt x="86070" y="305700"/>
                </a:lnTo>
                <a:lnTo>
                  <a:pt x="38394" y="257089"/>
                </a:lnTo>
                <a:lnTo>
                  <a:pt x="12498" y="193788"/>
                </a:lnTo>
                <a:lnTo>
                  <a:pt x="9281" y="159643"/>
                </a:lnTo>
                <a:lnTo>
                  <a:pt x="9281" y="218360"/>
                </a:lnTo>
                <a:lnTo>
                  <a:pt x="42648" y="278891"/>
                </a:lnTo>
                <a:lnTo>
                  <a:pt x="94895" y="322170"/>
                </a:lnTo>
                <a:lnTo>
                  <a:pt x="161611" y="340568"/>
                </a:lnTo>
                <a:lnTo>
                  <a:pt x="198953" y="337794"/>
                </a:lnTo>
                <a:lnTo>
                  <a:pt x="238184" y="325627"/>
                </a:lnTo>
                <a:lnTo>
                  <a:pt x="286516" y="290465"/>
                </a:lnTo>
                <a:lnTo>
                  <a:pt x="310025" y="258863"/>
                </a:lnTo>
                <a:lnTo>
                  <a:pt x="320754" y="23346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7" name="object 49"/>
          <p:cNvSpPr/>
          <p:nvPr/>
        </p:nvSpPr>
        <p:spPr>
          <a:xfrm>
            <a:off x="1768066" y="1477834"/>
            <a:ext cx="51677" cy="3386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8" name="object 50"/>
          <p:cNvSpPr/>
          <p:nvPr/>
        </p:nvSpPr>
        <p:spPr>
          <a:xfrm>
            <a:off x="614204" y="1053189"/>
            <a:ext cx="3181635" cy="2945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9" name="object 51"/>
          <p:cNvSpPr/>
          <p:nvPr/>
        </p:nvSpPr>
        <p:spPr>
          <a:xfrm>
            <a:off x="610681" y="1051157"/>
            <a:ext cx="3188262" cy="33577"/>
          </a:xfrm>
          <a:custGeom>
            <a:avLst/>
            <a:gdLst/>
            <a:ahLst/>
            <a:cxnLst/>
            <a:rect l="l" t="t" r="r" b="b"/>
            <a:pathLst>
              <a:path w="4826635" h="75564">
                <a:moveTo>
                  <a:pt x="4826508" y="75437"/>
                </a:moveTo>
                <a:lnTo>
                  <a:pt x="4826508" y="0"/>
                </a:lnTo>
                <a:lnTo>
                  <a:pt x="0" y="0"/>
                </a:lnTo>
                <a:lnTo>
                  <a:pt x="0" y="75437"/>
                </a:lnTo>
                <a:lnTo>
                  <a:pt x="5333" y="75437"/>
                </a:lnTo>
                <a:lnTo>
                  <a:pt x="5334" y="9906"/>
                </a:lnTo>
                <a:lnTo>
                  <a:pt x="9906" y="4572"/>
                </a:lnTo>
                <a:lnTo>
                  <a:pt x="9906" y="9906"/>
                </a:lnTo>
                <a:lnTo>
                  <a:pt x="4816602" y="9906"/>
                </a:lnTo>
                <a:lnTo>
                  <a:pt x="4816602" y="4572"/>
                </a:lnTo>
                <a:lnTo>
                  <a:pt x="4821936" y="9906"/>
                </a:lnTo>
                <a:lnTo>
                  <a:pt x="4821936" y="75437"/>
                </a:lnTo>
                <a:lnTo>
                  <a:pt x="4826508" y="75437"/>
                </a:lnTo>
                <a:close/>
              </a:path>
              <a:path w="4826635" h="75564">
                <a:moveTo>
                  <a:pt x="9906" y="9906"/>
                </a:moveTo>
                <a:lnTo>
                  <a:pt x="9906" y="4572"/>
                </a:lnTo>
                <a:lnTo>
                  <a:pt x="5334" y="9906"/>
                </a:lnTo>
                <a:lnTo>
                  <a:pt x="9906" y="9906"/>
                </a:lnTo>
                <a:close/>
              </a:path>
              <a:path w="4826635" h="75564">
                <a:moveTo>
                  <a:pt x="9906" y="66294"/>
                </a:moveTo>
                <a:lnTo>
                  <a:pt x="9906" y="9906"/>
                </a:lnTo>
                <a:lnTo>
                  <a:pt x="5334" y="9906"/>
                </a:lnTo>
                <a:lnTo>
                  <a:pt x="5334" y="66294"/>
                </a:lnTo>
                <a:lnTo>
                  <a:pt x="9906" y="66294"/>
                </a:lnTo>
                <a:close/>
              </a:path>
              <a:path w="4826635" h="75564">
                <a:moveTo>
                  <a:pt x="4821936" y="66294"/>
                </a:moveTo>
                <a:lnTo>
                  <a:pt x="5334" y="66294"/>
                </a:lnTo>
                <a:lnTo>
                  <a:pt x="9906" y="70866"/>
                </a:lnTo>
                <a:lnTo>
                  <a:pt x="9905" y="75437"/>
                </a:lnTo>
                <a:lnTo>
                  <a:pt x="4816602" y="75437"/>
                </a:lnTo>
                <a:lnTo>
                  <a:pt x="4816602" y="70866"/>
                </a:lnTo>
                <a:lnTo>
                  <a:pt x="4821936" y="66294"/>
                </a:lnTo>
                <a:close/>
              </a:path>
              <a:path w="4826635" h="75564">
                <a:moveTo>
                  <a:pt x="9905" y="75437"/>
                </a:moveTo>
                <a:lnTo>
                  <a:pt x="9906" y="70866"/>
                </a:lnTo>
                <a:lnTo>
                  <a:pt x="5334" y="66294"/>
                </a:lnTo>
                <a:lnTo>
                  <a:pt x="5333" y="75437"/>
                </a:lnTo>
                <a:lnTo>
                  <a:pt x="9905" y="75437"/>
                </a:lnTo>
                <a:close/>
              </a:path>
              <a:path w="4826635" h="75564">
                <a:moveTo>
                  <a:pt x="4821936" y="9906"/>
                </a:moveTo>
                <a:lnTo>
                  <a:pt x="4816602" y="4572"/>
                </a:lnTo>
                <a:lnTo>
                  <a:pt x="4816602" y="9906"/>
                </a:lnTo>
                <a:lnTo>
                  <a:pt x="4821936" y="9906"/>
                </a:lnTo>
                <a:close/>
              </a:path>
              <a:path w="4826635" h="75564">
                <a:moveTo>
                  <a:pt x="4821936" y="66294"/>
                </a:moveTo>
                <a:lnTo>
                  <a:pt x="4821936" y="9906"/>
                </a:lnTo>
                <a:lnTo>
                  <a:pt x="4816602" y="9906"/>
                </a:lnTo>
                <a:lnTo>
                  <a:pt x="4816602" y="66294"/>
                </a:lnTo>
                <a:lnTo>
                  <a:pt x="4821936" y="66294"/>
                </a:lnTo>
                <a:close/>
              </a:path>
              <a:path w="4826635" h="75564">
                <a:moveTo>
                  <a:pt x="4821936" y="75437"/>
                </a:moveTo>
                <a:lnTo>
                  <a:pt x="4821936" y="66294"/>
                </a:lnTo>
                <a:lnTo>
                  <a:pt x="4816602" y="70866"/>
                </a:lnTo>
                <a:lnTo>
                  <a:pt x="4816602" y="75437"/>
                </a:lnTo>
                <a:lnTo>
                  <a:pt x="4821936" y="754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0" name="object 52"/>
          <p:cNvSpPr/>
          <p:nvPr/>
        </p:nvSpPr>
        <p:spPr>
          <a:xfrm>
            <a:off x="614205" y="1945390"/>
            <a:ext cx="3181634" cy="2945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1" name="object 53"/>
          <p:cNvSpPr/>
          <p:nvPr/>
        </p:nvSpPr>
        <p:spPr>
          <a:xfrm>
            <a:off x="610681" y="1943359"/>
            <a:ext cx="3188262" cy="33577"/>
          </a:xfrm>
          <a:custGeom>
            <a:avLst/>
            <a:gdLst/>
            <a:ahLst/>
            <a:cxnLst/>
            <a:rect l="l" t="t" r="r" b="b"/>
            <a:pathLst>
              <a:path w="4826635" h="75564">
                <a:moveTo>
                  <a:pt x="4826508" y="75437"/>
                </a:moveTo>
                <a:lnTo>
                  <a:pt x="4826508" y="0"/>
                </a:lnTo>
                <a:lnTo>
                  <a:pt x="0" y="0"/>
                </a:lnTo>
                <a:lnTo>
                  <a:pt x="0" y="75437"/>
                </a:lnTo>
                <a:lnTo>
                  <a:pt x="5333" y="75437"/>
                </a:lnTo>
                <a:lnTo>
                  <a:pt x="5334" y="9144"/>
                </a:lnTo>
                <a:lnTo>
                  <a:pt x="9906" y="4572"/>
                </a:lnTo>
                <a:lnTo>
                  <a:pt x="9906" y="9144"/>
                </a:lnTo>
                <a:lnTo>
                  <a:pt x="4816602" y="9144"/>
                </a:lnTo>
                <a:lnTo>
                  <a:pt x="4816602" y="4572"/>
                </a:lnTo>
                <a:lnTo>
                  <a:pt x="4821935" y="9144"/>
                </a:lnTo>
                <a:lnTo>
                  <a:pt x="4821935" y="75437"/>
                </a:lnTo>
                <a:lnTo>
                  <a:pt x="4826508" y="75437"/>
                </a:lnTo>
                <a:close/>
              </a:path>
              <a:path w="4826635" h="75564">
                <a:moveTo>
                  <a:pt x="9906" y="9144"/>
                </a:moveTo>
                <a:lnTo>
                  <a:pt x="9906" y="4572"/>
                </a:lnTo>
                <a:lnTo>
                  <a:pt x="5334" y="9144"/>
                </a:lnTo>
                <a:lnTo>
                  <a:pt x="9906" y="9144"/>
                </a:lnTo>
                <a:close/>
              </a:path>
              <a:path w="4826635" h="75564">
                <a:moveTo>
                  <a:pt x="9906" y="65532"/>
                </a:moveTo>
                <a:lnTo>
                  <a:pt x="9906" y="9144"/>
                </a:lnTo>
                <a:lnTo>
                  <a:pt x="5334" y="9144"/>
                </a:lnTo>
                <a:lnTo>
                  <a:pt x="5334" y="65532"/>
                </a:lnTo>
                <a:lnTo>
                  <a:pt x="9906" y="65532"/>
                </a:lnTo>
                <a:close/>
              </a:path>
              <a:path w="4826635" h="75564">
                <a:moveTo>
                  <a:pt x="4821935" y="65532"/>
                </a:moveTo>
                <a:lnTo>
                  <a:pt x="5334" y="65532"/>
                </a:lnTo>
                <a:lnTo>
                  <a:pt x="9906" y="70865"/>
                </a:lnTo>
                <a:lnTo>
                  <a:pt x="9905" y="75437"/>
                </a:lnTo>
                <a:lnTo>
                  <a:pt x="4816602" y="75437"/>
                </a:lnTo>
                <a:lnTo>
                  <a:pt x="4816602" y="70865"/>
                </a:lnTo>
                <a:lnTo>
                  <a:pt x="4821935" y="65532"/>
                </a:lnTo>
                <a:close/>
              </a:path>
              <a:path w="4826635" h="75564">
                <a:moveTo>
                  <a:pt x="9905" y="75437"/>
                </a:moveTo>
                <a:lnTo>
                  <a:pt x="9906" y="70865"/>
                </a:lnTo>
                <a:lnTo>
                  <a:pt x="5334" y="65532"/>
                </a:lnTo>
                <a:lnTo>
                  <a:pt x="5333" y="75437"/>
                </a:lnTo>
                <a:lnTo>
                  <a:pt x="9905" y="75437"/>
                </a:lnTo>
                <a:close/>
              </a:path>
              <a:path w="4826635" h="75564">
                <a:moveTo>
                  <a:pt x="4821935" y="9144"/>
                </a:moveTo>
                <a:lnTo>
                  <a:pt x="4816602" y="4572"/>
                </a:lnTo>
                <a:lnTo>
                  <a:pt x="4816602" y="9144"/>
                </a:lnTo>
                <a:lnTo>
                  <a:pt x="4821935" y="9144"/>
                </a:lnTo>
                <a:close/>
              </a:path>
              <a:path w="4826635" h="75564">
                <a:moveTo>
                  <a:pt x="4821935" y="65532"/>
                </a:moveTo>
                <a:lnTo>
                  <a:pt x="4821935" y="9144"/>
                </a:lnTo>
                <a:lnTo>
                  <a:pt x="4816602" y="9144"/>
                </a:lnTo>
                <a:lnTo>
                  <a:pt x="4816602" y="65532"/>
                </a:lnTo>
                <a:lnTo>
                  <a:pt x="4821935" y="65532"/>
                </a:lnTo>
                <a:close/>
              </a:path>
              <a:path w="4826635" h="75564">
                <a:moveTo>
                  <a:pt x="4821935" y="75437"/>
                </a:moveTo>
                <a:lnTo>
                  <a:pt x="4821935" y="65532"/>
                </a:lnTo>
                <a:lnTo>
                  <a:pt x="4816602" y="70865"/>
                </a:lnTo>
                <a:lnTo>
                  <a:pt x="4816602" y="75437"/>
                </a:lnTo>
                <a:lnTo>
                  <a:pt x="4821935" y="754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2" name="object 54"/>
          <p:cNvSpPr/>
          <p:nvPr/>
        </p:nvSpPr>
        <p:spPr>
          <a:xfrm>
            <a:off x="852789" y="1462551"/>
            <a:ext cx="49076" cy="21445"/>
          </a:xfrm>
          <a:custGeom>
            <a:avLst/>
            <a:gdLst/>
            <a:ahLst/>
            <a:cxnLst/>
            <a:rect l="l" t="t" r="r" b="b"/>
            <a:pathLst>
              <a:path w="74294" h="48260">
                <a:moveTo>
                  <a:pt x="73913" y="7619"/>
                </a:moveTo>
                <a:lnTo>
                  <a:pt x="69341" y="0"/>
                </a:lnTo>
                <a:lnTo>
                  <a:pt x="0" y="39623"/>
                </a:lnTo>
                <a:lnTo>
                  <a:pt x="4571" y="48005"/>
                </a:lnTo>
                <a:lnTo>
                  <a:pt x="73913" y="76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3" name="object 55"/>
          <p:cNvSpPr/>
          <p:nvPr/>
        </p:nvSpPr>
        <p:spPr>
          <a:xfrm>
            <a:off x="822525" y="1477788"/>
            <a:ext cx="99830" cy="119637"/>
          </a:xfrm>
          <a:custGeom>
            <a:avLst/>
            <a:gdLst/>
            <a:ahLst/>
            <a:cxnLst/>
            <a:rect l="l" t="t" r="r" b="b"/>
            <a:pathLst>
              <a:path w="151130" h="269239">
                <a:moveTo>
                  <a:pt x="150971" y="158495"/>
                </a:moveTo>
                <a:lnTo>
                  <a:pt x="149328" y="113061"/>
                </a:lnTo>
                <a:lnTo>
                  <a:pt x="144684" y="84772"/>
                </a:lnTo>
                <a:lnTo>
                  <a:pt x="132326" y="60769"/>
                </a:lnTo>
                <a:lnTo>
                  <a:pt x="107537" y="28193"/>
                </a:lnTo>
                <a:lnTo>
                  <a:pt x="100322" y="17359"/>
                </a:lnTo>
                <a:lnTo>
                  <a:pt x="85248" y="8953"/>
                </a:lnTo>
                <a:lnTo>
                  <a:pt x="67032" y="3119"/>
                </a:lnTo>
                <a:lnTo>
                  <a:pt x="50387" y="0"/>
                </a:lnTo>
                <a:lnTo>
                  <a:pt x="40362" y="2190"/>
                </a:lnTo>
                <a:lnTo>
                  <a:pt x="22312" y="7715"/>
                </a:lnTo>
                <a:lnTo>
                  <a:pt x="12287" y="9905"/>
                </a:lnTo>
                <a:lnTo>
                  <a:pt x="3750" y="14835"/>
                </a:lnTo>
                <a:lnTo>
                  <a:pt x="0" y="16763"/>
                </a:lnTo>
                <a:lnTo>
                  <a:pt x="1250" y="16978"/>
                </a:lnTo>
                <a:lnTo>
                  <a:pt x="7715" y="16763"/>
                </a:lnTo>
                <a:lnTo>
                  <a:pt x="7715" y="266850"/>
                </a:lnTo>
                <a:lnTo>
                  <a:pt x="19823" y="258365"/>
                </a:lnTo>
                <a:lnTo>
                  <a:pt x="35623" y="248030"/>
                </a:lnTo>
                <a:lnTo>
                  <a:pt x="52137" y="239410"/>
                </a:lnTo>
                <a:lnTo>
                  <a:pt x="69437" y="233933"/>
                </a:lnTo>
                <a:lnTo>
                  <a:pt x="88499" y="212931"/>
                </a:lnTo>
                <a:lnTo>
                  <a:pt x="110490" y="196786"/>
                </a:lnTo>
                <a:lnTo>
                  <a:pt x="132337" y="180355"/>
                </a:lnTo>
                <a:lnTo>
                  <a:pt x="150971" y="158495"/>
                </a:lnTo>
                <a:close/>
              </a:path>
              <a:path w="151130" h="269239">
                <a:moveTo>
                  <a:pt x="7715" y="266850"/>
                </a:moveTo>
                <a:lnTo>
                  <a:pt x="7715" y="16763"/>
                </a:lnTo>
                <a:lnTo>
                  <a:pt x="4033" y="67354"/>
                </a:lnTo>
                <a:lnTo>
                  <a:pt x="2033" y="117725"/>
                </a:lnTo>
                <a:lnTo>
                  <a:pt x="1570" y="168024"/>
                </a:lnTo>
                <a:lnTo>
                  <a:pt x="2497" y="218395"/>
                </a:lnTo>
                <a:lnTo>
                  <a:pt x="4667" y="268985"/>
                </a:lnTo>
                <a:lnTo>
                  <a:pt x="7715" y="26685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4" name="object 56"/>
          <p:cNvSpPr/>
          <p:nvPr/>
        </p:nvSpPr>
        <p:spPr>
          <a:xfrm>
            <a:off x="836682" y="1551603"/>
            <a:ext cx="93957" cy="50507"/>
          </a:xfrm>
          <a:custGeom>
            <a:avLst/>
            <a:gdLst/>
            <a:ahLst/>
            <a:cxnLst/>
            <a:rect l="l" t="t" r="r" b="b"/>
            <a:pathLst>
              <a:path w="142240" h="113664">
                <a:moveTo>
                  <a:pt x="141732" y="7619"/>
                </a:moveTo>
                <a:lnTo>
                  <a:pt x="136398" y="0"/>
                </a:lnTo>
                <a:lnTo>
                  <a:pt x="0" y="106679"/>
                </a:lnTo>
                <a:lnTo>
                  <a:pt x="5334" y="113537"/>
                </a:lnTo>
                <a:lnTo>
                  <a:pt x="141732" y="76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5" name="object 57"/>
          <p:cNvSpPr/>
          <p:nvPr/>
        </p:nvSpPr>
        <p:spPr>
          <a:xfrm>
            <a:off x="704302" y="993596"/>
            <a:ext cx="143453" cy="104524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6" name="object 58"/>
          <p:cNvSpPr/>
          <p:nvPr/>
        </p:nvSpPr>
        <p:spPr>
          <a:xfrm>
            <a:off x="700779" y="991564"/>
            <a:ext cx="150583" cy="1049366"/>
          </a:xfrm>
          <a:custGeom>
            <a:avLst/>
            <a:gdLst/>
            <a:ahLst/>
            <a:cxnLst/>
            <a:rect l="l" t="t" r="r" b="b"/>
            <a:pathLst>
              <a:path w="227965" h="2361565">
                <a:moveTo>
                  <a:pt x="227838" y="2361438"/>
                </a:moveTo>
                <a:lnTo>
                  <a:pt x="227837" y="0"/>
                </a:lnTo>
                <a:lnTo>
                  <a:pt x="0" y="0"/>
                </a:lnTo>
                <a:lnTo>
                  <a:pt x="0" y="2361438"/>
                </a:lnTo>
                <a:lnTo>
                  <a:pt x="5334" y="2361438"/>
                </a:lnTo>
                <a:lnTo>
                  <a:pt x="5334" y="9143"/>
                </a:lnTo>
                <a:lnTo>
                  <a:pt x="9906" y="4571"/>
                </a:lnTo>
                <a:lnTo>
                  <a:pt x="9906" y="9143"/>
                </a:lnTo>
                <a:lnTo>
                  <a:pt x="217931" y="9143"/>
                </a:lnTo>
                <a:lnTo>
                  <a:pt x="217931" y="4571"/>
                </a:lnTo>
                <a:lnTo>
                  <a:pt x="222503" y="9143"/>
                </a:lnTo>
                <a:lnTo>
                  <a:pt x="222504" y="2361438"/>
                </a:lnTo>
                <a:lnTo>
                  <a:pt x="227838" y="2361438"/>
                </a:lnTo>
                <a:close/>
              </a:path>
              <a:path w="227965" h="2361565">
                <a:moveTo>
                  <a:pt x="9906" y="9143"/>
                </a:moveTo>
                <a:lnTo>
                  <a:pt x="9906" y="4571"/>
                </a:lnTo>
                <a:lnTo>
                  <a:pt x="5334" y="9143"/>
                </a:lnTo>
                <a:lnTo>
                  <a:pt x="9906" y="9143"/>
                </a:lnTo>
                <a:close/>
              </a:path>
              <a:path w="227965" h="2361565">
                <a:moveTo>
                  <a:pt x="9906" y="2351531"/>
                </a:moveTo>
                <a:lnTo>
                  <a:pt x="9906" y="9143"/>
                </a:lnTo>
                <a:lnTo>
                  <a:pt x="5334" y="9143"/>
                </a:lnTo>
                <a:lnTo>
                  <a:pt x="5334" y="2351531"/>
                </a:lnTo>
                <a:lnTo>
                  <a:pt x="9906" y="2351531"/>
                </a:lnTo>
                <a:close/>
              </a:path>
              <a:path w="227965" h="2361565">
                <a:moveTo>
                  <a:pt x="222504" y="2351531"/>
                </a:moveTo>
                <a:lnTo>
                  <a:pt x="5334" y="2351531"/>
                </a:lnTo>
                <a:lnTo>
                  <a:pt x="9906" y="2356866"/>
                </a:lnTo>
                <a:lnTo>
                  <a:pt x="9906" y="2361438"/>
                </a:lnTo>
                <a:lnTo>
                  <a:pt x="217932" y="2361438"/>
                </a:lnTo>
                <a:lnTo>
                  <a:pt x="217932" y="2356866"/>
                </a:lnTo>
                <a:lnTo>
                  <a:pt x="222504" y="2351531"/>
                </a:lnTo>
                <a:close/>
              </a:path>
              <a:path w="227965" h="2361565">
                <a:moveTo>
                  <a:pt x="9906" y="2361438"/>
                </a:moveTo>
                <a:lnTo>
                  <a:pt x="9906" y="2356866"/>
                </a:lnTo>
                <a:lnTo>
                  <a:pt x="5334" y="2351531"/>
                </a:lnTo>
                <a:lnTo>
                  <a:pt x="5334" y="2361438"/>
                </a:lnTo>
                <a:lnTo>
                  <a:pt x="9906" y="2361438"/>
                </a:lnTo>
                <a:close/>
              </a:path>
              <a:path w="227965" h="2361565">
                <a:moveTo>
                  <a:pt x="222503" y="9143"/>
                </a:moveTo>
                <a:lnTo>
                  <a:pt x="217931" y="4571"/>
                </a:lnTo>
                <a:lnTo>
                  <a:pt x="217931" y="9143"/>
                </a:lnTo>
                <a:lnTo>
                  <a:pt x="222503" y="9143"/>
                </a:lnTo>
                <a:close/>
              </a:path>
              <a:path w="227965" h="2361565">
                <a:moveTo>
                  <a:pt x="222504" y="2351531"/>
                </a:moveTo>
                <a:lnTo>
                  <a:pt x="222503" y="9143"/>
                </a:lnTo>
                <a:lnTo>
                  <a:pt x="217931" y="9143"/>
                </a:lnTo>
                <a:lnTo>
                  <a:pt x="217932" y="2351531"/>
                </a:lnTo>
                <a:lnTo>
                  <a:pt x="222504" y="2351531"/>
                </a:lnTo>
                <a:close/>
              </a:path>
              <a:path w="227965" h="2361565">
                <a:moveTo>
                  <a:pt x="222504" y="2361438"/>
                </a:moveTo>
                <a:lnTo>
                  <a:pt x="222504" y="2351531"/>
                </a:lnTo>
                <a:lnTo>
                  <a:pt x="217932" y="2356866"/>
                </a:lnTo>
                <a:lnTo>
                  <a:pt x="217932" y="2361438"/>
                </a:lnTo>
                <a:lnTo>
                  <a:pt x="222504" y="23614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7" name="object 59"/>
          <p:cNvSpPr/>
          <p:nvPr/>
        </p:nvSpPr>
        <p:spPr>
          <a:xfrm>
            <a:off x="884500" y="1428883"/>
            <a:ext cx="158133" cy="121048"/>
          </a:xfrm>
          <a:custGeom>
            <a:avLst/>
            <a:gdLst/>
            <a:ahLst/>
            <a:cxnLst/>
            <a:rect l="l" t="t" r="r" b="b"/>
            <a:pathLst>
              <a:path w="239394" h="272414">
                <a:moveTo>
                  <a:pt x="238827" y="120026"/>
                </a:moveTo>
                <a:lnTo>
                  <a:pt x="231374" y="82236"/>
                </a:lnTo>
                <a:lnTo>
                  <a:pt x="212443" y="44874"/>
                </a:lnTo>
                <a:lnTo>
                  <a:pt x="166306" y="11382"/>
                </a:lnTo>
                <a:lnTo>
                  <a:pt x="128778" y="1857"/>
                </a:lnTo>
                <a:lnTo>
                  <a:pt x="112442" y="0"/>
                </a:lnTo>
                <a:lnTo>
                  <a:pt x="95821" y="714"/>
                </a:lnTo>
                <a:lnTo>
                  <a:pt x="49875" y="10334"/>
                </a:lnTo>
                <a:lnTo>
                  <a:pt x="16763" y="30051"/>
                </a:lnTo>
                <a:lnTo>
                  <a:pt x="0" y="72723"/>
                </a:lnTo>
                <a:lnTo>
                  <a:pt x="61722" y="266271"/>
                </a:lnTo>
                <a:lnTo>
                  <a:pt x="73306" y="267628"/>
                </a:lnTo>
                <a:lnTo>
                  <a:pt x="88677" y="270271"/>
                </a:lnTo>
                <a:lnTo>
                  <a:pt x="106191" y="272057"/>
                </a:lnTo>
                <a:lnTo>
                  <a:pt x="124206" y="270843"/>
                </a:lnTo>
                <a:lnTo>
                  <a:pt x="143720" y="264997"/>
                </a:lnTo>
                <a:lnTo>
                  <a:pt x="184749" y="244161"/>
                </a:lnTo>
                <a:lnTo>
                  <a:pt x="220598" y="208549"/>
                </a:lnTo>
                <a:lnTo>
                  <a:pt x="235374" y="160817"/>
                </a:lnTo>
                <a:lnTo>
                  <a:pt x="238029" y="140636"/>
                </a:lnTo>
                <a:lnTo>
                  <a:pt x="238827" y="120026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8" name="object 60"/>
          <p:cNvSpPr/>
          <p:nvPr/>
        </p:nvSpPr>
        <p:spPr>
          <a:xfrm>
            <a:off x="881480" y="1426939"/>
            <a:ext cx="163586" cy="124998"/>
          </a:xfrm>
          <a:custGeom>
            <a:avLst/>
            <a:gdLst/>
            <a:ahLst/>
            <a:cxnLst/>
            <a:rect l="l" t="t" r="r" b="b"/>
            <a:pathLst>
              <a:path w="247650" h="281304">
                <a:moveTo>
                  <a:pt x="247650" y="135010"/>
                </a:moveTo>
                <a:lnTo>
                  <a:pt x="247650" y="113674"/>
                </a:lnTo>
                <a:lnTo>
                  <a:pt x="246126" y="103768"/>
                </a:lnTo>
                <a:lnTo>
                  <a:pt x="221632" y="46808"/>
                </a:lnTo>
                <a:lnTo>
                  <a:pt x="172974" y="11566"/>
                </a:lnTo>
                <a:lnTo>
                  <a:pt x="162306" y="8518"/>
                </a:lnTo>
                <a:lnTo>
                  <a:pt x="152400" y="5470"/>
                </a:lnTo>
                <a:lnTo>
                  <a:pt x="122955" y="0"/>
                </a:lnTo>
                <a:lnTo>
                  <a:pt x="91306" y="1284"/>
                </a:lnTo>
                <a:lnTo>
                  <a:pt x="60295" y="8090"/>
                </a:lnTo>
                <a:lnTo>
                  <a:pt x="21336" y="26806"/>
                </a:lnTo>
                <a:lnTo>
                  <a:pt x="3166" y="64490"/>
                </a:lnTo>
                <a:lnTo>
                  <a:pt x="0" y="74050"/>
                </a:lnTo>
                <a:lnTo>
                  <a:pt x="0" y="75574"/>
                </a:lnTo>
                <a:lnTo>
                  <a:pt x="9144" y="78622"/>
                </a:lnTo>
                <a:lnTo>
                  <a:pt x="9144" y="77098"/>
                </a:lnTo>
                <a:lnTo>
                  <a:pt x="12030" y="67996"/>
                </a:lnTo>
                <a:lnTo>
                  <a:pt x="14635" y="58786"/>
                </a:lnTo>
                <a:lnTo>
                  <a:pt x="17732" y="49778"/>
                </a:lnTo>
                <a:lnTo>
                  <a:pt x="22097" y="41284"/>
                </a:lnTo>
                <a:lnTo>
                  <a:pt x="24383" y="38426"/>
                </a:lnTo>
                <a:lnTo>
                  <a:pt x="24383" y="37474"/>
                </a:lnTo>
                <a:lnTo>
                  <a:pt x="67595" y="15981"/>
                </a:lnTo>
                <a:lnTo>
                  <a:pt x="98302" y="10037"/>
                </a:lnTo>
                <a:lnTo>
                  <a:pt x="129388" y="10191"/>
                </a:lnTo>
                <a:lnTo>
                  <a:pt x="169926" y="20710"/>
                </a:lnTo>
                <a:lnTo>
                  <a:pt x="217331" y="57834"/>
                </a:lnTo>
                <a:lnTo>
                  <a:pt x="236220" y="106054"/>
                </a:lnTo>
                <a:lnTo>
                  <a:pt x="238506" y="124342"/>
                </a:lnTo>
                <a:lnTo>
                  <a:pt x="238506" y="191295"/>
                </a:lnTo>
                <a:lnTo>
                  <a:pt x="243141" y="174779"/>
                </a:lnTo>
                <a:lnTo>
                  <a:pt x="246888" y="145678"/>
                </a:lnTo>
                <a:lnTo>
                  <a:pt x="247650" y="135010"/>
                </a:lnTo>
                <a:close/>
              </a:path>
              <a:path w="247650" h="281304">
                <a:moveTo>
                  <a:pt x="25145" y="37474"/>
                </a:moveTo>
                <a:lnTo>
                  <a:pt x="24383" y="37474"/>
                </a:lnTo>
                <a:lnTo>
                  <a:pt x="24383" y="38426"/>
                </a:lnTo>
                <a:lnTo>
                  <a:pt x="25145" y="37474"/>
                </a:lnTo>
                <a:close/>
              </a:path>
              <a:path w="247650" h="281304">
                <a:moveTo>
                  <a:pt x="238506" y="191295"/>
                </a:moveTo>
                <a:lnTo>
                  <a:pt x="238506" y="134248"/>
                </a:lnTo>
                <a:lnTo>
                  <a:pt x="237744" y="144916"/>
                </a:lnTo>
                <a:lnTo>
                  <a:pt x="233536" y="173596"/>
                </a:lnTo>
                <a:lnTo>
                  <a:pt x="213321" y="222468"/>
                </a:lnTo>
                <a:lnTo>
                  <a:pt x="177546" y="250072"/>
                </a:lnTo>
                <a:lnTo>
                  <a:pt x="127711" y="270427"/>
                </a:lnTo>
                <a:lnTo>
                  <a:pt x="105547" y="271074"/>
                </a:lnTo>
                <a:lnTo>
                  <a:pt x="75438" y="266836"/>
                </a:lnTo>
                <a:lnTo>
                  <a:pt x="72390" y="266074"/>
                </a:lnTo>
                <a:lnTo>
                  <a:pt x="69342" y="266074"/>
                </a:lnTo>
                <a:lnTo>
                  <a:pt x="67056" y="265312"/>
                </a:lnTo>
                <a:lnTo>
                  <a:pt x="66294" y="275218"/>
                </a:lnTo>
                <a:lnTo>
                  <a:pt x="70866" y="275218"/>
                </a:lnTo>
                <a:lnTo>
                  <a:pt x="73914" y="275980"/>
                </a:lnTo>
                <a:lnTo>
                  <a:pt x="107899" y="280938"/>
                </a:lnTo>
                <a:lnTo>
                  <a:pt x="134931" y="278699"/>
                </a:lnTo>
                <a:lnTo>
                  <a:pt x="160982" y="269195"/>
                </a:lnTo>
                <a:lnTo>
                  <a:pt x="192024" y="252358"/>
                </a:lnTo>
                <a:lnTo>
                  <a:pt x="196596" y="249310"/>
                </a:lnTo>
                <a:lnTo>
                  <a:pt x="201168" y="247024"/>
                </a:lnTo>
                <a:lnTo>
                  <a:pt x="222145" y="226324"/>
                </a:lnTo>
                <a:lnTo>
                  <a:pt x="235515" y="201952"/>
                </a:lnTo>
                <a:lnTo>
                  <a:pt x="238506" y="1912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9" name="object 61"/>
          <p:cNvSpPr/>
          <p:nvPr/>
        </p:nvSpPr>
        <p:spPr>
          <a:xfrm>
            <a:off x="916211" y="1470610"/>
            <a:ext cx="50779" cy="3460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0" name="object 62"/>
          <p:cNvSpPr/>
          <p:nvPr/>
        </p:nvSpPr>
        <p:spPr>
          <a:xfrm>
            <a:off x="1733137" y="1481175"/>
            <a:ext cx="83891" cy="642487"/>
          </a:xfrm>
          <a:custGeom>
            <a:avLst/>
            <a:gdLst/>
            <a:ahLst/>
            <a:cxnLst/>
            <a:rect l="l" t="t" r="r" b="b"/>
            <a:pathLst>
              <a:path w="127000" h="1445895">
                <a:moveTo>
                  <a:pt x="0" y="0"/>
                </a:moveTo>
                <a:lnTo>
                  <a:pt x="0" y="1445514"/>
                </a:lnTo>
                <a:lnTo>
                  <a:pt x="126492" y="1445514"/>
                </a:lnTo>
                <a:lnTo>
                  <a:pt x="126492" y="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1" name="object 63"/>
          <p:cNvSpPr/>
          <p:nvPr/>
        </p:nvSpPr>
        <p:spPr>
          <a:xfrm>
            <a:off x="1730117" y="1478804"/>
            <a:ext cx="90182" cy="647283"/>
          </a:xfrm>
          <a:custGeom>
            <a:avLst/>
            <a:gdLst/>
            <a:ahLst/>
            <a:cxnLst/>
            <a:rect l="l" t="t" r="r" b="b"/>
            <a:pathLst>
              <a:path w="136525" h="1456689">
                <a:moveTo>
                  <a:pt x="136398" y="1456181"/>
                </a:moveTo>
                <a:lnTo>
                  <a:pt x="136398" y="0"/>
                </a:lnTo>
                <a:lnTo>
                  <a:pt x="0" y="0"/>
                </a:lnTo>
                <a:lnTo>
                  <a:pt x="0" y="1456181"/>
                </a:lnTo>
                <a:lnTo>
                  <a:pt x="4572" y="1456181"/>
                </a:lnTo>
                <a:lnTo>
                  <a:pt x="4572" y="9905"/>
                </a:lnTo>
                <a:lnTo>
                  <a:pt x="9143" y="5334"/>
                </a:lnTo>
                <a:lnTo>
                  <a:pt x="9143" y="9905"/>
                </a:lnTo>
                <a:lnTo>
                  <a:pt x="126492" y="9905"/>
                </a:lnTo>
                <a:lnTo>
                  <a:pt x="126492" y="5334"/>
                </a:lnTo>
                <a:lnTo>
                  <a:pt x="131063" y="9905"/>
                </a:lnTo>
                <a:lnTo>
                  <a:pt x="131063" y="1456181"/>
                </a:lnTo>
                <a:lnTo>
                  <a:pt x="136398" y="1456181"/>
                </a:lnTo>
                <a:close/>
              </a:path>
              <a:path w="136525" h="1456689">
                <a:moveTo>
                  <a:pt x="9143" y="9905"/>
                </a:moveTo>
                <a:lnTo>
                  <a:pt x="9143" y="5334"/>
                </a:lnTo>
                <a:lnTo>
                  <a:pt x="4572" y="9905"/>
                </a:lnTo>
                <a:lnTo>
                  <a:pt x="9143" y="9905"/>
                </a:lnTo>
                <a:close/>
              </a:path>
              <a:path w="136525" h="1456689">
                <a:moveTo>
                  <a:pt x="9143" y="1446276"/>
                </a:moveTo>
                <a:lnTo>
                  <a:pt x="9143" y="9905"/>
                </a:lnTo>
                <a:lnTo>
                  <a:pt x="4572" y="9905"/>
                </a:lnTo>
                <a:lnTo>
                  <a:pt x="4572" y="1446276"/>
                </a:lnTo>
                <a:lnTo>
                  <a:pt x="9143" y="1446276"/>
                </a:lnTo>
                <a:close/>
              </a:path>
              <a:path w="136525" h="1456689">
                <a:moveTo>
                  <a:pt x="131063" y="1446276"/>
                </a:moveTo>
                <a:lnTo>
                  <a:pt x="4572" y="1446276"/>
                </a:lnTo>
                <a:lnTo>
                  <a:pt x="9143" y="1450848"/>
                </a:lnTo>
                <a:lnTo>
                  <a:pt x="9143" y="1456181"/>
                </a:lnTo>
                <a:lnTo>
                  <a:pt x="126492" y="1456181"/>
                </a:lnTo>
                <a:lnTo>
                  <a:pt x="126492" y="1450848"/>
                </a:lnTo>
                <a:lnTo>
                  <a:pt x="131063" y="1446276"/>
                </a:lnTo>
                <a:close/>
              </a:path>
              <a:path w="136525" h="1456689">
                <a:moveTo>
                  <a:pt x="9143" y="1456181"/>
                </a:moveTo>
                <a:lnTo>
                  <a:pt x="9143" y="1450848"/>
                </a:lnTo>
                <a:lnTo>
                  <a:pt x="4572" y="1446276"/>
                </a:lnTo>
                <a:lnTo>
                  <a:pt x="4572" y="1456181"/>
                </a:lnTo>
                <a:lnTo>
                  <a:pt x="9143" y="1456181"/>
                </a:lnTo>
                <a:close/>
              </a:path>
              <a:path w="136525" h="1456689">
                <a:moveTo>
                  <a:pt x="131063" y="9905"/>
                </a:moveTo>
                <a:lnTo>
                  <a:pt x="126492" y="5334"/>
                </a:lnTo>
                <a:lnTo>
                  <a:pt x="126492" y="9905"/>
                </a:lnTo>
                <a:lnTo>
                  <a:pt x="131063" y="9905"/>
                </a:lnTo>
                <a:close/>
              </a:path>
              <a:path w="136525" h="1456689">
                <a:moveTo>
                  <a:pt x="131063" y="1446276"/>
                </a:moveTo>
                <a:lnTo>
                  <a:pt x="131063" y="9905"/>
                </a:lnTo>
                <a:lnTo>
                  <a:pt x="126492" y="9905"/>
                </a:lnTo>
                <a:lnTo>
                  <a:pt x="126492" y="1446276"/>
                </a:lnTo>
                <a:lnTo>
                  <a:pt x="131063" y="1446276"/>
                </a:lnTo>
                <a:close/>
              </a:path>
              <a:path w="136525" h="1456689">
                <a:moveTo>
                  <a:pt x="131063" y="1456181"/>
                </a:moveTo>
                <a:lnTo>
                  <a:pt x="131063" y="1446276"/>
                </a:lnTo>
                <a:lnTo>
                  <a:pt x="126492" y="1450848"/>
                </a:lnTo>
                <a:lnTo>
                  <a:pt x="126492" y="1456181"/>
                </a:lnTo>
                <a:lnTo>
                  <a:pt x="131063" y="14561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2" name="object 64"/>
          <p:cNvSpPr/>
          <p:nvPr/>
        </p:nvSpPr>
        <p:spPr>
          <a:xfrm>
            <a:off x="2758951" y="993596"/>
            <a:ext cx="143453" cy="104524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3" name="object 65"/>
          <p:cNvSpPr/>
          <p:nvPr/>
        </p:nvSpPr>
        <p:spPr>
          <a:xfrm>
            <a:off x="2755428" y="991564"/>
            <a:ext cx="150583" cy="1049366"/>
          </a:xfrm>
          <a:custGeom>
            <a:avLst/>
            <a:gdLst/>
            <a:ahLst/>
            <a:cxnLst/>
            <a:rect l="l" t="t" r="r" b="b"/>
            <a:pathLst>
              <a:path w="227964" h="2361565">
                <a:moveTo>
                  <a:pt x="227837" y="2361438"/>
                </a:moveTo>
                <a:lnTo>
                  <a:pt x="227837" y="0"/>
                </a:lnTo>
                <a:lnTo>
                  <a:pt x="0" y="0"/>
                </a:lnTo>
                <a:lnTo>
                  <a:pt x="0" y="2361438"/>
                </a:lnTo>
                <a:lnTo>
                  <a:pt x="5334" y="2361438"/>
                </a:lnTo>
                <a:lnTo>
                  <a:pt x="5334" y="9143"/>
                </a:lnTo>
                <a:lnTo>
                  <a:pt x="9906" y="4571"/>
                </a:lnTo>
                <a:lnTo>
                  <a:pt x="9906" y="9143"/>
                </a:lnTo>
                <a:lnTo>
                  <a:pt x="217932" y="9143"/>
                </a:lnTo>
                <a:lnTo>
                  <a:pt x="217932" y="4571"/>
                </a:lnTo>
                <a:lnTo>
                  <a:pt x="222503" y="9143"/>
                </a:lnTo>
                <a:lnTo>
                  <a:pt x="222503" y="2361438"/>
                </a:lnTo>
                <a:lnTo>
                  <a:pt x="227837" y="2361438"/>
                </a:lnTo>
                <a:close/>
              </a:path>
              <a:path w="227964" h="2361565">
                <a:moveTo>
                  <a:pt x="9906" y="9143"/>
                </a:moveTo>
                <a:lnTo>
                  <a:pt x="9906" y="4571"/>
                </a:lnTo>
                <a:lnTo>
                  <a:pt x="5334" y="9143"/>
                </a:lnTo>
                <a:lnTo>
                  <a:pt x="9906" y="9143"/>
                </a:lnTo>
                <a:close/>
              </a:path>
              <a:path w="227964" h="2361565">
                <a:moveTo>
                  <a:pt x="9906" y="2351531"/>
                </a:moveTo>
                <a:lnTo>
                  <a:pt x="9906" y="9143"/>
                </a:lnTo>
                <a:lnTo>
                  <a:pt x="5334" y="9143"/>
                </a:lnTo>
                <a:lnTo>
                  <a:pt x="5334" y="2351531"/>
                </a:lnTo>
                <a:lnTo>
                  <a:pt x="9906" y="2351531"/>
                </a:lnTo>
                <a:close/>
              </a:path>
              <a:path w="227964" h="2361565">
                <a:moveTo>
                  <a:pt x="222503" y="2351531"/>
                </a:moveTo>
                <a:lnTo>
                  <a:pt x="5334" y="2351531"/>
                </a:lnTo>
                <a:lnTo>
                  <a:pt x="9906" y="2356866"/>
                </a:lnTo>
                <a:lnTo>
                  <a:pt x="9906" y="2361438"/>
                </a:lnTo>
                <a:lnTo>
                  <a:pt x="217932" y="2361438"/>
                </a:lnTo>
                <a:lnTo>
                  <a:pt x="217932" y="2356866"/>
                </a:lnTo>
                <a:lnTo>
                  <a:pt x="222503" y="2351531"/>
                </a:lnTo>
                <a:close/>
              </a:path>
              <a:path w="227964" h="2361565">
                <a:moveTo>
                  <a:pt x="9906" y="2361438"/>
                </a:moveTo>
                <a:lnTo>
                  <a:pt x="9906" y="2356866"/>
                </a:lnTo>
                <a:lnTo>
                  <a:pt x="5334" y="2351531"/>
                </a:lnTo>
                <a:lnTo>
                  <a:pt x="5334" y="2361438"/>
                </a:lnTo>
                <a:lnTo>
                  <a:pt x="9906" y="2361438"/>
                </a:lnTo>
                <a:close/>
              </a:path>
              <a:path w="227964" h="2361565">
                <a:moveTo>
                  <a:pt x="222503" y="9143"/>
                </a:moveTo>
                <a:lnTo>
                  <a:pt x="217932" y="4571"/>
                </a:lnTo>
                <a:lnTo>
                  <a:pt x="217932" y="9143"/>
                </a:lnTo>
                <a:lnTo>
                  <a:pt x="222503" y="9143"/>
                </a:lnTo>
                <a:close/>
              </a:path>
              <a:path w="227964" h="2361565">
                <a:moveTo>
                  <a:pt x="222503" y="2351531"/>
                </a:moveTo>
                <a:lnTo>
                  <a:pt x="222503" y="9143"/>
                </a:lnTo>
                <a:lnTo>
                  <a:pt x="217932" y="9143"/>
                </a:lnTo>
                <a:lnTo>
                  <a:pt x="217932" y="2351531"/>
                </a:lnTo>
                <a:lnTo>
                  <a:pt x="222503" y="2351531"/>
                </a:lnTo>
                <a:close/>
              </a:path>
              <a:path w="227964" h="2361565">
                <a:moveTo>
                  <a:pt x="222503" y="2361438"/>
                </a:moveTo>
                <a:lnTo>
                  <a:pt x="222503" y="2351531"/>
                </a:lnTo>
                <a:lnTo>
                  <a:pt x="217932" y="2356866"/>
                </a:lnTo>
                <a:lnTo>
                  <a:pt x="217932" y="2361438"/>
                </a:lnTo>
                <a:lnTo>
                  <a:pt x="222503" y="23614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4" name="object 66"/>
          <p:cNvSpPr/>
          <p:nvPr/>
        </p:nvSpPr>
        <p:spPr>
          <a:xfrm>
            <a:off x="2548554" y="1432756"/>
            <a:ext cx="210565" cy="163654"/>
          </a:xfrm>
          <a:custGeom>
            <a:avLst/>
            <a:gdLst/>
            <a:ahLst/>
            <a:cxnLst/>
            <a:rect l="l" t="t" r="r" b="b"/>
            <a:pathLst>
              <a:path w="318770" h="368300">
                <a:moveTo>
                  <a:pt x="318516" y="115824"/>
                </a:moveTo>
                <a:lnTo>
                  <a:pt x="251460" y="85344"/>
                </a:lnTo>
                <a:lnTo>
                  <a:pt x="203454" y="35814"/>
                </a:lnTo>
                <a:lnTo>
                  <a:pt x="107442" y="0"/>
                </a:lnTo>
                <a:lnTo>
                  <a:pt x="0" y="99060"/>
                </a:lnTo>
                <a:lnTo>
                  <a:pt x="64770" y="245364"/>
                </a:lnTo>
                <a:lnTo>
                  <a:pt x="107442" y="259842"/>
                </a:lnTo>
                <a:lnTo>
                  <a:pt x="138684" y="266700"/>
                </a:lnTo>
                <a:lnTo>
                  <a:pt x="179832" y="259842"/>
                </a:lnTo>
                <a:lnTo>
                  <a:pt x="260604" y="327660"/>
                </a:lnTo>
                <a:lnTo>
                  <a:pt x="313182" y="368046"/>
                </a:lnTo>
                <a:lnTo>
                  <a:pt x="318516" y="115824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5" name="object 67"/>
          <p:cNvSpPr/>
          <p:nvPr/>
        </p:nvSpPr>
        <p:spPr>
          <a:xfrm>
            <a:off x="2695530" y="1462551"/>
            <a:ext cx="65015" cy="29910"/>
          </a:xfrm>
          <a:custGeom>
            <a:avLst/>
            <a:gdLst/>
            <a:ahLst/>
            <a:cxnLst/>
            <a:rect l="l" t="t" r="r" b="b"/>
            <a:pathLst>
              <a:path w="98425" h="67310">
                <a:moveTo>
                  <a:pt x="98297" y="58673"/>
                </a:moveTo>
                <a:lnTo>
                  <a:pt x="5333" y="0"/>
                </a:lnTo>
                <a:lnTo>
                  <a:pt x="0" y="7619"/>
                </a:lnTo>
                <a:lnTo>
                  <a:pt x="92963" y="67055"/>
                </a:lnTo>
                <a:lnTo>
                  <a:pt x="98297" y="5867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6" name="object 68"/>
          <p:cNvSpPr/>
          <p:nvPr/>
        </p:nvSpPr>
        <p:spPr>
          <a:xfrm>
            <a:off x="2668350" y="1551603"/>
            <a:ext cx="92699" cy="50507"/>
          </a:xfrm>
          <a:custGeom>
            <a:avLst/>
            <a:gdLst/>
            <a:ahLst/>
            <a:cxnLst/>
            <a:rect l="l" t="t" r="r" b="b"/>
            <a:pathLst>
              <a:path w="140335" h="113664">
                <a:moveTo>
                  <a:pt x="140208" y="106679"/>
                </a:moveTo>
                <a:lnTo>
                  <a:pt x="6096" y="0"/>
                </a:lnTo>
                <a:lnTo>
                  <a:pt x="0" y="7619"/>
                </a:lnTo>
                <a:lnTo>
                  <a:pt x="134112" y="113537"/>
                </a:lnTo>
                <a:lnTo>
                  <a:pt x="140208" y="10667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7" name="object 69"/>
          <p:cNvSpPr/>
          <p:nvPr/>
        </p:nvSpPr>
        <p:spPr>
          <a:xfrm>
            <a:off x="2539997" y="1431999"/>
            <a:ext cx="160231" cy="129795"/>
          </a:xfrm>
          <a:custGeom>
            <a:avLst/>
            <a:gdLst/>
            <a:ahLst/>
            <a:cxnLst/>
            <a:rect l="l" t="t" r="r" b="b"/>
            <a:pathLst>
              <a:path w="242570" h="292100">
                <a:moveTo>
                  <a:pt x="242315" y="75617"/>
                </a:moveTo>
                <a:lnTo>
                  <a:pt x="242315" y="74093"/>
                </a:lnTo>
                <a:lnTo>
                  <a:pt x="239200" y="65142"/>
                </a:lnTo>
                <a:lnTo>
                  <a:pt x="236643" y="55909"/>
                </a:lnTo>
                <a:lnTo>
                  <a:pt x="233684" y="46625"/>
                </a:lnTo>
                <a:lnTo>
                  <a:pt x="229361" y="37517"/>
                </a:lnTo>
                <a:lnTo>
                  <a:pt x="225551" y="32183"/>
                </a:lnTo>
                <a:lnTo>
                  <a:pt x="225551" y="31421"/>
                </a:lnTo>
                <a:lnTo>
                  <a:pt x="224789" y="31421"/>
                </a:lnTo>
                <a:lnTo>
                  <a:pt x="220979" y="27611"/>
                </a:lnTo>
                <a:lnTo>
                  <a:pt x="215645" y="23039"/>
                </a:lnTo>
                <a:lnTo>
                  <a:pt x="210311" y="19229"/>
                </a:lnTo>
                <a:lnTo>
                  <a:pt x="186536" y="9680"/>
                </a:lnTo>
                <a:lnTo>
                  <a:pt x="157124" y="2584"/>
                </a:lnTo>
                <a:lnTo>
                  <a:pt x="127255" y="0"/>
                </a:lnTo>
                <a:lnTo>
                  <a:pt x="102107" y="3989"/>
                </a:lnTo>
                <a:lnTo>
                  <a:pt x="92963" y="6275"/>
                </a:lnTo>
                <a:lnTo>
                  <a:pt x="83057" y="8561"/>
                </a:lnTo>
                <a:lnTo>
                  <a:pt x="33899" y="35264"/>
                </a:lnTo>
                <a:lnTo>
                  <a:pt x="3047" y="94667"/>
                </a:lnTo>
                <a:lnTo>
                  <a:pt x="0" y="114479"/>
                </a:lnTo>
                <a:lnTo>
                  <a:pt x="1786" y="167337"/>
                </a:lnTo>
                <a:lnTo>
                  <a:pt x="8381" y="189894"/>
                </a:lnTo>
                <a:lnTo>
                  <a:pt x="8381" y="125147"/>
                </a:lnTo>
                <a:lnTo>
                  <a:pt x="9143" y="115241"/>
                </a:lnTo>
                <a:lnTo>
                  <a:pt x="10667" y="106859"/>
                </a:lnTo>
                <a:lnTo>
                  <a:pt x="12191" y="97715"/>
                </a:lnTo>
                <a:lnTo>
                  <a:pt x="22104" y="71931"/>
                </a:lnTo>
                <a:lnTo>
                  <a:pt x="50987" y="32735"/>
                </a:lnTo>
                <a:lnTo>
                  <a:pt x="94487" y="15419"/>
                </a:lnTo>
                <a:lnTo>
                  <a:pt x="122428" y="9916"/>
                </a:lnTo>
                <a:lnTo>
                  <a:pt x="150733" y="10942"/>
                </a:lnTo>
                <a:lnTo>
                  <a:pt x="178537" y="17255"/>
                </a:lnTo>
                <a:lnTo>
                  <a:pt x="204977" y="27611"/>
                </a:lnTo>
                <a:lnTo>
                  <a:pt x="214121" y="33707"/>
                </a:lnTo>
                <a:lnTo>
                  <a:pt x="217931" y="38279"/>
                </a:lnTo>
                <a:lnTo>
                  <a:pt x="217931" y="37517"/>
                </a:lnTo>
                <a:lnTo>
                  <a:pt x="220217" y="42089"/>
                </a:lnTo>
                <a:lnTo>
                  <a:pt x="224897" y="50889"/>
                </a:lnTo>
                <a:lnTo>
                  <a:pt x="227880" y="59515"/>
                </a:lnTo>
                <a:lnTo>
                  <a:pt x="230271" y="68190"/>
                </a:lnTo>
                <a:lnTo>
                  <a:pt x="233171" y="77141"/>
                </a:lnTo>
                <a:lnTo>
                  <a:pt x="233171" y="78665"/>
                </a:lnTo>
                <a:lnTo>
                  <a:pt x="242315" y="75617"/>
                </a:lnTo>
                <a:close/>
              </a:path>
              <a:path w="242570" h="292100">
                <a:moveTo>
                  <a:pt x="166115" y="282881"/>
                </a:moveTo>
                <a:lnTo>
                  <a:pt x="162305" y="281357"/>
                </a:lnTo>
                <a:lnTo>
                  <a:pt x="157733" y="280595"/>
                </a:lnTo>
                <a:lnTo>
                  <a:pt x="104083" y="265928"/>
                </a:lnTo>
                <a:lnTo>
                  <a:pt x="62304" y="247338"/>
                </a:lnTo>
                <a:lnTo>
                  <a:pt x="32415" y="220537"/>
                </a:lnTo>
                <a:lnTo>
                  <a:pt x="14435" y="181236"/>
                </a:lnTo>
                <a:lnTo>
                  <a:pt x="8381" y="125147"/>
                </a:lnTo>
                <a:lnTo>
                  <a:pt x="8381" y="189894"/>
                </a:lnTo>
                <a:lnTo>
                  <a:pt x="35232" y="238199"/>
                </a:lnTo>
                <a:lnTo>
                  <a:pt x="66274" y="260520"/>
                </a:lnTo>
                <a:lnTo>
                  <a:pt x="106448" y="276980"/>
                </a:lnTo>
                <a:lnTo>
                  <a:pt x="155447" y="289739"/>
                </a:lnTo>
                <a:lnTo>
                  <a:pt x="160019" y="291263"/>
                </a:lnTo>
                <a:lnTo>
                  <a:pt x="163829" y="292025"/>
                </a:lnTo>
                <a:lnTo>
                  <a:pt x="166115" y="2828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8" name="object 70"/>
          <p:cNvSpPr/>
          <p:nvPr/>
        </p:nvSpPr>
        <p:spPr>
          <a:xfrm>
            <a:off x="2594357" y="1475719"/>
            <a:ext cx="51156" cy="34617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9" name="object 71"/>
          <p:cNvSpPr/>
          <p:nvPr/>
        </p:nvSpPr>
        <p:spPr>
          <a:xfrm>
            <a:off x="3155082" y="1366730"/>
            <a:ext cx="59563" cy="287242"/>
          </a:xfrm>
          <a:custGeom>
            <a:avLst/>
            <a:gdLst/>
            <a:ahLst/>
            <a:cxnLst/>
            <a:rect l="l" t="t" r="r" b="b"/>
            <a:pathLst>
              <a:path w="90170" h="646429">
                <a:moveTo>
                  <a:pt x="89916" y="591312"/>
                </a:moveTo>
                <a:lnTo>
                  <a:pt x="83058" y="59436"/>
                </a:lnTo>
                <a:lnTo>
                  <a:pt x="27432" y="0"/>
                </a:lnTo>
                <a:lnTo>
                  <a:pt x="0" y="23622"/>
                </a:lnTo>
                <a:lnTo>
                  <a:pt x="48768" y="52577"/>
                </a:lnTo>
                <a:lnTo>
                  <a:pt x="48768" y="630294"/>
                </a:lnTo>
                <a:lnTo>
                  <a:pt x="89916" y="591312"/>
                </a:lnTo>
                <a:close/>
              </a:path>
              <a:path w="90170" h="646429">
                <a:moveTo>
                  <a:pt x="48768" y="630294"/>
                </a:moveTo>
                <a:lnTo>
                  <a:pt x="48768" y="591312"/>
                </a:lnTo>
                <a:lnTo>
                  <a:pt x="6858" y="614934"/>
                </a:lnTo>
                <a:lnTo>
                  <a:pt x="32004" y="646176"/>
                </a:lnTo>
                <a:lnTo>
                  <a:pt x="48768" y="630294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0" name="object 72"/>
          <p:cNvSpPr/>
          <p:nvPr/>
        </p:nvSpPr>
        <p:spPr>
          <a:xfrm>
            <a:off x="3151559" y="1364359"/>
            <a:ext cx="66693" cy="291757"/>
          </a:xfrm>
          <a:custGeom>
            <a:avLst/>
            <a:gdLst/>
            <a:ahLst/>
            <a:cxnLst/>
            <a:rect l="l" t="t" r="r" b="b"/>
            <a:pathLst>
              <a:path w="100964" h="656589">
                <a:moveTo>
                  <a:pt x="100583" y="598170"/>
                </a:moveTo>
                <a:lnTo>
                  <a:pt x="100583" y="596646"/>
                </a:lnTo>
                <a:lnTo>
                  <a:pt x="92963" y="64770"/>
                </a:lnTo>
                <a:lnTo>
                  <a:pt x="92963" y="62484"/>
                </a:lnTo>
                <a:lnTo>
                  <a:pt x="92201" y="61722"/>
                </a:lnTo>
                <a:lnTo>
                  <a:pt x="36575" y="2286"/>
                </a:lnTo>
                <a:lnTo>
                  <a:pt x="34289" y="0"/>
                </a:lnTo>
                <a:lnTo>
                  <a:pt x="32003" y="0"/>
                </a:lnTo>
                <a:lnTo>
                  <a:pt x="29717" y="1524"/>
                </a:lnTo>
                <a:lnTo>
                  <a:pt x="2285" y="25908"/>
                </a:lnTo>
                <a:lnTo>
                  <a:pt x="761" y="26670"/>
                </a:lnTo>
                <a:lnTo>
                  <a:pt x="0" y="28194"/>
                </a:lnTo>
                <a:lnTo>
                  <a:pt x="0" y="29718"/>
                </a:lnTo>
                <a:lnTo>
                  <a:pt x="1523" y="32766"/>
                </a:lnTo>
                <a:lnTo>
                  <a:pt x="2285" y="33528"/>
                </a:lnTo>
                <a:lnTo>
                  <a:pt x="7619" y="36611"/>
                </a:lnTo>
                <a:lnTo>
                  <a:pt x="7619" y="25146"/>
                </a:lnTo>
                <a:lnTo>
                  <a:pt x="13370" y="28470"/>
                </a:lnTo>
                <a:lnTo>
                  <a:pt x="29717" y="14393"/>
                </a:lnTo>
                <a:lnTo>
                  <a:pt x="29717" y="8382"/>
                </a:lnTo>
                <a:lnTo>
                  <a:pt x="35813" y="9144"/>
                </a:lnTo>
                <a:lnTo>
                  <a:pt x="35813" y="14895"/>
                </a:lnTo>
                <a:lnTo>
                  <a:pt x="83819" y="66189"/>
                </a:lnTo>
                <a:lnTo>
                  <a:pt x="83819" y="64770"/>
                </a:lnTo>
                <a:lnTo>
                  <a:pt x="85343" y="67818"/>
                </a:lnTo>
                <a:lnTo>
                  <a:pt x="85343" y="182964"/>
                </a:lnTo>
                <a:lnTo>
                  <a:pt x="90647" y="594308"/>
                </a:lnTo>
                <a:lnTo>
                  <a:pt x="92201" y="592836"/>
                </a:lnTo>
                <a:lnTo>
                  <a:pt x="92201" y="606191"/>
                </a:lnTo>
                <a:lnTo>
                  <a:pt x="99059" y="599694"/>
                </a:lnTo>
                <a:lnTo>
                  <a:pt x="100583" y="598170"/>
                </a:lnTo>
                <a:close/>
              </a:path>
              <a:path w="100964" h="656589">
                <a:moveTo>
                  <a:pt x="51053" y="592074"/>
                </a:moveTo>
                <a:lnTo>
                  <a:pt x="9905" y="616458"/>
                </a:lnTo>
                <a:lnTo>
                  <a:pt x="8381" y="617220"/>
                </a:lnTo>
                <a:lnTo>
                  <a:pt x="7619" y="617982"/>
                </a:lnTo>
                <a:lnTo>
                  <a:pt x="7619" y="619506"/>
                </a:lnTo>
                <a:lnTo>
                  <a:pt x="6857" y="621030"/>
                </a:lnTo>
                <a:lnTo>
                  <a:pt x="7619" y="622554"/>
                </a:lnTo>
                <a:lnTo>
                  <a:pt x="8381" y="623316"/>
                </a:lnTo>
                <a:lnTo>
                  <a:pt x="14477" y="630889"/>
                </a:lnTo>
                <a:lnTo>
                  <a:pt x="14477" y="624840"/>
                </a:lnTo>
                <a:lnTo>
                  <a:pt x="16001" y="617220"/>
                </a:lnTo>
                <a:lnTo>
                  <a:pt x="19693" y="621805"/>
                </a:lnTo>
                <a:lnTo>
                  <a:pt x="48767" y="604889"/>
                </a:lnTo>
                <a:lnTo>
                  <a:pt x="48767" y="596646"/>
                </a:lnTo>
                <a:lnTo>
                  <a:pt x="51053" y="592074"/>
                </a:lnTo>
                <a:close/>
              </a:path>
              <a:path w="100964" h="656589">
                <a:moveTo>
                  <a:pt x="13370" y="28470"/>
                </a:moveTo>
                <a:lnTo>
                  <a:pt x="7619" y="25146"/>
                </a:lnTo>
                <a:lnTo>
                  <a:pt x="8381" y="32766"/>
                </a:lnTo>
                <a:lnTo>
                  <a:pt x="13370" y="28470"/>
                </a:lnTo>
                <a:close/>
              </a:path>
              <a:path w="100964" h="656589">
                <a:moveTo>
                  <a:pt x="58673" y="598170"/>
                </a:moveTo>
                <a:lnTo>
                  <a:pt x="58673" y="56388"/>
                </a:lnTo>
                <a:lnTo>
                  <a:pt x="57911" y="54864"/>
                </a:lnTo>
                <a:lnTo>
                  <a:pt x="56387" y="53340"/>
                </a:lnTo>
                <a:lnTo>
                  <a:pt x="13370" y="28470"/>
                </a:lnTo>
                <a:lnTo>
                  <a:pt x="8381" y="32766"/>
                </a:lnTo>
                <a:lnTo>
                  <a:pt x="7619" y="25146"/>
                </a:lnTo>
                <a:lnTo>
                  <a:pt x="7619" y="36611"/>
                </a:lnTo>
                <a:lnTo>
                  <a:pt x="48767" y="60400"/>
                </a:lnTo>
                <a:lnTo>
                  <a:pt x="48767" y="57912"/>
                </a:lnTo>
                <a:lnTo>
                  <a:pt x="51053" y="61722"/>
                </a:lnTo>
                <a:lnTo>
                  <a:pt x="51053" y="603559"/>
                </a:lnTo>
                <a:lnTo>
                  <a:pt x="56387" y="600456"/>
                </a:lnTo>
                <a:lnTo>
                  <a:pt x="57911" y="599694"/>
                </a:lnTo>
                <a:lnTo>
                  <a:pt x="58673" y="598170"/>
                </a:lnTo>
                <a:close/>
              </a:path>
              <a:path w="100964" h="656589">
                <a:moveTo>
                  <a:pt x="19693" y="621805"/>
                </a:moveTo>
                <a:lnTo>
                  <a:pt x="16001" y="617220"/>
                </a:lnTo>
                <a:lnTo>
                  <a:pt x="14477" y="624840"/>
                </a:lnTo>
                <a:lnTo>
                  <a:pt x="19693" y="621805"/>
                </a:lnTo>
                <a:close/>
              </a:path>
              <a:path w="100964" h="656589">
                <a:moveTo>
                  <a:pt x="37833" y="644343"/>
                </a:moveTo>
                <a:lnTo>
                  <a:pt x="19693" y="621805"/>
                </a:lnTo>
                <a:lnTo>
                  <a:pt x="14477" y="624840"/>
                </a:lnTo>
                <a:lnTo>
                  <a:pt x="14477" y="630889"/>
                </a:lnTo>
                <a:lnTo>
                  <a:pt x="33527" y="654558"/>
                </a:lnTo>
                <a:lnTo>
                  <a:pt x="34289" y="655320"/>
                </a:lnTo>
                <a:lnTo>
                  <a:pt x="34289" y="647700"/>
                </a:lnTo>
                <a:lnTo>
                  <a:pt x="37833" y="644343"/>
                </a:lnTo>
                <a:close/>
              </a:path>
              <a:path w="100964" h="656589">
                <a:moveTo>
                  <a:pt x="35813" y="9144"/>
                </a:moveTo>
                <a:lnTo>
                  <a:pt x="29717" y="8382"/>
                </a:lnTo>
                <a:lnTo>
                  <a:pt x="32833" y="11710"/>
                </a:lnTo>
                <a:lnTo>
                  <a:pt x="35813" y="9144"/>
                </a:lnTo>
                <a:close/>
              </a:path>
              <a:path w="100964" h="656589">
                <a:moveTo>
                  <a:pt x="32833" y="11710"/>
                </a:moveTo>
                <a:lnTo>
                  <a:pt x="29717" y="8382"/>
                </a:lnTo>
                <a:lnTo>
                  <a:pt x="29717" y="14393"/>
                </a:lnTo>
                <a:lnTo>
                  <a:pt x="32833" y="11710"/>
                </a:lnTo>
                <a:close/>
              </a:path>
              <a:path w="100964" h="656589">
                <a:moveTo>
                  <a:pt x="35813" y="14895"/>
                </a:moveTo>
                <a:lnTo>
                  <a:pt x="35813" y="9144"/>
                </a:lnTo>
                <a:lnTo>
                  <a:pt x="32833" y="11710"/>
                </a:lnTo>
                <a:lnTo>
                  <a:pt x="35813" y="14895"/>
                </a:lnTo>
                <a:close/>
              </a:path>
              <a:path w="100964" h="656589">
                <a:moveTo>
                  <a:pt x="41147" y="648462"/>
                </a:moveTo>
                <a:lnTo>
                  <a:pt x="37833" y="644343"/>
                </a:lnTo>
                <a:lnTo>
                  <a:pt x="34289" y="647700"/>
                </a:lnTo>
                <a:lnTo>
                  <a:pt x="41147" y="648462"/>
                </a:lnTo>
                <a:close/>
              </a:path>
              <a:path w="100964" h="656589">
                <a:moveTo>
                  <a:pt x="41147" y="654558"/>
                </a:moveTo>
                <a:lnTo>
                  <a:pt x="41147" y="648462"/>
                </a:lnTo>
                <a:lnTo>
                  <a:pt x="34289" y="647700"/>
                </a:lnTo>
                <a:lnTo>
                  <a:pt x="34289" y="655320"/>
                </a:lnTo>
                <a:lnTo>
                  <a:pt x="35813" y="656082"/>
                </a:lnTo>
                <a:lnTo>
                  <a:pt x="39623" y="656082"/>
                </a:lnTo>
                <a:lnTo>
                  <a:pt x="41147" y="654558"/>
                </a:lnTo>
                <a:close/>
              </a:path>
              <a:path w="100964" h="656589">
                <a:moveTo>
                  <a:pt x="92201" y="606191"/>
                </a:moveTo>
                <a:lnTo>
                  <a:pt x="92201" y="592836"/>
                </a:lnTo>
                <a:lnTo>
                  <a:pt x="90677" y="596646"/>
                </a:lnTo>
                <a:lnTo>
                  <a:pt x="90647" y="594308"/>
                </a:lnTo>
                <a:lnTo>
                  <a:pt x="37833" y="644343"/>
                </a:lnTo>
                <a:lnTo>
                  <a:pt x="41147" y="648462"/>
                </a:lnTo>
                <a:lnTo>
                  <a:pt x="41147" y="654558"/>
                </a:lnTo>
                <a:lnTo>
                  <a:pt x="92201" y="606191"/>
                </a:lnTo>
                <a:close/>
              </a:path>
              <a:path w="100964" h="656589">
                <a:moveTo>
                  <a:pt x="51053" y="61722"/>
                </a:moveTo>
                <a:lnTo>
                  <a:pt x="48767" y="57912"/>
                </a:lnTo>
                <a:lnTo>
                  <a:pt x="48767" y="60400"/>
                </a:lnTo>
                <a:lnTo>
                  <a:pt x="51053" y="61722"/>
                </a:lnTo>
                <a:close/>
              </a:path>
              <a:path w="100964" h="656589">
                <a:moveTo>
                  <a:pt x="51053" y="592074"/>
                </a:moveTo>
                <a:lnTo>
                  <a:pt x="51053" y="61722"/>
                </a:lnTo>
                <a:lnTo>
                  <a:pt x="48767" y="60400"/>
                </a:lnTo>
                <a:lnTo>
                  <a:pt x="48767" y="593428"/>
                </a:lnTo>
                <a:lnTo>
                  <a:pt x="51053" y="592074"/>
                </a:lnTo>
                <a:close/>
              </a:path>
              <a:path w="100964" h="656589">
                <a:moveTo>
                  <a:pt x="51053" y="603559"/>
                </a:moveTo>
                <a:lnTo>
                  <a:pt x="51053" y="592074"/>
                </a:lnTo>
                <a:lnTo>
                  <a:pt x="48767" y="596646"/>
                </a:lnTo>
                <a:lnTo>
                  <a:pt x="48767" y="604889"/>
                </a:lnTo>
                <a:lnTo>
                  <a:pt x="51053" y="603559"/>
                </a:lnTo>
                <a:close/>
              </a:path>
              <a:path w="100964" h="656589">
                <a:moveTo>
                  <a:pt x="85343" y="67818"/>
                </a:moveTo>
                <a:lnTo>
                  <a:pt x="83819" y="64770"/>
                </a:lnTo>
                <a:lnTo>
                  <a:pt x="83838" y="66209"/>
                </a:lnTo>
                <a:lnTo>
                  <a:pt x="85343" y="67818"/>
                </a:lnTo>
                <a:close/>
              </a:path>
              <a:path w="100964" h="656589">
                <a:moveTo>
                  <a:pt x="83838" y="66209"/>
                </a:moveTo>
                <a:lnTo>
                  <a:pt x="83819" y="64770"/>
                </a:lnTo>
                <a:lnTo>
                  <a:pt x="83819" y="66189"/>
                </a:lnTo>
                <a:close/>
              </a:path>
              <a:path w="100964" h="656589">
                <a:moveTo>
                  <a:pt x="85343" y="182964"/>
                </a:moveTo>
                <a:lnTo>
                  <a:pt x="85343" y="67818"/>
                </a:lnTo>
                <a:lnTo>
                  <a:pt x="83838" y="66209"/>
                </a:lnTo>
                <a:lnTo>
                  <a:pt x="85343" y="182964"/>
                </a:lnTo>
                <a:close/>
              </a:path>
              <a:path w="100964" h="656589">
                <a:moveTo>
                  <a:pt x="92201" y="592836"/>
                </a:moveTo>
                <a:lnTo>
                  <a:pt x="90647" y="594308"/>
                </a:lnTo>
                <a:lnTo>
                  <a:pt x="90677" y="596646"/>
                </a:lnTo>
                <a:lnTo>
                  <a:pt x="92201" y="592836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1" name="object 73"/>
          <p:cNvSpPr/>
          <p:nvPr/>
        </p:nvSpPr>
        <p:spPr>
          <a:xfrm>
            <a:off x="3214477" y="1476774"/>
            <a:ext cx="26426" cy="63769"/>
          </a:xfrm>
          <a:custGeom>
            <a:avLst/>
            <a:gdLst/>
            <a:ahLst/>
            <a:cxnLst/>
            <a:rect l="l" t="t" r="r" b="b"/>
            <a:pathLst>
              <a:path w="40004" h="143510">
                <a:moveTo>
                  <a:pt x="39624" y="86106"/>
                </a:moveTo>
                <a:lnTo>
                  <a:pt x="39624" y="45720"/>
                </a:lnTo>
                <a:lnTo>
                  <a:pt x="0" y="0"/>
                </a:lnTo>
                <a:lnTo>
                  <a:pt x="0" y="143256"/>
                </a:lnTo>
                <a:lnTo>
                  <a:pt x="39624" y="86106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2" name="object 74"/>
          <p:cNvSpPr/>
          <p:nvPr/>
        </p:nvSpPr>
        <p:spPr>
          <a:xfrm>
            <a:off x="3237631" y="1493703"/>
            <a:ext cx="283549" cy="21445"/>
          </a:xfrm>
          <a:custGeom>
            <a:avLst/>
            <a:gdLst/>
            <a:ahLst/>
            <a:cxnLst/>
            <a:rect l="l" t="t" r="r" b="b"/>
            <a:pathLst>
              <a:path w="429260" h="48260">
                <a:moveTo>
                  <a:pt x="429006" y="26669"/>
                </a:moveTo>
                <a:lnTo>
                  <a:pt x="0" y="0"/>
                </a:lnTo>
                <a:lnTo>
                  <a:pt x="0" y="48006"/>
                </a:lnTo>
                <a:lnTo>
                  <a:pt x="429006" y="26669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3" name="object 75"/>
          <p:cNvSpPr/>
          <p:nvPr/>
        </p:nvSpPr>
        <p:spPr>
          <a:xfrm>
            <a:off x="3598528" y="1442237"/>
            <a:ext cx="372475" cy="100732"/>
          </a:xfrm>
          <a:custGeom>
            <a:avLst/>
            <a:gdLst/>
            <a:ahLst/>
            <a:cxnLst/>
            <a:rect l="l" t="t" r="r" b="b"/>
            <a:pathLst>
              <a:path w="563879" h="226695">
                <a:moveTo>
                  <a:pt x="563880" y="0"/>
                </a:moveTo>
                <a:lnTo>
                  <a:pt x="494538" y="15239"/>
                </a:lnTo>
                <a:lnTo>
                  <a:pt x="80771" y="118110"/>
                </a:lnTo>
                <a:lnTo>
                  <a:pt x="0" y="119634"/>
                </a:lnTo>
                <a:lnTo>
                  <a:pt x="3809" y="133350"/>
                </a:lnTo>
                <a:lnTo>
                  <a:pt x="75437" y="133350"/>
                </a:lnTo>
                <a:lnTo>
                  <a:pt x="362712" y="189696"/>
                </a:lnTo>
                <a:lnTo>
                  <a:pt x="362712" y="117347"/>
                </a:lnTo>
                <a:lnTo>
                  <a:pt x="467867" y="62483"/>
                </a:lnTo>
                <a:lnTo>
                  <a:pt x="561594" y="17525"/>
                </a:lnTo>
                <a:lnTo>
                  <a:pt x="563880" y="0"/>
                </a:lnTo>
                <a:close/>
              </a:path>
              <a:path w="563879" h="226695">
                <a:moveTo>
                  <a:pt x="549402" y="226313"/>
                </a:moveTo>
                <a:lnTo>
                  <a:pt x="543306" y="219455"/>
                </a:lnTo>
                <a:lnTo>
                  <a:pt x="467867" y="175259"/>
                </a:lnTo>
                <a:lnTo>
                  <a:pt x="432053" y="155447"/>
                </a:lnTo>
                <a:lnTo>
                  <a:pt x="362712" y="117347"/>
                </a:lnTo>
                <a:lnTo>
                  <a:pt x="362712" y="189696"/>
                </a:lnTo>
                <a:lnTo>
                  <a:pt x="549402" y="226313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4" name="object 76"/>
          <p:cNvSpPr/>
          <p:nvPr/>
        </p:nvSpPr>
        <p:spPr>
          <a:xfrm>
            <a:off x="3595004" y="1440204"/>
            <a:ext cx="379186" cy="104683"/>
          </a:xfrm>
          <a:custGeom>
            <a:avLst/>
            <a:gdLst/>
            <a:ahLst/>
            <a:cxnLst/>
            <a:rect l="l" t="t" r="r" b="b"/>
            <a:pathLst>
              <a:path w="574039" h="235585">
                <a:moveTo>
                  <a:pt x="86106" y="127254"/>
                </a:moveTo>
                <a:lnTo>
                  <a:pt x="86106" y="118110"/>
                </a:lnTo>
                <a:lnTo>
                  <a:pt x="11760" y="119512"/>
                </a:lnTo>
                <a:lnTo>
                  <a:pt x="3810" y="119634"/>
                </a:lnTo>
                <a:lnTo>
                  <a:pt x="2286" y="120396"/>
                </a:lnTo>
                <a:lnTo>
                  <a:pt x="1524" y="121920"/>
                </a:lnTo>
                <a:lnTo>
                  <a:pt x="762" y="122682"/>
                </a:lnTo>
                <a:lnTo>
                  <a:pt x="0" y="124206"/>
                </a:lnTo>
                <a:lnTo>
                  <a:pt x="762" y="125730"/>
                </a:lnTo>
                <a:lnTo>
                  <a:pt x="5334" y="138684"/>
                </a:lnTo>
                <a:lnTo>
                  <a:pt x="5334" y="129540"/>
                </a:lnTo>
                <a:lnTo>
                  <a:pt x="9906" y="122682"/>
                </a:lnTo>
                <a:lnTo>
                  <a:pt x="11760" y="129358"/>
                </a:lnTo>
                <a:lnTo>
                  <a:pt x="86106" y="127254"/>
                </a:lnTo>
                <a:close/>
              </a:path>
              <a:path w="574039" h="235585">
                <a:moveTo>
                  <a:pt x="11760" y="129358"/>
                </a:moveTo>
                <a:lnTo>
                  <a:pt x="9906" y="122682"/>
                </a:lnTo>
                <a:lnTo>
                  <a:pt x="5334" y="129540"/>
                </a:lnTo>
                <a:lnTo>
                  <a:pt x="11760" y="129358"/>
                </a:lnTo>
                <a:close/>
              </a:path>
              <a:path w="574039" h="235585">
                <a:moveTo>
                  <a:pt x="12657" y="132588"/>
                </a:moveTo>
                <a:lnTo>
                  <a:pt x="11760" y="129358"/>
                </a:lnTo>
                <a:lnTo>
                  <a:pt x="5334" y="129540"/>
                </a:lnTo>
                <a:lnTo>
                  <a:pt x="5334" y="140970"/>
                </a:lnTo>
                <a:lnTo>
                  <a:pt x="7620" y="142494"/>
                </a:lnTo>
                <a:lnTo>
                  <a:pt x="9144" y="142494"/>
                </a:lnTo>
                <a:lnTo>
                  <a:pt x="9144" y="132588"/>
                </a:lnTo>
                <a:lnTo>
                  <a:pt x="12657" y="132588"/>
                </a:lnTo>
                <a:close/>
              </a:path>
              <a:path w="574039" h="235585">
                <a:moveTo>
                  <a:pt x="13716" y="136398"/>
                </a:moveTo>
                <a:lnTo>
                  <a:pt x="12657" y="132588"/>
                </a:lnTo>
                <a:lnTo>
                  <a:pt x="9144" y="132588"/>
                </a:lnTo>
                <a:lnTo>
                  <a:pt x="13716" y="136398"/>
                </a:lnTo>
                <a:close/>
              </a:path>
              <a:path w="574039" h="235585">
                <a:moveTo>
                  <a:pt x="13716" y="142494"/>
                </a:moveTo>
                <a:lnTo>
                  <a:pt x="13716" y="136398"/>
                </a:lnTo>
                <a:lnTo>
                  <a:pt x="9144" y="132588"/>
                </a:lnTo>
                <a:lnTo>
                  <a:pt x="9144" y="142494"/>
                </a:lnTo>
                <a:lnTo>
                  <a:pt x="13716" y="142494"/>
                </a:lnTo>
                <a:close/>
              </a:path>
              <a:path w="574039" h="235585">
                <a:moveTo>
                  <a:pt x="546354" y="227838"/>
                </a:moveTo>
                <a:lnTo>
                  <a:pt x="535870" y="221695"/>
                </a:lnTo>
                <a:lnTo>
                  <a:pt x="82296" y="132588"/>
                </a:lnTo>
                <a:lnTo>
                  <a:pt x="12657" y="132588"/>
                </a:lnTo>
                <a:lnTo>
                  <a:pt x="13716" y="136398"/>
                </a:lnTo>
                <a:lnTo>
                  <a:pt x="13716" y="142494"/>
                </a:lnTo>
                <a:lnTo>
                  <a:pt x="80772" y="142494"/>
                </a:lnTo>
                <a:lnTo>
                  <a:pt x="80772" y="142643"/>
                </a:lnTo>
                <a:lnTo>
                  <a:pt x="544830" y="233664"/>
                </a:lnTo>
                <a:lnTo>
                  <a:pt x="544830" y="227076"/>
                </a:lnTo>
                <a:lnTo>
                  <a:pt x="546354" y="227838"/>
                </a:lnTo>
                <a:close/>
              </a:path>
              <a:path w="574039" h="235585">
                <a:moveTo>
                  <a:pt x="80772" y="142643"/>
                </a:moveTo>
                <a:lnTo>
                  <a:pt x="80772" y="142494"/>
                </a:lnTo>
                <a:lnTo>
                  <a:pt x="80010" y="142494"/>
                </a:lnTo>
                <a:lnTo>
                  <a:pt x="80772" y="142643"/>
                </a:lnTo>
                <a:close/>
              </a:path>
              <a:path w="574039" h="235585">
                <a:moveTo>
                  <a:pt x="573786" y="5334"/>
                </a:moveTo>
                <a:lnTo>
                  <a:pt x="573786" y="2286"/>
                </a:lnTo>
                <a:lnTo>
                  <a:pt x="572262" y="1524"/>
                </a:lnTo>
                <a:lnTo>
                  <a:pt x="571500" y="0"/>
                </a:lnTo>
                <a:lnTo>
                  <a:pt x="568452" y="0"/>
                </a:lnTo>
                <a:lnTo>
                  <a:pt x="499110" y="15240"/>
                </a:lnTo>
                <a:lnTo>
                  <a:pt x="85344" y="118110"/>
                </a:lnTo>
                <a:lnTo>
                  <a:pt x="86106" y="118110"/>
                </a:lnTo>
                <a:lnTo>
                  <a:pt x="86106" y="127254"/>
                </a:lnTo>
                <a:lnTo>
                  <a:pt x="87630" y="127254"/>
                </a:lnTo>
                <a:lnTo>
                  <a:pt x="501396" y="24384"/>
                </a:lnTo>
                <a:lnTo>
                  <a:pt x="563462" y="10591"/>
                </a:lnTo>
                <a:lnTo>
                  <a:pt x="564642" y="3810"/>
                </a:lnTo>
                <a:lnTo>
                  <a:pt x="569976" y="9144"/>
                </a:lnTo>
                <a:lnTo>
                  <a:pt x="569976" y="25908"/>
                </a:lnTo>
                <a:lnTo>
                  <a:pt x="571500" y="22860"/>
                </a:lnTo>
                <a:lnTo>
                  <a:pt x="573786" y="5334"/>
                </a:lnTo>
                <a:close/>
              </a:path>
              <a:path w="574039" h="235585">
                <a:moveTo>
                  <a:pt x="561899" y="19581"/>
                </a:moveTo>
                <a:lnTo>
                  <a:pt x="470916" y="62484"/>
                </a:lnTo>
                <a:lnTo>
                  <a:pt x="365760" y="117348"/>
                </a:lnTo>
                <a:lnTo>
                  <a:pt x="364236" y="118110"/>
                </a:lnTo>
                <a:lnTo>
                  <a:pt x="363474" y="120396"/>
                </a:lnTo>
                <a:lnTo>
                  <a:pt x="363474" y="123444"/>
                </a:lnTo>
                <a:lnTo>
                  <a:pt x="364236" y="124968"/>
                </a:lnTo>
                <a:lnTo>
                  <a:pt x="365760" y="125730"/>
                </a:lnTo>
                <a:lnTo>
                  <a:pt x="370332" y="128242"/>
                </a:lnTo>
                <a:lnTo>
                  <a:pt x="370332" y="117348"/>
                </a:lnTo>
                <a:lnTo>
                  <a:pt x="378129" y="121632"/>
                </a:lnTo>
                <a:lnTo>
                  <a:pt x="474726" y="70866"/>
                </a:lnTo>
                <a:lnTo>
                  <a:pt x="561594" y="29903"/>
                </a:lnTo>
                <a:lnTo>
                  <a:pt x="561594" y="21336"/>
                </a:lnTo>
                <a:lnTo>
                  <a:pt x="561899" y="19581"/>
                </a:lnTo>
                <a:close/>
              </a:path>
              <a:path w="574039" h="235585">
                <a:moveTo>
                  <a:pt x="378129" y="121632"/>
                </a:moveTo>
                <a:lnTo>
                  <a:pt x="370332" y="117348"/>
                </a:lnTo>
                <a:lnTo>
                  <a:pt x="370332" y="125730"/>
                </a:lnTo>
                <a:lnTo>
                  <a:pt x="378129" y="121632"/>
                </a:lnTo>
                <a:close/>
              </a:path>
              <a:path w="574039" h="235585">
                <a:moveTo>
                  <a:pt x="560070" y="230886"/>
                </a:moveTo>
                <a:lnTo>
                  <a:pt x="559308" y="228600"/>
                </a:lnTo>
                <a:lnTo>
                  <a:pt x="557784" y="227076"/>
                </a:lnTo>
                <a:lnTo>
                  <a:pt x="552450" y="220980"/>
                </a:lnTo>
                <a:lnTo>
                  <a:pt x="551688" y="220218"/>
                </a:lnTo>
                <a:lnTo>
                  <a:pt x="550926" y="220218"/>
                </a:lnTo>
                <a:lnTo>
                  <a:pt x="475488" y="175260"/>
                </a:lnTo>
                <a:lnTo>
                  <a:pt x="439674" y="155448"/>
                </a:lnTo>
                <a:lnTo>
                  <a:pt x="378129" y="121632"/>
                </a:lnTo>
                <a:lnTo>
                  <a:pt x="370332" y="125730"/>
                </a:lnTo>
                <a:lnTo>
                  <a:pt x="370332" y="128242"/>
                </a:lnTo>
                <a:lnTo>
                  <a:pt x="435102" y="163830"/>
                </a:lnTo>
                <a:lnTo>
                  <a:pt x="470916" y="183642"/>
                </a:lnTo>
                <a:lnTo>
                  <a:pt x="535870" y="221695"/>
                </a:lnTo>
                <a:lnTo>
                  <a:pt x="555498" y="225552"/>
                </a:lnTo>
                <a:lnTo>
                  <a:pt x="555498" y="235458"/>
                </a:lnTo>
                <a:lnTo>
                  <a:pt x="557784" y="234696"/>
                </a:lnTo>
                <a:lnTo>
                  <a:pt x="558546" y="233172"/>
                </a:lnTo>
                <a:lnTo>
                  <a:pt x="560070" y="230886"/>
                </a:lnTo>
                <a:close/>
              </a:path>
              <a:path w="574039" h="235585">
                <a:moveTo>
                  <a:pt x="555498" y="225552"/>
                </a:moveTo>
                <a:lnTo>
                  <a:pt x="535870" y="221695"/>
                </a:lnTo>
                <a:lnTo>
                  <a:pt x="546354" y="227838"/>
                </a:lnTo>
                <a:lnTo>
                  <a:pt x="546354" y="228790"/>
                </a:lnTo>
                <a:lnTo>
                  <a:pt x="550926" y="233934"/>
                </a:lnTo>
                <a:lnTo>
                  <a:pt x="555498" y="225552"/>
                </a:lnTo>
                <a:close/>
              </a:path>
              <a:path w="574039" h="235585">
                <a:moveTo>
                  <a:pt x="546354" y="228790"/>
                </a:moveTo>
                <a:lnTo>
                  <a:pt x="546354" y="227838"/>
                </a:lnTo>
                <a:lnTo>
                  <a:pt x="544830" y="227076"/>
                </a:lnTo>
                <a:lnTo>
                  <a:pt x="546354" y="228790"/>
                </a:lnTo>
                <a:close/>
              </a:path>
              <a:path w="574039" h="235585">
                <a:moveTo>
                  <a:pt x="555498" y="235458"/>
                </a:moveTo>
                <a:lnTo>
                  <a:pt x="555498" y="225552"/>
                </a:lnTo>
                <a:lnTo>
                  <a:pt x="550926" y="233934"/>
                </a:lnTo>
                <a:lnTo>
                  <a:pt x="544830" y="227076"/>
                </a:lnTo>
                <a:lnTo>
                  <a:pt x="544830" y="233664"/>
                </a:lnTo>
                <a:lnTo>
                  <a:pt x="553974" y="235458"/>
                </a:lnTo>
                <a:lnTo>
                  <a:pt x="555498" y="235458"/>
                </a:lnTo>
                <a:close/>
              </a:path>
              <a:path w="574039" h="235585">
                <a:moveTo>
                  <a:pt x="564642" y="18288"/>
                </a:moveTo>
                <a:lnTo>
                  <a:pt x="561899" y="19581"/>
                </a:lnTo>
                <a:lnTo>
                  <a:pt x="561594" y="21336"/>
                </a:lnTo>
                <a:lnTo>
                  <a:pt x="564642" y="18288"/>
                </a:lnTo>
                <a:close/>
              </a:path>
              <a:path w="574039" h="235585">
                <a:moveTo>
                  <a:pt x="564642" y="28466"/>
                </a:moveTo>
                <a:lnTo>
                  <a:pt x="564642" y="18288"/>
                </a:lnTo>
                <a:lnTo>
                  <a:pt x="561594" y="21336"/>
                </a:lnTo>
                <a:lnTo>
                  <a:pt x="561594" y="29903"/>
                </a:lnTo>
                <a:lnTo>
                  <a:pt x="564642" y="28466"/>
                </a:lnTo>
                <a:close/>
              </a:path>
              <a:path w="574039" h="235585">
                <a:moveTo>
                  <a:pt x="569976" y="25908"/>
                </a:moveTo>
                <a:lnTo>
                  <a:pt x="569976" y="9144"/>
                </a:lnTo>
                <a:lnTo>
                  <a:pt x="563462" y="10591"/>
                </a:lnTo>
                <a:lnTo>
                  <a:pt x="561899" y="19581"/>
                </a:lnTo>
                <a:lnTo>
                  <a:pt x="564642" y="18288"/>
                </a:lnTo>
                <a:lnTo>
                  <a:pt x="564642" y="28466"/>
                </a:lnTo>
                <a:lnTo>
                  <a:pt x="568452" y="26670"/>
                </a:lnTo>
                <a:lnTo>
                  <a:pt x="569976" y="25908"/>
                </a:lnTo>
                <a:close/>
              </a:path>
              <a:path w="574039" h="235585">
                <a:moveTo>
                  <a:pt x="569976" y="9144"/>
                </a:moveTo>
                <a:lnTo>
                  <a:pt x="564642" y="3810"/>
                </a:lnTo>
                <a:lnTo>
                  <a:pt x="563462" y="10591"/>
                </a:lnTo>
                <a:lnTo>
                  <a:pt x="569976" y="9144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5" name="object 77"/>
          <p:cNvSpPr/>
          <p:nvPr/>
        </p:nvSpPr>
        <p:spPr>
          <a:xfrm>
            <a:off x="5899313" y="1437609"/>
            <a:ext cx="213920" cy="113993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6" name="object 78"/>
          <p:cNvSpPr/>
          <p:nvPr/>
        </p:nvSpPr>
        <p:spPr>
          <a:xfrm>
            <a:off x="5895276" y="1434788"/>
            <a:ext cx="221471" cy="119073"/>
          </a:xfrm>
          <a:custGeom>
            <a:avLst/>
            <a:gdLst/>
            <a:ahLst/>
            <a:cxnLst/>
            <a:rect l="l" t="t" r="r" b="b"/>
            <a:pathLst>
              <a:path w="335279" h="267970">
                <a:moveTo>
                  <a:pt x="277910" y="242920"/>
                </a:moveTo>
                <a:lnTo>
                  <a:pt x="101345" y="2285"/>
                </a:lnTo>
                <a:lnTo>
                  <a:pt x="100583" y="761"/>
                </a:lnTo>
                <a:lnTo>
                  <a:pt x="99059" y="0"/>
                </a:lnTo>
                <a:lnTo>
                  <a:pt x="11429" y="761"/>
                </a:lnTo>
                <a:lnTo>
                  <a:pt x="9143" y="2285"/>
                </a:lnTo>
                <a:lnTo>
                  <a:pt x="8381" y="4571"/>
                </a:lnTo>
                <a:lnTo>
                  <a:pt x="761" y="31241"/>
                </a:lnTo>
                <a:lnTo>
                  <a:pt x="0" y="32765"/>
                </a:lnTo>
                <a:lnTo>
                  <a:pt x="0" y="34289"/>
                </a:lnTo>
                <a:lnTo>
                  <a:pt x="1523" y="35051"/>
                </a:lnTo>
                <a:lnTo>
                  <a:pt x="2285" y="36575"/>
                </a:lnTo>
                <a:lnTo>
                  <a:pt x="3809" y="37337"/>
                </a:lnTo>
                <a:lnTo>
                  <a:pt x="5333" y="37337"/>
                </a:lnTo>
                <a:lnTo>
                  <a:pt x="5333" y="27431"/>
                </a:lnTo>
                <a:lnTo>
                  <a:pt x="11647" y="27431"/>
                </a:lnTo>
                <a:lnTo>
                  <a:pt x="12953" y="22859"/>
                </a:lnTo>
                <a:lnTo>
                  <a:pt x="12953" y="10667"/>
                </a:lnTo>
                <a:lnTo>
                  <a:pt x="17525" y="6857"/>
                </a:lnTo>
                <a:lnTo>
                  <a:pt x="17525" y="10626"/>
                </a:lnTo>
                <a:lnTo>
                  <a:pt x="45295" y="10376"/>
                </a:lnTo>
                <a:lnTo>
                  <a:pt x="46481" y="5333"/>
                </a:lnTo>
                <a:lnTo>
                  <a:pt x="47243" y="3047"/>
                </a:lnTo>
                <a:lnTo>
                  <a:pt x="48767" y="1523"/>
                </a:lnTo>
                <a:lnTo>
                  <a:pt x="54101" y="1523"/>
                </a:lnTo>
                <a:lnTo>
                  <a:pt x="54863" y="3047"/>
                </a:lnTo>
                <a:lnTo>
                  <a:pt x="60116" y="10243"/>
                </a:lnTo>
                <a:lnTo>
                  <a:pt x="93725" y="9940"/>
                </a:lnTo>
                <a:lnTo>
                  <a:pt x="93725" y="7619"/>
                </a:lnTo>
                <a:lnTo>
                  <a:pt x="97535" y="9905"/>
                </a:lnTo>
                <a:lnTo>
                  <a:pt x="97535" y="12812"/>
                </a:lnTo>
                <a:lnTo>
                  <a:pt x="274319" y="253745"/>
                </a:lnTo>
                <a:lnTo>
                  <a:pt x="274319" y="248411"/>
                </a:lnTo>
                <a:lnTo>
                  <a:pt x="277910" y="242920"/>
                </a:lnTo>
                <a:close/>
              </a:path>
              <a:path w="335279" h="267970">
                <a:moveTo>
                  <a:pt x="11647" y="27431"/>
                </a:moveTo>
                <a:lnTo>
                  <a:pt x="5333" y="27431"/>
                </a:lnTo>
                <a:lnTo>
                  <a:pt x="9905" y="33527"/>
                </a:lnTo>
                <a:lnTo>
                  <a:pt x="11647" y="27431"/>
                </a:lnTo>
                <a:close/>
              </a:path>
              <a:path w="335279" h="267970">
                <a:moveTo>
                  <a:pt x="41282" y="27431"/>
                </a:moveTo>
                <a:lnTo>
                  <a:pt x="11647" y="27431"/>
                </a:lnTo>
                <a:lnTo>
                  <a:pt x="9905" y="33527"/>
                </a:lnTo>
                <a:lnTo>
                  <a:pt x="5333" y="27431"/>
                </a:lnTo>
                <a:lnTo>
                  <a:pt x="5333" y="37337"/>
                </a:lnTo>
                <a:lnTo>
                  <a:pt x="40385" y="37337"/>
                </a:lnTo>
                <a:lnTo>
                  <a:pt x="40385" y="31241"/>
                </a:lnTo>
                <a:lnTo>
                  <a:pt x="41282" y="27431"/>
                </a:lnTo>
                <a:close/>
              </a:path>
              <a:path w="335279" h="267970">
                <a:moveTo>
                  <a:pt x="17525" y="6857"/>
                </a:moveTo>
                <a:lnTo>
                  <a:pt x="12953" y="10667"/>
                </a:lnTo>
                <a:lnTo>
                  <a:pt x="16446" y="10636"/>
                </a:lnTo>
                <a:lnTo>
                  <a:pt x="17525" y="6857"/>
                </a:lnTo>
                <a:close/>
              </a:path>
              <a:path w="335279" h="267970">
                <a:moveTo>
                  <a:pt x="16446" y="10636"/>
                </a:moveTo>
                <a:lnTo>
                  <a:pt x="12953" y="10667"/>
                </a:lnTo>
                <a:lnTo>
                  <a:pt x="12953" y="22859"/>
                </a:lnTo>
                <a:lnTo>
                  <a:pt x="16446" y="10636"/>
                </a:lnTo>
                <a:close/>
              </a:path>
              <a:path w="335279" h="267970">
                <a:moveTo>
                  <a:pt x="17525" y="10626"/>
                </a:moveTo>
                <a:lnTo>
                  <a:pt x="17525" y="6857"/>
                </a:lnTo>
                <a:lnTo>
                  <a:pt x="16446" y="10636"/>
                </a:lnTo>
                <a:lnTo>
                  <a:pt x="17525" y="10626"/>
                </a:lnTo>
                <a:close/>
              </a:path>
              <a:path w="335279" h="267970">
                <a:moveTo>
                  <a:pt x="44957" y="27431"/>
                </a:moveTo>
                <a:lnTo>
                  <a:pt x="41282" y="27431"/>
                </a:lnTo>
                <a:lnTo>
                  <a:pt x="40385" y="31241"/>
                </a:lnTo>
                <a:lnTo>
                  <a:pt x="44957" y="27431"/>
                </a:lnTo>
                <a:close/>
              </a:path>
              <a:path w="335279" h="267970">
                <a:moveTo>
                  <a:pt x="44957" y="37337"/>
                </a:moveTo>
                <a:lnTo>
                  <a:pt x="44957" y="27431"/>
                </a:lnTo>
                <a:lnTo>
                  <a:pt x="40385" y="31241"/>
                </a:lnTo>
                <a:lnTo>
                  <a:pt x="40385" y="37337"/>
                </a:lnTo>
                <a:lnTo>
                  <a:pt x="44957" y="37337"/>
                </a:lnTo>
                <a:close/>
              </a:path>
              <a:path w="335279" h="267970">
                <a:moveTo>
                  <a:pt x="53316" y="17437"/>
                </a:moveTo>
                <a:lnTo>
                  <a:pt x="48127" y="10351"/>
                </a:lnTo>
                <a:lnTo>
                  <a:pt x="45295" y="10376"/>
                </a:lnTo>
                <a:lnTo>
                  <a:pt x="41282" y="27431"/>
                </a:lnTo>
                <a:lnTo>
                  <a:pt x="44957" y="27431"/>
                </a:lnTo>
                <a:lnTo>
                  <a:pt x="44957" y="37337"/>
                </a:lnTo>
                <a:lnTo>
                  <a:pt x="47243" y="37337"/>
                </a:lnTo>
                <a:lnTo>
                  <a:pt x="48767" y="35813"/>
                </a:lnTo>
                <a:lnTo>
                  <a:pt x="49529" y="33527"/>
                </a:lnTo>
                <a:lnTo>
                  <a:pt x="53316" y="17437"/>
                </a:lnTo>
                <a:close/>
              </a:path>
              <a:path w="335279" h="267970">
                <a:moveTo>
                  <a:pt x="60116" y="10243"/>
                </a:moveTo>
                <a:lnTo>
                  <a:pt x="54863" y="3047"/>
                </a:lnTo>
                <a:lnTo>
                  <a:pt x="54101" y="1523"/>
                </a:lnTo>
                <a:lnTo>
                  <a:pt x="48767" y="1523"/>
                </a:lnTo>
                <a:lnTo>
                  <a:pt x="47243" y="3047"/>
                </a:lnTo>
                <a:lnTo>
                  <a:pt x="46481" y="5333"/>
                </a:lnTo>
                <a:lnTo>
                  <a:pt x="45295" y="10376"/>
                </a:lnTo>
                <a:lnTo>
                  <a:pt x="47243" y="10359"/>
                </a:lnTo>
                <a:lnTo>
                  <a:pt x="47243" y="9143"/>
                </a:lnTo>
                <a:lnTo>
                  <a:pt x="55625" y="7619"/>
                </a:lnTo>
                <a:lnTo>
                  <a:pt x="55625" y="10283"/>
                </a:lnTo>
                <a:lnTo>
                  <a:pt x="60116" y="10243"/>
                </a:lnTo>
                <a:close/>
              </a:path>
              <a:path w="335279" h="267970">
                <a:moveTo>
                  <a:pt x="55625" y="7619"/>
                </a:moveTo>
                <a:lnTo>
                  <a:pt x="47243" y="9143"/>
                </a:lnTo>
                <a:lnTo>
                  <a:pt x="48127" y="10351"/>
                </a:lnTo>
                <a:lnTo>
                  <a:pt x="54997" y="10289"/>
                </a:lnTo>
                <a:lnTo>
                  <a:pt x="55625" y="7619"/>
                </a:lnTo>
                <a:close/>
              </a:path>
              <a:path w="335279" h="267970">
                <a:moveTo>
                  <a:pt x="48127" y="10351"/>
                </a:moveTo>
                <a:lnTo>
                  <a:pt x="47243" y="9143"/>
                </a:lnTo>
                <a:lnTo>
                  <a:pt x="47243" y="10359"/>
                </a:lnTo>
                <a:lnTo>
                  <a:pt x="48127" y="10351"/>
                </a:lnTo>
                <a:close/>
              </a:path>
              <a:path w="335279" h="267970">
                <a:moveTo>
                  <a:pt x="54997" y="10289"/>
                </a:moveTo>
                <a:lnTo>
                  <a:pt x="48127" y="10351"/>
                </a:lnTo>
                <a:lnTo>
                  <a:pt x="53316" y="17437"/>
                </a:lnTo>
                <a:lnTo>
                  <a:pt x="54997" y="10289"/>
                </a:lnTo>
                <a:close/>
              </a:path>
              <a:path w="335279" h="267970">
                <a:moveTo>
                  <a:pt x="240605" y="257499"/>
                </a:moveTo>
                <a:lnTo>
                  <a:pt x="60116" y="10243"/>
                </a:lnTo>
                <a:lnTo>
                  <a:pt x="54997" y="10289"/>
                </a:lnTo>
                <a:lnTo>
                  <a:pt x="53316" y="17437"/>
                </a:lnTo>
                <a:lnTo>
                  <a:pt x="234695" y="265176"/>
                </a:lnTo>
                <a:lnTo>
                  <a:pt x="235457" y="266699"/>
                </a:lnTo>
                <a:lnTo>
                  <a:pt x="236981" y="267462"/>
                </a:lnTo>
                <a:lnTo>
                  <a:pt x="237743" y="267462"/>
                </a:lnTo>
                <a:lnTo>
                  <a:pt x="237743" y="257555"/>
                </a:lnTo>
                <a:lnTo>
                  <a:pt x="240605" y="257499"/>
                </a:lnTo>
                <a:close/>
              </a:path>
              <a:path w="335279" h="267970">
                <a:moveTo>
                  <a:pt x="55625" y="10283"/>
                </a:moveTo>
                <a:lnTo>
                  <a:pt x="55625" y="7619"/>
                </a:lnTo>
                <a:lnTo>
                  <a:pt x="54997" y="10289"/>
                </a:lnTo>
                <a:lnTo>
                  <a:pt x="55625" y="10283"/>
                </a:lnTo>
                <a:close/>
              </a:path>
              <a:path w="335279" h="267970">
                <a:moveTo>
                  <a:pt x="97535" y="9905"/>
                </a:moveTo>
                <a:lnTo>
                  <a:pt x="93725" y="7619"/>
                </a:lnTo>
                <a:lnTo>
                  <a:pt x="95417" y="9925"/>
                </a:lnTo>
                <a:lnTo>
                  <a:pt x="97535" y="9905"/>
                </a:lnTo>
                <a:close/>
              </a:path>
              <a:path w="335279" h="267970">
                <a:moveTo>
                  <a:pt x="95417" y="9925"/>
                </a:moveTo>
                <a:lnTo>
                  <a:pt x="93725" y="7619"/>
                </a:lnTo>
                <a:lnTo>
                  <a:pt x="93725" y="9940"/>
                </a:lnTo>
                <a:lnTo>
                  <a:pt x="95417" y="9925"/>
                </a:lnTo>
                <a:close/>
              </a:path>
              <a:path w="335279" h="267970">
                <a:moveTo>
                  <a:pt x="97535" y="12812"/>
                </a:moveTo>
                <a:lnTo>
                  <a:pt x="97535" y="9905"/>
                </a:lnTo>
                <a:lnTo>
                  <a:pt x="95417" y="9925"/>
                </a:lnTo>
                <a:lnTo>
                  <a:pt x="97535" y="12812"/>
                </a:lnTo>
                <a:close/>
              </a:path>
              <a:path w="335279" h="267970">
                <a:moveTo>
                  <a:pt x="242315" y="259841"/>
                </a:moveTo>
                <a:lnTo>
                  <a:pt x="240605" y="257499"/>
                </a:lnTo>
                <a:lnTo>
                  <a:pt x="237743" y="257555"/>
                </a:lnTo>
                <a:lnTo>
                  <a:pt x="242315" y="259841"/>
                </a:lnTo>
                <a:close/>
              </a:path>
              <a:path w="335279" h="267970">
                <a:moveTo>
                  <a:pt x="242315" y="267385"/>
                </a:moveTo>
                <a:lnTo>
                  <a:pt x="242315" y="259841"/>
                </a:lnTo>
                <a:lnTo>
                  <a:pt x="237743" y="257555"/>
                </a:lnTo>
                <a:lnTo>
                  <a:pt x="237743" y="267462"/>
                </a:lnTo>
                <a:lnTo>
                  <a:pt x="242315" y="267385"/>
                </a:lnTo>
                <a:close/>
              </a:path>
              <a:path w="335279" h="267970">
                <a:moveTo>
                  <a:pt x="314705" y="265938"/>
                </a:moveTo>
                <a:lnTo>
                  <a:pt x="314705" y="256031"/>
                </a:lnTo>
                <a:lnTo>
                  <a:pt x="310133" y="259079"/>
                </a:lnTo>
                <a:lnTo>
                  <a:pt x="310133" y="256122"/>
                </a:lnTo>
                <a:lnTo>
                  <a:pt x="240605" y="257499"/>
                </a:lnTo>
                <a:lnTo>
                  <a:pt x="242315" y="259841"/>
                </a:lnTo>
                <a:lnTo>
                  <a:pt x="242315" y="267385"/>
                </a:lnTo>
                <a:lnTo>
                  <a:pt x="310133" y="266029"/>
                </a:lnTo>
                <a:lnTo>
                  <a:pt x="310133" y="259079"/>
                </a:lnTo>
                <a:lnTo>
                  <a:pt x="311702" y="256091"/>
                </a:lnTo>
                <a:lnTo>
                  <a:pt x="311702" y="265998"/>
                </a:lnTo>
                <a:lnTo>
                  <a:pt x="314705" y="265938"/>
                </a:lnTo>
                <a:close/>
              </a:path>
              <a:path w="335279" h="267970">
                <a:moveTo>
                  <a:pt x="281939" y="248411"/>
                </a:moveTo>
                <a:lnTo>
                  <a:pt x="277910" y="242920"/>
                </a:lnTo>
                <a:lnTo>
                  <a:pt x="274319" y="248411"/>
                </a:lnTo>
                <a:lnTo>
                  <a:pt x="281939" y="248411"/>
                </a:lnTo>
                <a:close/>
              </a:path>
              <a:path w="335279" h="267970">
                <a:moveTo>
                  <a:pt x="281939" y="255269"/>
                </a:moveTo>
                <a:lnTo>
                  <a:pt x="281939" y="248411"/>
                </a:lnTo>
                <a:lnTo>
                  <a:pt x="274319" y="248411"/>
                </a:lnTo>
                <a:lnTo>
                  <a:pt x="274319" y="253745"/>
                </a:lnTo>
                <a:lnTo>
                  <a:pt x="275843" y="255269"/>
                </a:lnTo>
                <a:lnTo>
                  <a:pt x="277367" y="256031"/>
                </a:lnTo>
                <a:lnTo>
                  <a:pt x="280415" y="256031"/>
                </a:lnTo>
                <a:lnTo>
                  <a:pt x="281939" y="255269"/>
                </a:lnTo>
                <a:close/>
              </a:path>
              <a:path w="335279" h="267970">
                <a:moveTo>
                  <a:pt x="335279" y="231647"/>
                </a:moveTo>
                <a:lnTo>
                  <a:pt x="335279" y="230123"/>
                </a:lnTo>
                <a:lnTo>
                  <a:pt x="334517" y="228599"/>
                </a:lnTo>
                <a:lnTo>
                  <a:pt x="332993" y="227075"/>
                </a:lnTo>
                <a:lnTo>
                  <a:pt x="331469" y="226313"/>
                </a:lnTo>
                <a:lnTo>
                  <a:pt x="289559" y="226313"/>
                </a:lnTo>
                <a:lnTo>
                  <a:pt x="288035" y="227075"/>
                </a:lnTo>
                <a:lnTo>
                  <a:pt x="287273" y="228599"/>
                </a:lnTo>
                <a:lnTo>
                  <a:pt x="277910" y="242920"/>
                </a:lnTo>
                <a:lnTo>
                  <a:pt x="281939" y="248411"/>
                </a:lnTo>
                <a:lnTo>
                  <a:pt x="281939" y="255269"/>
                </a:lnTo>
                <a:lnTo>
                  <a:pt x="282701" y="253745"/>
                </a:lnTo>
                <a:lnTo>
                  <a:pt x="291083" y="239601"/>
                </a:lnTo>
                <a:lnTo>
                  <a:pt x="291083" y="235457"/>
                </a:lnTo>
                <a:lnTo>
                  <a:pt x="294893" y="233171"/>
                </a:lnTo>
                <a:lnTo>
                  <a:pt x="294893" y="235457"/>
                </a:lnTo>
                <a:lnTo>
                  <a:pt x="322535" y="235457"/>
                </a:lnTo>
                <a:lnTo>
                  <a:pt x="326135" y="228599"/>
                </a:lnTo>
                <a:lnTo>
                  <a:pt x="329945" y="235457"/>
                </a:lnTo>
                <a:lnTo>
                  <a:pt x="329945" y="241880"/>
                </a:lnTo>
                <a:lnTo>
                  <a:pt x="334517" y="233171"/>
                </a:lnTo>
                <a:lnTo>
                  <a:pt x="335279" y="231647"/>
                </a:lnTo>
                <a:close/>
              </a:path>
              <a:path w="335279" h="267970">
                <a:moveTo>
                  <a:pt x="294893" y="233171"/>
                </a:moveTo>
                <a:lnTo>
                  <a:pt x="291083" y="235457"/>
                </a:lnTo>
                <a:lnTo>
                  <a:pt x="293539" y="235457"/>
                </a:lnTo>
                <a:lnTo>
                  <a:pt x="294893" y="233171"/>
                </a:lnTo>
                <a:close/>
              </a:path>
              <a:path w="335279" h="267970">
                <a:moveTo>
                  <a:pt x="293539" y="235457"/>
                </a:moveTo>
                <a:lnTo>
                  <a:pt x="291083" y="235457"/>
                </a:lnTo>
                <a:lnTo>
                  <a:pt x="291083" y="239601"/>
                </a:lnTo>
                <a:lnTo>
                  <a:pt x="293539" y="235457"/>
                </a:lnTo>
                <a:close/>
              </a:path>
              <a:path w="335279" h="267970">
                <a:moveTo>
                  <a:pt x="294893" y="235457"/>
                </a:moveTo>
                <a:lnTo>
                  <a:pt x="294893" y="233171"/>
                </a:lnTo>
                <a:lnTo>
                  <a:pt x="293539" y="235457"/>
                </a:lnTo>
                <a:lnTo>
                  <a:pt x="294893" y="235457"/>
                </a:lnTo>
                <a:close/>
              </a:path>
              <a:path w="335279" h="267970">
                <a:moveTo>
                  <a:pt x="314705" y="256031"/>
                </a:moveTo>
                <a:lnTo>
                  <a:pt x="311702" y="256091"/>
                </a:lnTo>
                <a:lnTo>
                  <a:pt x="310133" y="259079"/>
                </a:lnTo>
                <a:lnTo>
                  <a:pt x="314705" y="256031"/>
                </a:lnTo>
                <a:close/>
              </a:path>
              <a:path w="335279" h="267970">
                <a:moveTo>
                  <a:pt x="329945" y="241880"/>
                </a:moveTo>
                <a:lnTo>
                  <a:pt x="329945" y="235457"/>
                </a:lnTo>
                <a:lnTo>
                  <a:pt x="322535" y="235457"/>
                </a:lnTo>
                <a:lnTo>
                  <a:pt x="311702" y="256091"/>
                </a:lnTo>
                <a:lnTo>
                  <a:pt x="314705" y="256031"/>
                </a:lnTo>
                <a:lnTo>
                  <a:pt x="314705" y="265938"/>
                </a:lnTo>
                <a:lnTo>
                  <a:pt x="316229" y="265938"/>
                </a:lnTo>
                <a:lnTo>
                  <a:pt x="317753" y="265176"/>
                </a:lnTo>
                <a:lnTo>
                  <a:pt x="318515" y="263652"/>
                </a:lnTo>
                <a:lnTo>
                  <a:pt x="329945" y="241880"/>
                </a:lnTo>
                <a:close/>
              </a:path>
              <a:path w="335279" h="267970">
                <a:moveTo>
                  <a:pt x="329945" y="235457"/>
                </a:moveTo>
                <a:lnTo>
                  <a:pt x="326135" y="228599"/>
                </a:lnTo>
                <a:lnTo>
                  <a:pt x="322535" y="235457"/>
                </a:lnTo>
                <a:lnTo>
                  <a:pt x="329945" y="2354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7" name="object 79"/>
          <p:cNvSpPr/>
          <p:nvPr/>
        </p:nvSpPr>
        <p:spPr>
          <a:xfrm>
            <a:off x="5760893" y="1451039"/>
            <a:ext cx="276327" cy="86342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8" name="object 80"/>
          <p:cNvSpPr/>
          <p:nvPr/>
        </p:nvSpPr>
        <p:spPr>
          <a:xfrm>
            <a:off x="5757368" y="1449008"/>
            <a:ext cx="283549" cy="90574"/>
          </a:xfrm>
          <a:custGeom>
            <a:avLst/>
            <a:gdLst/>
            <a:ahLst/>
            <a:cxnLst/>
            <a:rect l="l" t="t" r="r" b="b"/>
            <a:pathLst>
              <a:path w="429259" h="203835">
                <a:moveTo>
                  <a:pt x="429005" y="199644"/>
                </a:moveTo>
                <a:lnTo>
                  <a:pt x="280415" y="1524"/>
                </a:lnTo>
                <a:lnTo>
                  <a:pt x="278129" y="0"/>
                </a:lnTo>
                <a:lnTo>
                  <a:pt x="3809" y="0"/>
                </a:lnTo>
                <a:lnTo>
                  <a:pt x="1523" y="762"/>
                </a:lnTo>
                <a:lnTo>
                  <a:pt x="761" y="3048"/>
                </a:lnTo>
                <a:lnTo>
                  <a:pt x="0" y="4572"/>
                </a:lnTo>
                <a:lnTo>
                  <a:pt x="0" y="6096"/>
                </a:lnTo>
                <a:lnTo>
                  <a:pt x="1523" y="7620"/>
                </a:lnTo>
                <a:lnTo>
                  <a:pt x="5333" y="12871"/>
                </a:lnTo>
                <a:lnTo>
                  <a:pt x="5333" y="9906"/>
                </a:lnTo>
                <a:lnTo>
                  <a:pt x="9143" y="2286"/>
                </a:lnTo>
                <a:lnTo>
                  <a:pt x="14674" y="9879"/>
                </a:lnTo>
                <a:lnTo>
                  <a:pt x="272795" y="9154"/>
                </a:lnTo>
                <a:lnTo>
                  <a:pt x="272795" y="7620"/>
                </a:lnTo>
                <a:lnTo>
                  <a:pt x="276605" y="9144"/>
                </a:lnTo>
                <a:lnTo>
                  <a:pt x="276605" y="12653"/>
                </a:lnTo>
                <a:lnTo>
                  <a:pt x="414094" y="194310"/>
                </a:lnTo>
                <a:lnTo>
                  <a:pt x="423671" y="194310"/>
                </a:lnTo>
                <a:lnTo>
                  <a:pt x="423671" y="203454"/>
                </a:lnTo>
                <a:lnTo>
                  <a:pt x="425195" y="203454"/>
                </a:lnTo>
                <a:lnTo>
                  <a:pt x="427481" y="202692"/>
                </a:lnTo>
                <a:lnTo>
                  <a:pt x="429005" y="199644"/>
                </a:lnTo>
                <a:close/>
              </a:path>
              <a:path w="429259" h="203835">
                <a:moveTo>
                  <a:pt x="14674" y="9879"/>
                </a:moveTo>
                <a:lnTo>
                  <a:pt x="9143" y="2286"/>
                </a:lnTo>
                <a:lnTo>
                  <a:pt x="5333" y="9906"/>
                </a:lnTo>
                <a:lnTo>
                  <a:pt x="14674" y="9879"/>
                </a:lnTo>
                <a:close/>
              </a:path>
              <a:path w="429259" h="203835">
                <a:moveTo>
                  <a:pt x="149003" y="194310"/>
                </a:moveTo>
                <a:lnTo>
                  <a:pt x="14674" y="9879"/>
                </a:lnTo>
                <a:lnTo>
                  <a:pt x="5333" y="9906"/>
                </a:lnTo>
                <a:lnTo>
                  <a:pt x="5333" y="12871"/>
                </a:lnTo>
                <a:lnTo>
                  <a:pt x="142493" y="201930"/>
                </a:lnTo>
                <a:lnTo>
                  <a:pt x="143255" y="202692"/>
                </a:lnTo>
                <a:lnTo>
                  <a:pt x="144779" y="203454"/>
                </a:lnTo>
                <a:lnTo>
                  <a:pt x="146303" y="203454"/>
                </a:lnTo>
                <a:lnTo>
                  <a:pt x="146303" y="194310"/>
                </a:lnTo>
                <a:lnTo>
                  <a:pt x="149003" y="194310"/>
                </a:lnTo>
                <a:close/>
              </a:path>
              <a:path w="429259" h="203835">
                <a:moveTo>
                  <a:pt x="150113" y="195834"/>
                </a:moveTo>
                <a:lnTo>
                  <a:pt x="149003" y="194310"/>
                </a:lnTo>
                <a:lnTo>
                  <a:pt x="146303" y="194310"/>
                </a:lnTo>
                <a:lnTo>
                  <a:pt x="150113" y="195834"/>
                </a:lnTo>
                <a:close/>
              </a:path>
              <a:path w="429259" h="203835">
                <a:moveTo>
                  <a:pt x="150113" y="203454"/>
                </a:moveTo>
                <a:lnTo>
                  <a:pt x="150113" y="195834"/>
                </a:lnTo>
                <a:lnTo>
                  <a:pt x="146303" y="194310"/>
                </a:lnTo>
                <a:lnTo>
                  <a:pt x="146303" y="203454"/>
                </a:lnTo>
                <a:lnTo>
                  <a:pt x="150113" y="203454"/>
                </a:lnTo>
                <a:close/>
              </a:path>
              <a:path w="429259" h="203835">
                <a:moveTo>
                  <a:pt x="423671" y="203454"/>
                </a:moveTo>
                <a:lnTo>
                  <a:pt x="423671" y="194310"/>
                </a:lnTo>
                <a:lnTo>
                  <a:pt x="419861" y="201930"/>
                </a:lnTo>
                <a:lnTo>
                  <a:pt x="414094" y="194310"/>
                </a:lnTo>
                <a:lnTo>
                  <a:pt x="149003" y="194310"/>
                </a:lnTo>
                <a:lnTo>
                  <a:pt x="150113" y="195834"/>
                </a:lnTo>
                <a:lnTo>
                  <a:pt x="150113" y="203454"/>
                </a:lnTo>
                <a:lnTo>
                  <a:pt x="423671" y="203454"/>
                </a:lnTo>
                <a:close/>
              </a:path>
              <a:path w="429259" h="203835">
                <a:moveTo>
                  <a:pt x="276605" y="9144"/>
                </a:moveTo>
                <a:lnTo>
                  <a:pt x="272795" y="7620"/>
                </a:lnTo>
                <a:lnTo>
                  <a:pt x="273955" y="9151"/>
                </a:lnTo>
                <a:lnTo>
                  <a:pt x="276605" y="9144"/>
                </a:lnTo>
                <a:close/>
              </a:path>
              <a:path w="429259" h="203835">
                <a:moveTo>
                  <a:pt x="273955" y="9151"/>
                </a:moveTo>
                <a:lnTo>
                  <a:pt x="272795" y="7620"/>
                </a:lnTo>
                <a:lnTo>
                  <a:pt x="272795" y="9154"/>
                </a:lnTo>
                <a:lnTo>
                  <a:pt x="273955" y="9151"/>
                </a:lnTo>
                <a:close/>
              </a:path>
              <a:path w="429259" h="203835">
                <a:moveTo>
                  <a:pt x="276605" y="12653"/>
                </a:moveTo>
                <a:lnTo>
                  <a:pt x="276605" y="9144"/>
                </a:lnTo>
                <a:lnTo>
                  <a:pt x="273955" y="9151"/>
                </a:lnTo>
                <a:lnTo>
                  <a:pt x="276605" y="12653"/>
                </a:lnTo>
                <a:close/>
              </a:path>
              <a:path w="429259" h="203835">
                <a:moveTo>
                  <a:pt x="423671" y="194310"/>
                </a:moveTo>
                <a:lnTo>
                  <a:pt x="414094" y="194310"/>
                </a:lnTo>
                <a:lnTo>
                  <a:pt x="419861" y="201930"/>
                </a:lnTo>
                <a:lnTo>
                  <a:pt x="423671" y="19431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9" name="object 81"/>
          <p:cNvSpPr/>
          <p:nvPr/>
        </p:nvSpPr>
        <p:spPr>
          <a:xfrm>
            <a:off x="6113233" y="1437609"/>
            <a:ext cx="214416" cy="113993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0" name="object 82"/>
          <p:cNvSpPr/>
          <p:nvPr/>
        </p:nvSpPr>
        <p:spPr>
          <a:xfrm>
            <a:off x="6109198" y="1434788"/>
            <a:ext cx="221471" cy="119073"/>
          </a:xfrm>
          <a:custGeom>
            <a:avLst/>
            <a:gdLst/>
            <a:ahLst/>
            <a:cxnLst/>
            <a:rect l="l" t="t" r="r" b="b"/>
            <a:pathLst>
              <a:path w="335279" h="267970">
                <a:moveTo>
                  <a:pt x="278557" y="242763"/>
                </a:moveTo>
                <a:lnTo>
                  <a:pt x="102107" y="2285"/>
                </a:lnTo>
                <a:lnTo>
                  <a:pt x="101345" y="761"/>
                </a:lnTo>
                <a:lnTo>
                  <a:pt x="99821" y="0"/>
                </a:lnTo>
                <a:lnTo>
                  <a:pt x="18287" y="720"/>
                </a:lnTo>
                <a:lnTo>
                  <a:pt x="11429" y="761"/>
                </a:lnTo>
                <a:lnTo>
                  <a:pt x="9905" y="2285"/>
                </a:lnTo>
                <a:lnTo>
                  <a:pt x="9143" y="4571"/>
                </a:lnTo>
                <a:lnTo>
                  <a:pt x="761" y="31241"/>
                </a:lnTo>
                <a:lnTo>
                  <a:pt x="0" y="32765"/>
                </a:lnTo>
                <a:lnTo>
                  <a:pt x="761" y="34289"/>
                </a:lnTo>
                <a:lnTo>
                  <a:pt x="1523" y="35051"/>
                </a:lnTo>
                <a:lnTo>
                  <a:pt x="2285" y="36575"/>
                </a:lnTo>
                <a:lnTo>
                  <a:pt x="3809" y="37337"/>
                </a:lnTo>
                <a:lnTo>
                  <a:pt x="5333" y="37337"/>
                </a:lnTo>
                <a:lnTo>
                  <a:pt x="5333" y="27431"/>
                </a:lnTo>
                <a:lnTo>
                  <a:pt x="11821" y="27431"/>
                </a:lnTo>
                <a:lnTo>
                  <a:pt x="13715" y="21405"/>
                </a:lnTo>
                <a:lnTo>
                  <a:pt x="13715" y="10667"/>
                </a:lnTo>
                <a:lnTo>
                  <a:pt x="18287" y="6857"/>
                </a:lnTo>
                <a:lnTo>
                  <a:pt x="18287" y="10626"/>
                </a:lnTo>
                <a:lnTo>
                  <a:pt x="45908" y="10377"/>
                </a:lnTo>
                <a:lnTo>
                  <a:pt x="47243" y="5333"/>
                </a:lnTo>
                <a:lnTo>
                  <a:pt x="47243" y="3047"/>
                </a:lnTo>
                <a:lnTo>
                  <a:pt x="48767" y="1523"/>
                </a:lnTo>
                <a:lnTo>
                  <a:pt x="54101" y="1523"/>
                </a:lnTo>
                <a:lnTo>
                  <a:pt x="55625" y="3047"/>
                </a:lnTo>
                <a:lnTo>
                  <a:pt x="60857" y="10243"/>
                </a:lnTo>
                <a:lnTo>
                  <a:pt x="94487" y="9940"/>
                </a:lnTo>
                <a:lnTo>
                  <a:pt x="94487" y="7619"/>
                </a:lnTo>
                <a:lnTo>
                  <a:pt x="98297" y="9905"/>
                </a:lnTo>
                <a:lnTo>
                  <a:pt x="98297" y="12812"/>
                </a:lnTo>
                <a:lnTo>
                  <a:pt x="275081" y="253745"/>
                </a:lnTo>
                <a:lnTo>
                  <a:pt x="275081" y="248411"/>
                </a:lnTo>
                <a:lnTo>
                  <a:pt x="278557" y="242763"/>
                </a:lnTo>
                <a:close/>
              </a:path>
              <a:path w="335279" h="267970">
                <a:moveTo>
                  <a:pt x="11821" y="27431"/>
                </a:moveTo>
                <a:lnTo>
                  <a:pt x="5333" y="27431"/>
                </a:lnTo>
                <a:lnTo>
                  <a:pt x="9905" y="33527"/>
                </a:lnTo>
                <a:lnTo>
                  <a:pt x="11821" y="27431"/>
                </a:lnTo>
                <a:close/>
              </a:path>
              <a:path w="335279" h="267970">
                <a:moveTo>
                  <a:pt x="41394" y="27431"/>
                </a:moveTo>
                <a:lnTo>
                  <a:pt x="11821" y="27431"/>
                </a:lnTo>
                <a:lnTo>
                  <a:pt x="9905" y="33527"/>
                </a:lnTo>
                <a:lnTo>
                  <a:pt x="5333" y="27431"/>
                </a:lnTo>
                <a:lnTo>
                  <a:pt x="5333" y="37337"/>
                </a:lnTo>
                <a:lnTo>
                  <a:pt x="40385" y="37337"/>
                </a:lnTo>
                <a:lnTo>
                  <a:pt x="40385" y="31241"/>
                </a:lnTo>
                <a:lnTo>
                  <a:pt x="41394" y="27431"/>
                </a:lnTo>
                <a:close/>
              </a:path>
              <a:path w="335279" h="267970">
                <a:moveTo>
                  <a:pt x="18287" y="6857"/>
                </a:moveTo>
                <a:lnTo>
                  <a:pt x="13715" y="10667"/>
                </a:lnTo>
                <a:lnTo>
                  <a:pt x="17100" y="10637"/>
                </a:lnTo>
                <a:lnTo>
                  <a:pt x="18287" y="6857"/>
                </a:lnTo>
                <a:close/>
              </a:path>
              <a:path w="335279" h="267970">
                <a:moveTo>
                  <a:pt x="17100" y="10637"/>
                </a:moveTo>
                <a:lnTo>
                  <a:pt x="13715" y="10667"/>
                </a:lnTo>
                <a:lnTo>
                  <a:pt x="13715" y="21405"/>
                </a:lnTo>
                <a:lnTo>
                  <a:pt x="17100" y="10637"/>
                </a:lnTo>
                <a:close/>
              </a:path>
              <a:path w="335279" h="267970">
                <a:moveTo>
                  <a:pt x="18287" y="10626"/>
                </a:moveTo>
                <a:lnTo>
                  <a:pt x="18287" y="6857"/>
                </a:lnTo>
                <a:lnTo>
                  <a:pt x="17100" y="10637"/>
                </a:lnTo>
                <a:lnTo>
                  <a:pt x="18287" y="10626"/>
                </a:lnTo>
                <a:close/>
              </a:path>
              <a:path w="335279" h="267970">
                <a:moveTo>
                  <a:pt x="44957" y="27431"/>
                </a:moveTo>
                <a:lnTo>
                  <a:pt x="41394" y="27431"/>
                </a:lnTo>
                <a:lnTo>
                  <a:pt x="40385" y="31241"/>
                </a:lnTo>
                <a:lnTo>
                  <a:pt x="44957" y="27431"/>
                </a:lnTo>
                <a:close/>
              </a:path>
              <a:path w="335279" h="267970">
                <a:moveTo>
                  <a:pt x="44957" y="37337"/>
                </a:moveTo>
                <a:lnTo>
                  <a:pt x="44957" y="27431"/>
                </a:lnTo>
                <a:lnTo>
                  <a:pt x="40385" y="31241"/>
                </a:lnTo>
                <a:lnTo>
                  <a:pt x="40385" y="37337"/>
                </a:lnTo>
                <a:lnTo>
                  <a:pt x="44957" y="37337"/>
                </a:lnTo>
                <a:close/>
              </a:path>
              <a:path w="335279" h="267970">
                <a:moveTo>
                  <a:pt x="53859" y="17171"/>
                </a:moveTo>
                <a:lnTo>
                  <a:pt x="48886" y="10351"/>
                </a:lnTo>
                <a:lnTo>
                  <a:pt x="45908" y="10377"/>
                </a:lnTo>
                <a:lnTo>
                  <a:pt x="41394" y="27431"/>
                </a:lnTo>
                <a:lnTo>
                  <a:pt x="44957" y="27431"/>
                </a:lnTo>
                <a:lnTo>
                  <a:pt x="44957" y="37337"/>
                </a:lnTo>
                <a:lnTo>
                  <a:pt x="47243" y="37337"/>
                </a:lnTo>
                <a:lnTo>
                  <a:pt x="49529" y="35813"/>
                </a:lnTo>
                <a:lnTo>
                  <a:pt x="49529" y="33527"/>
                </a:lnTo>
                <a:lnTo>
                  <a:pt x="53859" y="17171"/>
                </a:lnTo>
                <a:close/>
              </a:path>
              <a:path w="335279" h="267970">
                <a:moveTo>
                  <a:pt x="60857" y="10243"/>
                </a:moveTo>
                <a:lnTo>
                  <a:pt x="55625" y="3047"/>
                </a:lnTo>
                <a:lnTo>
                  <a:pt x="54101" y="1523"/>
                </a:lnTo>
                <a:lnTo>
                  <a:pt x="48767" y="1523"/>
                </a:lnTo>
                <a:lnTo>
                  <a:pt x="47243" y="3047"/>
                </a:lnTo>
                <a:lnTo>
                  <a:pt x="47243" y="5333"/>
                </a:lnTo>
                <a:lnTo>
                  <a:pt x="45908" y="10377"/>
                </a:lnTo>
                <a:lnTo>
                  <a:pt x="48005" y="10359"/>
                </a:lnTo>
                <a:lnTo>
                  <a:pt x="48005" y="9143"/>
                </a:lnTo>
                <a:lnTo>
                  <a:pt x="56387" y="7619"/>
                </a:lnTo>
                <a:lnTo>
                  <a:pt x="56387" y="10283"/>
                </a:lnTo>
                <a:lnTo>
                  <a:pt x="60857" y="10243"/>
                </a:lnTo>
                <a:close/>
              </a:path>
              <a:path w="335279" h="267970">
                <a:moveTo>
                  <a:pt x="56387" y="7619"/>
                </a:moveTo>
                <a:lnTo>
                  <a:pt x="48005" y="9143"/>
                </a:lnTo>
                <a:lnTo>
                  <a:pt x="48886" y="10351"/>
                </a:lnTo>
                <a:lnTo>
                  <a:pt x="55681" y="10289"/>
                </a:lnTo>
                <a:lnTo>
                  <a:pt x="56387" y="7619"/>
                </a:lnTo>
                <a:close/>
              </a:path>
              <a:path w="335279" h="267970">
                <a:moveTo>
                  <a:pt x="48886" y="10351"/>
                </a:moveTo>
                <a:lnTo>
                  <a:pt x="48005" y="9143"/>
                </a:lnTo>
                <a:lnTo>
                  <a:pt x="48005" y="10359"/>
                </a:lnTo>
                <a:lnTo>
                  <a:pt x="48886" y="10351"/>
                </a:lnTo>
                <a:close/>
              </a:path>
              <a:path w="335279" h="267970">
                <a:moveTo>
                  <a:pt x="55681" y="10289"/>
                </a:moveTo>
                <a:lnTo>
                  <a:pt x="48886" y="10351"/>
                </a:lnTo>
                <a:lnTo>
                  <a:pt x="53859" y="17171"/>
                </a:lnTo>
                <a:lnTo>
                  <a:pt x="55681" y="10289"/>
                </a:lnTo>
                <a:close/>
              </a:path>
              <a:path w="335279" h="267970">
                <a:moveTo>
                  <a:pt x="240623" y="257513"/>
                </a:moveTo>
                <a:lnTo>
                  <a:pt x="60857" y="10243"/>
                </a:lnTo>
                <a:lnTo>
                  <a:pt x="55681" y="10289"/>
                </a:lnTo>
                <a:lnTo>
                  <a:pt x="53859" y="17171"/>
                </a:lnTo>
                <a:lnTo>
                  <a:pt x="234695" y="265176"/>
                </a:lnTo>
                <a:lnTo>
                  <a:pt x="235457" y="266699"/>
                </a:lnTo>
                <a:lnTo>
                  <a:pt x="236981" y="267462"/>
                </a:lnTo>
                <a:lnTo>
                  <a:pt x="238505" y="267462"/>
                </a:lnTo>
                <a:lnTo>
                  <a:pt x="238505" y="257555"/>
                </a:lnTo>
                <a:lnTo>
                  <a:pt x="240623" y="257513"/>
                </a:lnTo>
                <a:close/>
              </a:path>
              <a:path w="335279" h="267970">
                <a:moveTo>
                  <a:pt x="56387" y="10283"/>
                </a:moveTo>
                <a:lnTo>
                  <a:pt x="56387" y="7619"/>
                </a:lnTo>
                <a:lnTo>
                  <a:pt x="55681" y="10289"/>
                </a:lnTo>
                <a:lnTo>
                  <a:pt x="56387" y="10283"/>
                </a:lnTo>
                <a:close/>
              </a:path>
              <a:path w="335279" h="267970">
                <a:moveTo>
                  <a:pt x="98297" y="9905"/>
                </a:moveTo>
                <a:lnTo>
                  <a:pt x="94487" y="7619"/>
                </a:lnTo>
                <a:lnTo>
                  <a:pt x="96179" y="9925"/>
                </a:lnTo>
                <a:lnTo>
                  <a:pt x="98297" y="9905"/>
                </a:lnTo>
                <a:close/>
              </a:path>
              <a:path w="335279" h="267970">
                <a:moveTo>
                  <a:pt x="96179" y="9925"/>
                </a:moveTo>
                <a:lnTo>
                  <a:pt x="94487" y="7619"/>
                </a:lnTo>
                <a:lnTo>
                  <a:pt x="94487" y="9940"/>
                </a:lnTo>
                <a:lnTo>
                  <a:pt x="96179" y="9925"/>
                </a:lnTo>
                <a:close/>
              </a:path>
              <a:path w="335279" h="267970">
                <a:moveTo>
                  <a:pt x="98297" y="12812"/>
                </a:moveTo>
                <a:lnTo>
                  <a:pt x="98297" y="9905"/>
                </a:lnTo>
                <a:lnTo>
                  <a:pt x="96179" y="9925"/>
                </a:lnTo>
                <a:lnTo>
                  <a:pt x="98297" y="12812"/>
                </a:lnTo>
                <a:close/>
              </a:path>
              <a:path w="335279" h="267970">
                <a:moveTo>
                  <a:pt x="242315" y="259841"/>
                </a:moveTo>
                <a:lnTo>
                  <a:pt x="240623" y="257513"/>
                </a:lnTo>
                <a:lnTo>
                  <a:pt x="238505" y="257555"/>
                </a:lnTo>
                <a:lnTo>
                  <a:pt x="242315" y="259841"/>
                </a:lnTo>
                <a:close/>
              </a:path>
              <a:path w="335279" h="267970">
                <a:moveTo>
                  <a:pt x="242315" y="267385"/>
                </a:moveTo>
                <a:lnTo>
                  <a:pt x="242315" y="259841"/>
                </a:lnTo>
                <a:lnTo>
                  <a:pt x="238505" y="257555"/>
                </a:lnTo>
                <a:lnTo>
                  <a:pt x="238505" y="267462"/>
                </a:lnTo>
                <a:lnTo>
                  <a:pt x="242315" y="267385"/>
                </a:lnTo>
                <a:close/>
              </a:path>
              <a:path w="335279" h="267970">
                <a:moveTo>
                  <a:pt x="314705" y="265938"/>
                </a:moveTo>
                <a:lnTo>
                  <a:pt x="314705" y="256031"/>
                </a:lnTo>
                <a:lnTo>
                  <a:pt x="310895" y="259079"/>
                </a:lnTo>
                <a:lnTo>
                  <a:pt x="310895" y="256108"/>
                </a:lnTo>
                <a:lnTo>
                  <a:pt x="240623" y="257513"/>
                </a:lnTo>
                <a:lnTo>
                  <a:pt x="242315" y="259841"/>
                </a:lnTo>
                <a:lnTo>
                  <a:pt x="242315" y="267385"/>
                </a:lnTo>
                <a:lnTo>
                  <a:pt x="310895" y="266014"/>
                </a:lnTo>
                <a:lnTo>
                  <a:pt x="310895" y="259079"/>
                </a:lnTo>
                <a:lnTo>
                  <a:pt x="312396" y="256078"/>
                </a:lnTo>
                <a:lnTo>
                  <a:pt x="312396" y="265984"/>
                </a:lnTo>
                <a:lnTo>
                  <a:pt x="314705" y="265938"/>
                </a:lnTo>
                <a:close/>
              </a:path>
              <a:path w="335279" h="267970">
                <a:moveTo>
                  <a:pt x="282701" y="248411"/>
                </a:moveTo>
                <a:lnTo>
                  <a:pt x="278557" y="242763"/>
                </a:lnTo>
                <a:lnTo>
                  <a:pt x="275081" y="248411"/>
                </a:lnTo>
                <a:lnTo>
                  <a:pt x="282701" y="248411"/>
                </a:lnTo>
                <a:close/>
              </a:path>
              <a:path w="335279" h="267970">
                <a:moveTo>
                  <a:pt x="282701" y="253745"/>
                </a:moveTo>
                <a:lnTo>
                  <a:pt x="282701" y="248411"/>
                </a:lnTo>
                <a:lnTo>
                  <a:pt x="275081" y="248411"/>
                </a:lnTo>
                <a:lnTo>
                  <a:pt x="275081" y="253745"/>
                </a:lnTo>
                <a:lnTo>
                  <a:pt x="275843" y="255269"/>
                </a:lnTo>
                <a:lnTo>
                  <a:pt x="277367" y="256031"/>
                </a:lnTo>
                <a:lnTo>
                  <a:pt x="280415" y="256031"/>
                </a:lnTo>
                <a:lnTo>
                  <a:pt x="281939" y="255269"/>
                </a:lnTo>
                <a:lnTo>
                  <a:pt x="282701" y="253745"/>
                </a:lnTo>
                <a:close/>
              </a:path>
              <a:path w="335279" h="267970">
                <a:moveTo>
                  <a:pt x="335279" y="231647"/>
                </a:moveTo>
                <a:lnTo>
                  <a:pt x="335279" y="230123"/>
                </a:lnTo>
                <a:lnTo>
                  <a:pt x="333755" y="227075"/>
                </a:lnTo>
                <a:lnTo>
                  <a:pt x="332231" y="226313"/>
                </a:lnTo>
                <a:lnTo>
                  <a:pt x="289559" y="226313"/>
                </a:lnTo>
                <a:lnTo>
                  <a:pt x="288035" y="227075"/>
                </a:lnTo>
                <a:lnTo>
                  <a:pt x="287273" y="228599"/>
                </a:lnTo>
                <a:lnTo>
                  <a:pt x="278557" y="242763"/>
                </a:lnTo>
                <a:lnTo>
                  <a:pt x="282701" y="248411"/>
                </a:lnTo>
                <a:lnTo>
                  <a:pt x="282701" y="253745"/>
                </a:lnTo>
                <a:lnTo>
                  <a:pt x="291845" y="239223"/>
                </a:lnTo>
                <a:lnTo>
                  <a:pt x="291845" y="235457"/>
                </a:lnTo>
                <a:lnTo>
                  <a:pt x="295655" y="233171"/>
                </a:lnTo>
                <a:lnTo>
                  <a:pt x="295655" y="235457"/>
                </a:lnTo>
                <a:lnTo>
                  <a:pt x="322706" y="235457"/>
                </a:lnTo>
                <a:lnTo>
                  <a:pt x="326135" y="228599"/>
                </a:lnTo>
                <a:lnTo>
                  <a:pt x="330707" y="235457"/>
                </a:lnTo>
                <a:lnTo>
                  <a:pt x="330707" y="240791"/>
                </a:lnTo>
                <a:lnTo>
                  <a:pt x="335279" y="231647"/>
                </a:lnTo>
                <a:close/>
              </a:path>
              <a:path w="335279" h="267970">
                <a:moveTo>
                  <a:pt x="295655" y="233171"/>
                </a:moveTo>
                <a:lnTo>
                  <a:pt x="291845" y="235457"/>
                </a:lnTo>
                <a:lnTo>
                  <a:pt x="294216" y="235457"/>
                </a:lnTo>
                <a:lnTo>
                  <a:pt x="295655" y="233171"/>
                </a:lnTo>
                <a:close/>
              </a:path>
              <a:path w="335279" h="267970">
                <a:moveTo>
                  <a:pt x="294216" y="235457"/>
                </a:moveTo>
                <a:lnTo>
                  <a:pt x="291845" y="235457"/>
                </a:lnTo>
                <a:lnTo>
                  <a:pt x="291845" y="239223"/>
                </a:lnTo>
                <a:lnTo>
                  <a:pt x="294216" y="235457"/>
                </a:lnTo>
                <a:close/>
              </a:path>
              <a:path w="335279" h="267970">
                <a:moveTo>
                  <a:pt x="295655" y="235457"/>
                </a:moveTo>
                <a:lnTo>
                  <a:pt x="295655" y="233171"/>
                </a:lnTo>
                <a:lnTo>
                  <a:pt x="294216" y="235457"/>
                </a:lnTo>
                <a:lnTo>
                  <a:pt x="295655" y="235457"/>
                </a:lnTo>
                <a:close/>
              </a:path>
              <a:path w="335279" h="267970">
                <a:moveTo>
                  <a:pt x="314705" y="256031"/>
                </a:moveTo>
                <a:lnTo>
                  <a:pt x="312396" y="256078"/>
                </a:lnTo>
                <a:lnTo>
                  <a:pt x="310895" y="259079"/>
                </a:lnTo>
                <a:lnTo>
                  <a:pt x="314705" y="256031"/>
                </a:lnTo>
                <a:close/>
              </a:path>
              <a:path w="335279" h="267970">
                <a:moveTo>
                  <a:pt x="330707" y="240791"/>
                </a:moveTo>
                <a:lnTo>
                  <a:pt x="330707" y="235457"/>
                </a:lnTo>
                <a:lnTo>
                  <a:pt x="322706" y="235457"/>
                </a:lnTo>
                <a:lnTo>
                  <a:pt x="312396" y="256078"/>
                </a:lnTo>
                <a:lnTo>
                  <a:pt x="314705" y="256031"/>
                </a:lnTo>
                <a:lnTo>
                  <a:pt x="314705" y="265938"/>
                </a:lnTo>
                <a:lnTo>
                  <a:pt x="316991" y="265938"/>
                </a:lnTo>
                <a:lnTo>
                  <a:pt x="318515" y="265176"/>
                </a:lnTo>
                <a:lnTo>
                  <a:pt x="330707" y="240791"/>
                </a:lnTo>
                <a:close/>
              </a:path>
              <a:path w="335279" h="267970">
                <a:moveTo>
                  <a:pt x="330707" y="235457"/>
                </a:moveTo>
                <a:lnTo>
                  <a:pt x="326135" y="228599"/>
                </a:lnTo>
                <a:lnTo>
                  <a:pt x="322706" y="235457"/>
                </a:lnTo>
                <a:lnTo>
                  <a:pt x="330707" y="2354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1" name="object 83"/>
          <p:cNvSpPr/>
          <p:nvPr/>
        </p:nvSpPr>
        <p:spPr>
          <a:xfrm>
            <a:off x="5975821" y="1451265"/>
            <a:ext cx="276327" cy="85778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2" name="object 84"/>
          <p:cNvSpPr/>
          <p:nvPr/>
        </p:nvSpPr>
        <p:spPr>
          <a:xfrm>
            <a:off x="5972297" y="1448670"/>
            <a:ext cx="283130" cy="90856"/>
          </a:xfrm>
          <a:custGeom>
            <a:avLst/>
            <a:gdLst/>
            <a:ahLst/>
            <a:cxnLst/>
            <a:rect l="l" t="t" r="r" b="b"/>
            <a:pathLst>
              <a:path w="428625" h="204470">
                <a:moveTo>
                  <a:pt x="428243" y="199643"/>
                </a:moveTo>
                <a:lnTo>
                  <a:pt x="428243" y="198119"/>
                </a:lnTo>
                <a:lnTo>
                  <a:pt x="427481" y="196595"/>
                </a:lnTo>
                <a:lnTo>
                  <a:pt x="279653" y="2285"/>
                </a:lnTo>
                <a:lnTo>
                  <a:pt x="278891" y="761"/>
                </a:lnTo>
                <a:lnTo>
                  <a:pt x="277367" y="0"/>
                </a:lnTo>
                <a:lnTo>
                  <a:pt x="3047" y="761"/>
                </a:lnTo>
                <a:lnTo>
                  <a:pt x="1523" y="1523"/>
                </a:lnTo>
                <a:lnTo>
                  <a:pt x="0" y="4571"/>
                </a:lnTo>
                <a:lnTo>
                  <a:pt x="0" y="6857"/>
                </a:lnTo>
                <a:lnTo>
                  <a:pt x="1523" y="8381"/>
                </a:lnTo>
                <a:lnTo>
                  <a:pt x="5333" y="13641"/>
                </a:lnTo>
                <a:lnTo>
                  <a:pt x="5333" y="9905"/>
                </a:lnTo>
                <a:lnTo>
                  <a:pt x="9143" y="2285"/>
                </a:lnTo>
                <a:lnTo>
                  <a:pt x="14642" y="9905"/>
                </a:lnTo>
                <a:lnTo>
                  <a:pt x="272033" y="9905"/>
                </a:lnTo>
                <a:lnTo>
                  <a:pt x="272033" y="7619"/>
                </a:lnTo>
                <a:lnTo>
                  <a:pt x="275843" y="9905"/>
                </a:lnTo>
                <a:lnTo>
                  <a:pt x="275843" y="12627"/>
                </a:lnTo>
                <a:lnTo>
                  <a:pt x="414064" y="194309"/>
                </a:lnTo>
                <a:lnTo>
                  <a:pt x="423671" y="194309"/>
                </a:lnTo>
                <a:lnTo>
                  <a:pt x="423671" y="204215"/>
                </a:lnTo>
                <a:lnTo>
                  <a:pt x="425195" y="204215"/>
                </a:lnTo>
                <a:lnTo>
                  <a:pt x="426719" y="202691"/>
                </a:lnTo>
                <a:lnTo>
                  <a:pt x="428243" y="199643"/>
                </a:lnTo>
                <a:close/>
              </a:path>
              <a:path w="428625" h="204470">
                <a:moveTo>
                  <a:pt x="14642" y="9905"/>
                </a:moveTo>
                <a:lnTo>
                  <a:pt x="9143" y="2285"/>
                </a:lnTo>
                <a:lnTo>
                  <a:pt x="5333" y="9905"/>
                </a:lnTo>
                <a:lnTo>
                  <a:pt x="14642" y="9905"/>
                </a:lnTo>
                <a:close/>
              </a:path>
              <a:path w="428625" h="204470">
                <a:moveTo>
                  <a:pt x="147702" y="194309"/>
                </a:moveTo>
                <a:lnTo>
                  <a:pt x="14642" y="9905"/>
                </a:lnTo>
                <a:lnTo>
                  <a:pt x="5333" y="9905"/>
                </a:lnTo>
                <a:lnTo>
                  <a:pt x="5333" y="13641"/>
                </a:lnTo>
                <a:lnTo>
                  <a:pt x="141731" y="201929"/>
                </a:lnTo>
                <a:lnTo>
                  <a:pt x="144017" y="204215"/>
                </a:lnTo>
                <a:lnTo>
                  <a:pt x="145541" y="204215"/>
                </a:lnTo>
                <a:lnTo>
                  <a:pt x="145541" y="194309"/>
                </a:lnTo>
                <a:lnTo>
                  <a:pt x="147702" y="194309"/>
                </a:lnTo>
                <a:close/>
              </a:path>
              <a:path w="428625" h="204470">
                <a:moveTo>
                  <a:pt x="149351" y="196595"/>
                </a:moveTo>
                <a:lnTo>
                  <a:pt x="147702" y="194309"/>
                </a:lnTo>
                <a:lnTo>
                  <a:pt x="145541" y="194309"/>
                </a:lnTo>
                <a:lnTo>
                  <a:pt x="149351" y="196595"/>
                </a:lnTo>
                <a:close/>
              </a:path>
              <a:path w="428625" h="204470">
                <a:moveTo>
                  <a:pt x="149351" y="204215"/>
                </a:moveTo>
                <a:lnTo>
                  <a:pt x="149351" y="196595"/>
                </a:lnTo>
                <a:lnTo>
                  <a:pt x="145541" y="194309"/>
                </a:lnTo>
                <a:lnTo>
                  <a:pt x="145541" y="204215"/>
                </a:lnTo>
                <a:lnTo>
                  <a:pt x="149351" y="204215"/>
                </a:lnTo>
                <a:close/>
              </a:path>
              <a:path w="428625" h="204470">
                <a:moveTo>
                  <a:pt x="423671" y="204215"/>
                </a:moveTo>
                <a:lnTo>
                  <a:pt x="423671" y="194309"/>
                </a:lnTo>
                <a:lnTo>
                  <a:pt x="419861" y="201929"/>
                </a:lnTo>
                <a:lnTo>
                  <a:pt x="414064" y="194309"/>
                </a:lnTo>
                <a:lnTo>
                  <a:pt x="147702" y="194309"/>
                </a:lnTo>
                <a:lnTo>
                  <a:pt x="149351" y="196595"/>
                </a:lnTo>
                <a:lnTo>
                  <a:pt x="149351" y="204215"/>
                </a:lnTo>
                <a:lnTo>
                  <a:pt x="423671" y="204215"/>
                </a:lnTo>
                <a:close/>
              </a:path>
              <a:path w="428625" h="204470">
                <a:moveTo>
                  <a:pt x="275843" y="9905"/>
                </a:moveTo>
                <a:lnTo>
                  <a:pt x="272033" y="7619"/>
                </a:lnTo>
                <a:lnTo>
                  <a:pt x="273773" y="9905"/>
                </a:lnTo>
                <a:lnTo>
                  <a:pt x="275843" y="9905"/>
                </a:lnTo>
                <a:close/>
              </a:path>
              <a:path w="428625" h="204470">
                <a:moveTo>
                  <a:pt x="273773" y="9905"/>
                </a:moveTo>
                <a:lnTo>
                  <a:pt x="272033" y="7619"/>
                </a:lnTo>
                <a:lnTo>
                  <a:pt x="272033" y="9905"/>
                </a:lnTo>
                <a:lnTo>
                  <a:pt x="273773" y="9905"/>
                </a:lnTo>
                <a:close/>
              </a:path>
              <a:path w="428625" h="204470">
                <a:moveTo>
                  <a:pt x="275843" y="12627"/>
                </a:moveTo>
                <a:lnTo>
                  <a:pt x="275843" y="9905"/>
                </a:lnTo>
                <a:lnTo>
                  <a:pt x="273773" y="9905"/>
                </a:lnTo>
                <a:lnTo>
                  <a:pt x="275843" y="12627"/>
                </a:lnTo>
                <a:close/>
              </a:path>
              <a:path w="428625" h="204470">
                <a:moveTo>
                  <a:pt x="423671" y="194309"/>
                </a:moveTo>
                <a:lnTo>
                  <a:pt x="414064" y="194309"/>
                </a:lnTo>
                <a:lnTo>
                  <a:pt x="419861" y="201929"/>
                </a:lnTo>
                <a:lnTo>
                  <a:pt x="423671" y="1943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3" name="object 85"/>
          <p:cNvSpPr/>
          <p:nvPr/>
        </p:nvSpPr>
        <p:spPr>
          <a:xfrm>
            <a:off x="3841140" y="1452281"/>
            <a:ext cx="265262" cy="8747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4" name="object 86"/>
          <p:cNvSpPr/>
          <p:nvPr/>
        </p:nvSpPr>
        <p:spPr>
          <a:xfrm>
            <a:off x="3837616" y="1450023"/>
            <a:ext cx="272644" cy="92268"/>
          </a:xfrm>
          <a:custGeom>
            <a:avLst/>
            <a:gdLst/>
            <a:ahLst/>
            <a:cxnLst/>
            <a:rect l="l" t="t" r="r" b="b"/>
            <a:pathLst>
              <a:path w="412750" h="207645">
                <a:moveTo>
                  <a:pt x="412242" y="202692"/>
                </a:moveTo>
                <a:lnTo>
                  <a:pt x="410718" y="199644"/>
                </a:lnTo>
                <a:lnTo>
                  <a:pt x="268224" y="2286"/>
                </a:lnTo>
                <a:lnTo>
                  <a:pt x="267462" y="762"/>
                </a:lnTo>
                <a:lnTo>
                  <a:pt x="265938" y="0"/>
                </a:lnTo>
                <a:lnTo>
                  <a:pt x="185166" y="0"/>
                </a:lnTo>
                <a:lnTo>
                  <a:pt x="184404" y="762"/>
                </a:lnTo>
                <a:lnTo>
                  <a:pt x="3048" y="94488"/>
                </a:lnTo>
                <a:lnTo>
                  <a:pt x="1524" y="95250"/>
                </a:lnTo>
                <a:lnTo>
                  <a:pt x="0" y="96774"/>
                </a:lnTo>
                <a:lnTo>
                  <a:pt x="0" y="99822"/>
                </a:lnTo>
                <a:lnTo>
                  <a:pt x="1524" y="102108"/>
                </a:lnTo>
                <a:lnTo>
                  <a:pt x="3048" y="102870"/>
                </a:lnTo>
                <a:lnTo>
                  <a:pt x="7620" y="105482"/>
                </a:lnTo>
                <a:lnTo>
                  <a:pt x="7620" y="94488"/>
                </a:lnTo>
                <a:lnTo>
                  <a:pt x="15322" y="98889"/>
                </a:lnTo>
                <a:lnTo>
                  <a:pt x="186690" y="10325"/>
                </a:lnTo>
                <a:lnTo>
                  <a:pt x="186690" y="9906"/>
                </a:lnTo>
                <a:lnTo>
                  <a:pt x="188976" y="9144"/>
                </a:lnTo>
                <a:lnTo>
                  <a:pt x="188976" y="9906"/>
                </a:lnTo>
                <a:lnTo>
                  <a:pt x="260604" y="9906"/>
                </a:lnTo>
                <a:lnTo>
                  <a:pt x="260604" y="7620"/>
                </a:lnTo>
                <a:lnTo>
                  <a:pt x="264414" y="9906"/>
                </a:lnTo>
                <a:lnTo>
                  <a:pt x="264414" y="12896"/>
                </a:lnTo>
                <a:lnTo>
                  <a:pt x="397596" y="197358"/>
                </a:lnTo>
                <a:lnTo>
                  <a:pt x="406908" y="197358"/>
                </a:lnTo>
                <a:lnTo>
                  <a:pt x="406908" y="207264"/>
                </a:lnTo>
                <a:lnTo>
                  <a:pt x="408432" y="207264"/>
                </a:lnTo>
                <a:lnTo>
                  <a:pt x="411480" y="204216"/>
                </a:lnTo>
                <a:lnTo>
                  <a:pt x="412242" y="202692"/>
                </a:lnTo>
                <a:close/>
              </a:path>
              <a:path w="412750" h="207645">
                <a:moveTo>
                  <a:pt x="15322" y="98889"/>
                </a:moveTo>
                <a:lnTo>
                  <a:pt x="7620" y="94488"/>
                </a:lnTo>
                <a:lnTo>
                  <a:pt x="7620" y="102870"/>
                </a:lnTo>
                <a:lnTo>
                  <a:pt x="15322" y="98889"/>
                </a:lnTo>
                <a:close/>
              </a:path>
              <a:path w="412750" h="207645">
                <a:moveTo>
                  <a:pt x="187642" y="197358"/>
                </a:moveTo>
                <a:lnTo>
                  <a:pt x="15322" y="98889"/>
                </a:lnTo>
                <a:lnTo>
                  <a:pt x="7620" y="102870"/>
                </a:lnTo>
                <a:lnTo>
                  <a:pt x="7620" y="105482"/>
                </a:lnTo>
                <a:lnTo>
                  <a:pt x="184404" y="206502"/>
                </a:lnTo>
                <a:lnTo>
                  <a:pt x="185166" y="206502"/>
                </a:lnTo>
                <a:lnTo>
                  <a:pt x="185928" y="207264"/>
                </a:lnTo>
                <a:lnTo>
                  <a:pt x="186690" y="207264"/>
                </a:lnTo>
                <a:lnTo>
                  <a:pt x="186690" y="197358"/>
                </a:lnTo>
                <a:lnTo>
                  <a:pt x="187642" y="197358"/>
                </a:lnTo>
                <a:close/>
              </a:path>
              <a:path w="412750" h="207645">
                <a:moveTo>
                  <a:pt x="188976" y="9144"/>
                </a:moveTo>
                <a:lnTo>
                  <a:pt x="186690" y="9906"/>
                </a:lnTo>
                <a:lnTo>
                  <a:pt x="187642" y="9833"/>
                </a:lnTo>
                <a:lnTo>
                  <a:pt x="188976" y="9144"/>
                </a:lnTo>
                <a:close/>
              </a:path>
              <a:path w="412750" h="207645">
                <a:moveTo>
                  <a:pt x="187501" y="9906"/>
                </a:moveTo>
                <a:lnTo>
                  <a:pt x="186690" y="9906"/>
                </a:lnTo>
                <a:lnTo>
                  <a:pt x="186690" y="10325"/>
                </a:lnTo>
                <a:lnTo>
                  <a:pt x="187501" y="9906"/>
                </a:lnTo>
                <a:close/>
              </a:path>
              <a:path w="412750" h="207645">
                <a:moveTo>
                  <a:pt x="188976" y="198120"/>
                </a:moveTo>
                <a:lnTo>
                  <a:pt x="187642" y="197358"/>
                </a:lnTo>
                <a:lnTo>
                  <a:pt x="186690" y="197358"/>
                </a:lnTo>
                <a:lnTo>
                  <a:pt x="188976" y="198120"/>
                </a:lnTo>
                <a:close/>
              </a:path>
              <a:path w="412750" h="207645">
                <a:moveTo>
                  <a:pt x="188976" y="207264"/>
                </a:moveTo>
                <a:lnTo>
                  <a:pt x="188976" y="198120"/>
                </a:lnTo>
                <a:lnTo>
                  <a:pt x="186690" y="197358"/>
                </a:lnTo>
                <a:lnTo>
                  <a:pt x="186690" y="207264"/>
                </a:lnTo>
                <a:lnTo>
                  <a:pt x="188976" y="207264"/>
                </a:lnTo>
                <a:close/>
              </a:path>
              <a:path w="412750" h="207645">
                <a:moveTo>
                  <a:pt x="188976" y="9906"/>
                </a:moveTo>
                <a:lnTo>
                  <a:pt x="188976" y="9144"/>
                </a:lnTo>
                <a:lnTo>
                  <a:pt x="187501" y="9906"/>
                </a:lnTo>
                <a:lnTo>
                  <a:pt x="188976" y="9906"/>
                </a:lnTo>
                <a:close/>
              </a:path>
              <a:path w="412750" h="207645">
                <a:moveTo>
                  <a:pt x="406908" y="207264"/>
                </a:moveTo>
                <a:lnTo>
                  <a:pt x="406908" y="197358"/>
                </a:lnTo>
                <a:lnTo>
                  <a:pt x="403098" y="204978"/>
                </a:lnTo>
                <a:lnTo>
                  <a:pt x="397596" y="197358"/>
                </a:lnTo>
                <a:lnTo>
                  <a:pt x="187642" y="197358"/>
                </a:lnTo>
                <a:lnTo>
                  <a:pt x="188976" y="198120"/>
                </a:lnTo>
                <a:lnTo>
                  <a:pt x="188976" y="207264"/>
                </a:lnTo>
                <a:lnTo>
                  <a:pt x="406908" y="207264"/>
                </a:lnTo>
                <a:close/>
              </a:path>
              <a:path w="412750" h="207645">
                <a:moveTo>
                  <a:pt x="264414" y="9906"/>
                </a:moveTo>
                <a:lnTo>
                  <a:pt x="260604" y="7620"/>
                </a:lnTo>
                <a:lnTo>
                  <a:pt x="262254" y="9906"/>
                </a:lnTo>
                <a:lnTo>
                  <a:pt x="264414" y="9906"/>
                </a:lnTo>
                <a:close/>
              </a:path>
              <a:path w="412750" h="207645">
                <a:moveTo>
                  <a:pt x="262254" y="9906"/>
                </a:moveTo>
                <a:lnTo>
                  <a:pt x="260604" y="7620"/>
                </a:lnTo>
                <a:lnTo>
                  <a:pt x="260604" y="9906"/>
                </a:lnTo>
                <a:lnTo>
                  <a:pt x="262254" y="9906"/>
                </a:lnTo>
                <a:close/>
              </a:path>
              <a:path w="412750" h="207645">
                <a:moveTo>
                  <a:pt x="264414" y="12896"/>
                </a:moveTo>
                <a:lnTo>
                  <a:pt x="264414" y="9906"/>
                </a:lnTo>
                <a:lnTo>
                  <a:pt x="262254" y="9906"/>
                </a:lnTo>
                <a:lnTo>
                  <a:pt x="264414" y="12896"/>
                </a:lnTo>
                <a:close/>
              </a:path>
              <a:path w="412750" h="207645">
                <a:moveTo>
                  <a:pt x="406908" y="197358"/>
                </a:moveTo>
                <a:lnTo>
                  <a:pt x="397596" y="197358"/>
                </a:lnTo>
                <a:lnTo>
                  <a:pt x="403098" y="204978"/>
                </a:lnTo>
                <a:lnTo>
                  <a:pt x="406908" y="1973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5" name="object 87"/>
          <p:cNvSpPr/>
          <p:nvPr/>
        </p:nvSpPr>
        <p:spPr>
          <a:xfrm>
            <a:off x="4000196" y="1439641"/>
            <a:ext cx="183720" cy="113993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6" name="object 88"/>
          <p:cNvSpPr/>
          <p:nvPr/>
        </p:nvSpPr>
        <p:spPr>
          <a:xfrm>
            <a:off x="3965969" y="1436818"/>
            <a:ext cx="221471" cy="119073"/>
          </a:xfrm>
          <a:custGeom>
            <a:avLst/>
            <a:gdLst/>
            <a:ahLst/>
            <a:cxnLst/>
            <a:rect l="l" t="t" r="r" b="b"/>
            <a:pathLst>
              <a:path w="335279" h="267970">
                <a:moveTo>
                  <a:pt x="277916" y="242911"/>
                </a:moveTo>
                <a:lnTo>
                  <a:pt x="101346" y="1523"/>
                </a:lnTo>
                <a:lnTo>
                  <a:pt x="100584" y="761"/>
                </a:lnTo>
                <a:lnTo>
                  <a:pt x="99060" y="0"/>
                </a:lnTo>
                <a:lnTo>
                  <a:pt x="11430" y="761"/>
                </a:lnTo>
                <a:lnTo>
                  <a:pt x="9144" y="1523"/>
                </a:lnTo>
                <a:lnTo>
                  <a:pt x="8382" y="3809"/>
                </a:lnTo>
                <a:lnTo>
                  <a:pt x="762" y="30479"/>
                </a:lnTo>
                <a:lnTo>
                  <a:pt x="0" y="32003"/>
                </a:lnTo>
                <a:lnTo>
                  <a:pt x="0" y="33527"/>
                </a:lnTo>
                <a:lnTo>
                  <a:pt x="2286" y="35813"/>
                </a:lnTo>
                <a:lnTo>
                  <a:pt x="3810" y="36575"/>
                </a:lnTo>
                <a:lnTo>
                  <a:pt x="5334" y="36575"/>
                </a:lnTo>
                <a:lnTo>
                  <a:pt x="5334" y="27431"/>
                </a:lnTo>
                <a:lnTo>
                  <a:pt x="11647" y="27431"/>
                </a:lnTo>
                <a:lnTo>
                  <a:pt x="12954" y="22859"/>
                </a:lnTo>
                <a:lnTo>
                  <a:pt x="12954" y="9905"/>
                </a:lnTo>
                <a:lnTo>
                  <a:pt x="17526" y="6857"/>
                </a:lnTo>
                <a:lnTo>
                  <a:pt x="17526" y="9864"/>
                </a:lnTo>
                <a:lnTo>
                  <a:pt x="45329" y="9614"/>
                </a:lnTo>
                <a:lnTo>
                  <a:pt x="46482" y="4571"/>
                </a:lnTo>
                <a:lnTo>
                  <a:pt x="47244" y="3047"/>
                </a:lnTo>
                <a:lnTo>
                  <a:pt x="48768" y="1523"/>
                </a:lnTo>
                <a:lnTo>
                  <a:pt x="50292" y="761"/>
                </a:lnTo>
                <a:lnTo>
                  <a:pt x="51816" y="761"/>
                </a:lnTo>
                <a:lnTo>
                  <a:pt x="54102" y="1523"/>
                </a:lnTo>
                <a:lnTo>
                  <a:pt x="54864" y="3047"/>
                </a:lnTo>
                <a:lnTo>
                  <a:pt x="59563" y="9486"/>
                </a:lnTo>
                <a:lnTo>
                  <a:pt x="93726" y="9178"/>
                </a:lnTo>
                <a:lnTo>
                  <a:pt x="93726" y="7619"/>
                </a:lnTo>
                <a:lnTo>
                  <a:pt x="97536" y="9143"/>
                </a:lnTo>
                <a:lnTo>
                  <a:pt x="97536" y="12812"/>
                </a:lnTo>
                <a:lnTo>
                  <a:pt x="274320" y="253745"/>
                </a:lnTo>
                <a:lnTo>
                  <a:pt x="274320" y="248411"/>
                </a:lnTo>
                <a:lnTo>
                  <a:pt x="277916" y="242911"/>
                </a:lnTo>
                <a:close/>
              </a:path>
              <a:path w="335279" h="267970">
                <a:moveTo>
                  <a:pt x="11647" y="27431"/>
                </a:moveTo>
                <a:lnTo>
                  <a:pt x="5334" y="27431"/>
                </a:lnTo>
                <a:lnTo>
                  <a:pt x="9906" y="33527"/>
                </a:lnTo>
                <a:lnTo>
                  <a:pt x="11647" y="27431"/>
                </a:lnTo>
                <a:close/>
              </a:path>
              <a:path w="335279" h="267970">
                <a:moveTo>
                  <a:pt x="41256" y="27431"/>
                </a:moveTo>
                <a:lnTo>
                  <a:pt x="11647" y="27431"/>
                </a:lnTo>
                <a:lnTo>
                  <a:pt x="9906" y="33527"/>
                </a:lnTo>
                <a:lnTo>
                  <a:pt x="5334" y="27431"/>
                </a:lnTo>
                <a:lnTo>
                  <a:pt x="5334" y="36575"/>
                </a:lnTo>
                <a:lnTo>
                  <a:pt x="40386" y="36575"/>
                </a:lnTo>
                <a:lnTo>
                  <a:pt x="40386" y="31241"/>
                </a:lnTo>
                <a:lnTo>
                  <a:pt x="41256" y="27431"/>
                </a:lnTo>
                <a:close/>
              </a:path>
              <a:path w="335279" h="267970">
                <a:moveTo>
                  <a:pt x="17526" y="6857"/>
                </a:moveTo>
                <a:lnTo>
                  <a:pt x="12954" y="9905"/>
                </a:lnTo>
                <a:lnTo>
                  <a:pt x="16664" y="9872"/>
                </a:lnTo>
                <a:lnTo>
                  <a:pt x="17526" y="6857"/>
                </a:lnTo>
                <a:close/>
              </a:path>
              <a:path w="335279" h="267970">
                <a:moveTo>
                  <a:pt x="16664" y="9872"/>
                </a:moveTo>
                <a:lnTo>
                  <a:pt x="12954" y="9905"/>
                </a:lnTo>
                <a:lnTo>
                  <a:pt x="12954" y="22859"/>
                </a:lnTo>
                <a:lnTo>
                  <a:pt x="16664" y="9872"/>
                </a:lnTo>
                <a:close/>
              </a:path>
              <a:path w="335279" h="267970">
                <a:moveTo>
                  <a:pt x="17526" y="9864"/>
                </a:moveTo>
                <a:lnTo>
                  <a:pt x="17526" y="6857"/>
                </a:lnTo>
                <a:lnTo>
                  <a:pt x="16664" y="9872"/>
                </a:lnTo>
                <a:lnTo>
                  <a:pt x="17526" y="9864"/>
                </a:lnTo>
                <a:close/>
              </a:path>
              <a:path w="335279" h="267970">
                <a:moveTo>
                  <a:pt x="44958" y="27431"/>
                </a:moveTo>
                <a:lnTo>
                  <a:pt x="41256" y="27431"/>
                </a:lnTo>
                <a:lnTo>
                  <a:pt x="40386" y="31241"/>
                </a:lnTo>
                <a:lnTo>
                  <a:pt x="44958" y="27431"/>
                </a:lnTo>
                <a:close/>
              </a:path>
              <a:path w="335279" h="267970">
                <a:moveTo>
                  <a:pt x="44958" y="36575"/>
                </a:moveTo>
                <a:lnTo>
                  <a:pt x="44958" y="27431"/>
                </a:lnTo>
                <a:lnTo>
                  <a:pt x="40386" y="31241"/>
                </a:lnTo>
                <a:lnTo>
                  <a:pt x="40386" y="36575"/>
                </a:lnTo>
                <a:lnTo>
                  <a:pt x="44958" y="36575"/>
                </a:lnTo>
                <a:close/>
              </a:path>
              <a:path w="335279" h="267970">
                <a:moveTo>
                  <a:pt x="53305" y="16719"/>
                </a:moveTo>
                <a:lnTo>
                  <a:pt x="48121" y="9589"/>
                </a:lnTo>
                <a:lnTo>
                  <a:pt x="45329" y="9614"/>
                </a:lnTo>
                <a:lnTo>
                  <a:pt x="41256" y="27431"/>
                </a:lnTo>
                <a:lnTo>
                  <a:pt x="44958" y="27431"/>
                </a:lnTo>
                <a:lnTo>
                  <a:pt x="44958" y="36575"/>
                </a:lnTo>
                <a:lnTo>
                  <a:pt x="47244" y="36575"/>
                </a:lnTo>
                <a:lnTo>
                  <a:pt x="48768" y="35051"/>
                </a:lnTo>
                <a:lnTo>
                  <a:pt x="49530" y="32765"/>
                </a:lnTo>
                <a:lnTo>
                  <a:pt x="53305" y="16719"/>
                </a:lnTo>
                <a:close/>
              </a:path>
              <a:path w="335279" h="267970">
                <a:moveTo>
                  <a:pt x="59563" y="9486"/>
                </a:moveTo>
                <a:lnTo>
                  <a:pt x="54864" y="3047"/>
                </a:lnTo>
                <a:lnTo>
                  <a:pt x="54102" y="1523"/>
                </a:lnTo>
                <a:lnTo>
                  <a:pt x="51816" y="761"/>
                </a:lnTo>
                <a:lnTo>
                  <a:pt x="45329" y="9614"/>
                </a:lnTo>
                <a:lnTo>
                  <a:pt x="47244" y="9597"/>
                </a:lnTo>
                <a:lnTo>
                  <a:pt x="47244" y="8381"/>
                </a:lnTo>
                <a:lnTo>
                  <a:pt x="55626" y="6857"/>
                </a:lnTo>
                <a:lnTo>
                  <a:pt x="55626" y="9521"/>
                </a:lnTo>
                <a:lnTo>
                  <a:pt x="59563" y="9486"/>
                </a:lnTo>
                <a:close/>
              </a:path>
              <a:path w="335279" h="267970">
                <a:moveTo>
                  <a:pt x="55626" y="6857"/>
                </a:moveTo>
                <a:lnTo>
                  <a:pt x="47244" y="8381"/>
                </a:lnTo>
                <a:lnTo>
                  <a:pt x="48121" y="9589"/>
                </a:lnTo>
                <a:lnTo>
                  <a:pt x="54997" y="9527"/>
                </a:lnTo>
                <a:lnTo>
                  <a:pt x="55626" y="6857"/>
                </a:lnTo>
                <a:close/>
              </a:path>
              <a:path w="335279" h="267970">
                <a:moveTo>
                  <a:pt x="48121" y="9589"/>
                </a:moveTo>
                <a:lnTo>
                  <a:pt x="47244" y="8381"/>
                </a:lnTo>
                <a:lnTo>
                  <a:pt x="47244" y="9597"/>
                </a:lnTo>
                <a:lnTo>
                  <a:pt x="48121" y="9589"/>
                </a:lnTo>
                <a:close/>
              </a:path>
              <a:path w="335279" h="267970">
                <a:moveTo>
                  <a:pt x="54997" y="9527"/>
                </a:moveTo>
                <a:lnTo>
                  <a:pt x="48121" y="9589"/>
                </a:lnTo>
                <a:lnTo>
                  <a:pt x="53305" y="16719"/>
                </a:lnTo>
                <a:lnTo>
                  <a:pt x="54997" y="9527"/>
                </a:lnTo>
                <a:close/>
              </a:path>
              <a:path w="335279" h="267970">
                <a:moveTo>
                  <a:pt x="240605" y="257499"/>
                </a:moveTo>
                <a:lnTo>
                  <a:pt x="59563" y="9486"/>
                </a:lnTo>
                <a:lnTo>
                  <a:pt x="54997" y="9527"/>
                </a:lnTo>
                <a:lnTo>
                  <a:pt x="53305" y="16719"/>
                </a:lnTo>
                <a:lnTo>
                  <a:pt x="233934" y="265175"/>
                </a:lnTo>
                <a:lnTo>
                  <a:pt x="235458" y="266699"/>
                </a:lnTo>
                <a:lnTo>
                  <a:pt x="236982" y="267461"/>
                </a:lnTo>
                <a:lnTo>
                  <a:pt x="237744" y="267461"/>
                </a:lnTo>
                <a:lnTo>
                  <a:pt x="237744" y="257555"/>
                </a:lnTo>
                <a:lnTo>
                  <a:pt x="240605" y="257499"/>
                </a:lnTo>
                <a:close/>
              </a:path>
              <a:path w="335279" h="267970">
                <a:moveTo>
                  <a:pt x="55626" y="9521"/>
                </a:moveTo>
                <a:lnTo>
                  <a:pt x="55626" y="6857"/>
                </a:lnTo>
                <a:lnTo>
                  <a:pt x="54997" y="9527"/>
                </a:lnTo>
                <a:lnTo>
                  <a:pt x="55626" y="9521"/>
                </a:lnTo>
                <a:close/>
              </a:path>
              <a:path w="335279" h="267970">
                <a:moveTo>
                  <a:pt x="97536" y="9143"/>
                </a:moveTo>
                <a:lnTo>
                  <a:pt x="93726" y="7619"/>
                </a:lnTo>
                <a:lnTo>
                  <a:pt x="94861" y="9168"/>
                </a:lnTo>
                <a:lnTo>
                  <a:pt x="97536" y="9143"/>
                </a:lnTo>
                <a:close/>
              </a:path>
              <a:path w="335279" h="267970">
                <a:moveTo>
                  <a:pt x="94861" y="9168"/>
                </a:moveTo>
                <a:lnTo>
                  <a:pt x="93726" y="7619"/>
                </a:lnTo>
                <a:lnTo>
                  <a:pt x="93726" y="9178"/>
                </a:lnTo>
                <a:lnTo>
                  <a:pt x="94861" y="9168"/>
                </a:lnTo>
                <a:close/>
              </a:path>
              <a:path w="335279" h="267970">
                <a:moveTo>
                  <a:pt x="97536" y="12812"/>
                </a:moveTo>
                <a:lnTo>
                  <a:pt x="97536" y="9143"/>
                </a:lnTo>
                <a:lnTo>
                  <a:pt x="94861" y="9168"/>
                </a:lnTo>
                <a:lnTo>
                  <a:pt x="97536" y="12812"/>
                </a:lnTo>
                <a:close/>
              </a:path>
              <a:path w="335279" h="267970">
                <a:moveTo>
                  <a:pt x="242316" y="259841"/>
                </a:moveTo>
                <a:lnTo>
                  <a:pt x="240605" y="257499"/>
                </a:lnTo>
                <a:lnTo>
                  <a:pt x="237744" y="257555"/>
                </a:lnTo>
                <a:lnTo>
                  <a:pt x="242316" y="259841"/>
                </a:lnTo>
                <a:close/>
              </a:path>
              <a:path w="335279" h="267970">
                <a:moveTo>
                  <a:pt x="242316" y="267385"/>
                </a:moveTo>
                <a:lnTo>
                  <a:pt x="242316" y="259841"/>
                </a:lnTo>
                <a:lnTo>
                  <a:pt x="237744" y="257555"/>
                </a:lnTo>
                <a:lnTo>
                  <a:pt x="237744" y="267461"/>
                </a:lnTo>
                <a:lnTo>
                  <a:pt x="242316" y="267385"/>
                </a:lnTo>
                <a:close/>
              </a:path>
              <a:path w="335279" h="267970">
                <a:moveTo>
                  <a:pt x="314706" y="265937"/>
                </a:moveTo>
                <a:lnTo>
                  <a:pt x="314706" y="256031"/>
                </a:lnTo>
                <a:lnTo>
                  <a:pt x="310134" y="259079"/>
                </a:lnTo>
                <a:lnTo>
                  <a:pt x="310134" y="256122"/>
                </a:lnTo>
                <a:lnTo>
                  <a:pt x="240605" y="257499"/>
                </a:lnTo>
                <a:lnTo>
                  <a:pt x="242316" y="259841"/>
                </a:lnTo>
                <a:lnTo>
                  <a:pt x="242316" y="267385"/>
                </a:lnTo>
                <a:lnTo>
                  <a:pt x="310134" y="266029"/>
                </a:lnTo>
                <a:lnTo>
                  <a:pt x="310134" y="259079"/>
                </a:lnTo>
                <a:lnTo>
                  <a:pt x="311702" y="256091"/>
                </a:lnTo>
                <a:lnTo>
                  <a:pt x="311702" y="265998"/>
                </a:lnTo>
                <a:lnTo>
                  <a:pt x="314706" y="265937"/>
                </a:lnTo>
                <a:close/>
              </a:path>
              <a:path w="335279" h="267970">
                <a:moveTo>
                  <a:pt x="281940" y="248411"/>
                </a:moveTo>
                <a:lnTo>
                  <a:pt x="277916" y="242911"/>
                </a:lnTo>
                <a:lnTo>
                  <a:pt x="274320" y="248411"/>
                </a:lnTo>
                <a:lnTo>
                  <a:pt x="281940" y="248411"/>
                </a:lnTo>
                <a:close/>
              </a:path>
              <a:path w="335279" h="267970">
                <a:moveTo>
                  <a:pt x="281940" y="255269"/>
                </a:moveTo>
                <a:lnTo>
                  <a:pt x="281940" y="248411"/>
                </a:lnTo>
                <a:lnTo>
                  <a:pt x="274320" y="248411"/>
                </a:lnTo>
                <a:lnTo>
                  <a:pt x="274320" y="253745"/>
                </a:lnTo>
                <a:lnTo>
                  <a:pt x="276606" y="256031"/>
                </a:lnTo>
                <a:lnTo>
                  <a:pt x="280416" y="256031"/>
                </a:lnTo>
                <a:lnTo>
                  <a:pt x="281940" y="255269"/>
                </a:lnTo>
                <a:close/>
              </a:path>
              <a:path w="335279" h="267970">
                <a:moveTo>
                  <a:pt x="335280" y="231647"/>
                </a:moveTo>
                <a:lnTo>
                  <a:pt x="335280" y="229361"/>
                </a:lnTo>
                <a:lnTo>
                  <a:pt x="333756" y="228599"/>
                </a:lnTo>
                <a:lnTo>
                  <a:pt x="332994" y="227075"/>
                </a:lnTo>
                <a:lnTo>
                  <a:pt x="331470" y="226313"/>
                </a:lnTo>
                <a:lnTo>
                  <a:pt x="289560" y="226313"/>
                </a:lnTo>
                <a:lnTo>
                  <a:pt x="288036" y="227075"/>
                </a:lnTo>
                <a:lnTo>
                  <a:pt x="287274" y="228599"/>
                </a:lnTo>
                <a:lnTo>
                  <a:pt x="277916" y="242911"/>
                </a:lnTo>
                <a:lnTo>
                  <a:pt x="281940" y="248411"/>
                </a:lnTo>
                <a:lnTo>
                  <a:pt x="281940" y="255269"/>
                </a:lnTo>
                <a:lnTo>
                  <a:pt x="282702" y="253745"/>
                </a:lnTo>
                <a:lnTo>
                  <a:pt x="291084" y="239601"/>
                </a:lnTo>
                <a:lnTo>
                  <a:pt x="291084" y="235457"/>
                </a:lnTo>
                <a:lnTo>
                  <a:pt x="294894" y="233171"/>
                </a:lnTo>
                <a:lnTo>
                  <a:pt x="294894" y="235457"/>
                </a:lnTo>
                <a:lnTo>
                  <a:pt x="322535" y="235457"/>
                </a:lnTo>
                <a:lnTo>
                  <a:pt x="326136" y="228599"/>
                </a:lnTo>
                <a:lnTo>
                  <a:pt x="329946" y="235457"/>
                </a:lnTo>
                <a:lnTo>
                  <a:pt x="329946" y="241880"/>
                </a:lnTo>
                <a:lnTo>
                  <a:pt x="334518" y="233171"/>
                </a:lnTo>
                <a:lnTo>
                  <a:pt x="335280" y="231647"/>
                </a:lnTo>
                <a:close/>
              </a:path>
              <a:path w="335279" h="267970">
                <a:moveTo>
                  <a:pt x="294894" y="233171"/>
                </a:moveTo>
                <a:lnTo>
                  <a:pt x="291084" y="235457"/>
                </a:lnTo>
                <a:lnTo>
                  <a:pt x="293539" y="235457"/>
                </a:lnTo>
                <a:lnTo>
                  <a:pt x="294894" y="233171"/>
                </a:lnTo>
                <a:close/>
              </a:path>
              <a:path w="335279" h="267970">
                <a:moveTo>
                  <a:pt x="293539" y="235457"/>
                </a:moveTo>
                <a:lnTo>
                  <a:pt x="291084" y="235457"/>
                </a:lnTo>
                <a:lnTo>
                  <a:pt x="291084" y="239601"/>
                </a:lnTo>
                <a:lnTo>
                  <a:pt x="293539" y="235457"/>
                </a:lnTo>
                <a:close/>
              </a:path>
              <a:path w="335279" h="267970">
                <a:moveTo>
                  <a:pt x="294894" y="235457"/>
                </a:moveTo>
                <a:lnTo>
                  <a:pt x="294894" y="233171"/>
                </a:lnTo>
                <a:lnTo>
                  <a:pt x="293539" y="235457"/>
                </a:lnTo>
                <a:lnTo>
                  <a:pt x="294894" y="235457"/>
                </a:lnTo>
                <a:close/>
              </a:path>
              <a:path w="335279" h="267970">
                <a:moveTo>
                  <a:pt x="314706" y="256031"/>
                </a:moveTo>
                <a:lnTo>
                  <a:pt x="311702" y="256091"/>
                </a:lnTo>
                <a:lnTo>
                  <a:pt x="310134" y="259079"/>
                </a:lnTo>
                <a:lnTo>
                  <a:pt x="314706" y="256031"/>
                </a:lnTo>
                <a:close/>
              </a:path>
              <a:path w="335279" h="267970">
                <a:moveTo>
                  <a:pt x="329946" y="241880"/>
                </a:moveTo>
                <a:lnTo>
                  <a:pt x="329946" y="235457"/>
                </a:lnTo>
                <a:lnTo>
                  <a:pt x="322535" y="235457"/>
                </a:lnTo>
                <a:lnTo>
                  <a:pt x="311702" y="256091"/>
                </a:lnTo>
                <a:lnTo>
                  <a:pt x="314706" y="256031"/>
                </a:lnTo>
                <a:lnTo>
                  <a:pt x="314706" y="265937"/>
                </a:lnTo>
                <a:lnTo>
                  <a:pt x="316230" y="265937"/>
                </a:lnTo>
                <a:lnTo>
                  <a:pt x="317754" y="265175"/>
                </a:lnTo>
                <a:lnTo>
                  <a:pt x="318516" y="263651"/>
                </a:lnTo>
                <a:lnTo>
                  <a:pt x="329946" y="241880"/>
                </a:lnTo>
                <a:close/>
              </a:path>
              <a:path w="335279" h="267970">
                <a:moveTo>
                  <a:pt x="329946" y="235457"/>
                </a:moveTo>
                <a:lnTo>
                  <a:pt x="326136" y="228599"/>
                </a:lnTo>
                <a:lnTo>
                  <a:pt x="322535" y="235457"/>
                </a:lnTo>
                <a:lnTo>
                  <a:pt x="329946" y="2354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7" name="object 89"/>
          <p:cNvSpPr/>
          <p:nvPr/>
        </p:nvSpPr>
        <p:spPr>
          <a:xfrm>
            <a:off x="4184413" y="1439979"/>
            <a:ext cx="213920" cy="113993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8" name="object 90"/>
          <p:cNvSpPr/>
          <p:nvPr/>
        </p:nvSpPr>
        <p:spPr>
          <a:xfrm>
            <a:off x="4180393" y="1437158"/>
            <a:ext cx="221471" cy="119073"/>
          </a:xfrm>
          <a:custGeom>
            <a:avLst/>
            <a:gdLst/>
            <a:ahLst/>
            <a:cxnLst/>
            <a:rect l="l" t="t" r="r" b="b"/>
            <a:pathLst>
              <a:path w="335279" h="267970">
                <a:moveTo>
                  <a:pt x="278097" y="243174"/>
                </a:moveTo>
                <a:lnTo>
                  <a:pt x="101346" y="2285"/>
                </a:lnTo>
                <a:lnTo>
                  <a:pt x="100584" y="761"/>
                </a:lnTo>
                <a:lnTo>
                  <a:pt x="99060" y="0"/>
                </a:lnTo>
                <a:lnTo>
                  <a:pt x="11430" y="761"/>
                </a:lnTo>
                <a:lnTo>
                  <a:pt x="9144" y="2285"/>
                </a:lnTo>
                <a:lnTo>
                  <a:pt x="8382" y="4571"/>
                </a:lnTo>
                <a:lnTo>
                  <a:pt x="762" y="31241"/>
                </a:lnTo>
                <a:lnTo>
                  <a:pt x="0" y="32003"/>
                </a:lnTo>
                <a:lnTo>
                  <a:pt x="0" y="34289"/>
                </a:lnTo>
                <a:lnTo>
                  <a:pt x="2286" y="36575"/>
                </a:lnTo>
                <a:lnTo>
                  <a:pt x="3810" y="37337"/>
                </a:lnTo>
                <a:lnTo>
                  <a:pt x="5334" y="37337"/>
                </a:lnTo>
                <a:lnTo>
                  <a:pt x="5334" y="27431"/>
                </a:lnTo>
                <a:lnTo>
                  <a:pt x="11059" y="27431"/>
                </a:lnTo>
                <a:lnTo>
                  <a:pt x="12954" y="21405"/>
                </a:lnTo>
                <a:lnTo>
                  <a:pt x="12954" y="10667"/>
                </a:lnTo>
                <a:lnTo>
                  <a:pt x="17526" y="6857"/>
                </a:lnTo>
                <a:lnTo>
                  <a:pt x="17526" y="10626"/>
                </a:lnTo>
                <a:lnTo>
                  <a:pt x="45154" y="10377"/>
                </a:lnTo>
                <a:lnTo>
                  <a:pt x="46482" y="4571"/>
                </a:lnTo>
                <a:lnTo>
                  <a:pt x="48006" y="1523"/>
                </a:lnTo>
                <a:lnTo>
                  <a:pt x="50292" y="1523"/>
                </a:lnTo>
                <a:lnTo>
                  <a:pt x="51816" y="761"/>
                </a:lnTo>
                <a:lnTo>
                  <a:pt x="54102" y="1523"/>
                </a:lnTo>
                <a:lnTo>
                  <a:pt x="54864" y="3047"/>
                </a:lnTo>
                <a:lnTo>
                  <a:pt x="60095" y="10243"/>
                </a:lnTo>
                <a:lnTo>
                  <a:pt x="93726" y="9940"/>
                </a:lnTo>
                <a:lnTo>
                  <a:pt x="93726" y="7619"/>
                </a:lnTo>
                <a:lnTo>
                  <a:pt x="97536" y="9905"/>
                </a:lnTo>
                <a:lnTo>
                  <a:pt x="97536" y="12828"/>
                </a:lnTo>
                <a:lnTo>
                  <a:pt x="274320" y="254508"/>
                </a:lnTo>
                <a:lnTo>
                  <a:pt x="274320" y="249173"/>
                </a:lnTo>
                <a:lnTo>
                  <a:pt x="278097" y="243174"/>
                </a:lnTo>
                <a:close/>
              </a:path>
              <a:path w="335279" h="267970">
                <a:moveTo>
                  <a:pt x="11059" y="27431"/>
                </a:moveTo>
                <a:lnTo>
                  <a:pt x="5334" y="27431"/>
                </a:lnTo>
                <a:lnTo>
                  <a:pt x="9144" y="33527"/>
                </a:lnTo>
                <a:lnTo>
                  <a:pt x="11059" y="27431"/>
                </a:lnTo>
                <a:close/>
              </a:path>
              <a:path w="335279" h="267970">
                <a:moveTo>
                  <a:pt x="41256" y="27431"/>
                </a:moveTo>
                <a:lnTo>
                  <a:pt x="11059" y="27431"/>
                </a:lnTo>
                <a:lnTo>
                  <a:pt x="9144" y="33527"/>
                </a:lnTo>
                <a:lnTo>
                  <a:pt x="5334" y="27431"/>
                </a:lnTo>
                <a:lnTo>
                  <a:pt x="5334" y="37337"/>
                </a:lnTo>
                <a:lnTo>
                  <a:pt x="40386" y="37337"/>
                </a:lnTo>
                <a:lnTo>
                  <a:pt x="40386" y="31241"/>
                </a:lnTo>
                <a:lnTo>
                  <a:pt x="41256" y="27431"/>
                </a:lnTo>
                <a:close/>
              </a:path>
              <a:path w="335279" h="267970">
                <a:moveTo>
                  <a:pt x="17526" y="6857"/>
                </a:moveTo>
                <a:lnTo>
                  <a:pt x="12954" y="10667"/>
                </a:lnTo>
                <a:lnTo>
                  <a:pt x="16338" y="10637"/>
                </a:lnTo>
                <a:lnTo>
                  <a:pt x="17526" y="6857"/>
                </a:lnTo>
                <a:close/>
              </a:path>
              <a:path w="335279" h="267970">
                <a:moveTo>
                  <a:pt x="16338" y="10637"/>
                </a:moveTo>
                <a:lnTo>
                  <a:pt x="12954" y="10667"/>
                </a:lnTo>
                <a:lnTo>
                  <a:pt x="12954" y="21405"/>
                </a:lnTo>
                <a:lnTo>
                  <a:pt x="16338" y="10637"/>
                </a:lnTo>
                <a:close/>
              </a:path>
              <a:path w="335279" h="267970">
                <a:moveTo>
                  <a:pt x="17526" y="10626"/>
                </a:moveTo>
                <a:lnTo>
                  <a:pt x="17526" y="6857"/>
                </a:lnTo>
                <a:lnTo>
                  <a:pt x="16338" y="10637"/>
                </a:lnTo>
                <a:lnTo>
                  <a:pt x="17526" y="10626"/>
                </a:lnTo>
                <a:close/>
              </a:path>
              <a:path w="335279" h="267970">
                <a:moveTo>
                  <a:pt x="44958" y="27431"/>
                </a:moveTo>
                <a:lnTo>
                  <a:pt x="41256" y="27431"/>
                </a:lnTo>
                <a:lnTo>
                  <a:pt x="40386" y="31241"/>
                </a:lnTo>
                <a:lnTo>
                  <a:pt x="44958" y="27431"/>
                </a:lnTo>
                <a:close/>
              </a:path>
              <a:path w="335279" h="267970">
                <a:moveTo>
                  <a:pt x="44958" y="37337"/>
                </a:moveTo>
                <a:lnTo>
                  <a:pt x="44958" y="27431"/>
                </a:lnTo>
                <a:lnTo>
                  <a:pt x="40386" y="31241"/>
                </a:lnTo>
                <a:lnTo>
                  <a:pt x="40386" y="37337"/>
                </a:lnTo>
                <a:lnTo>
                  <a:pt x="44958" y="37337"/>
                </a:lnTo>
                <a:close/>
              </a:path>
              <a:path w="335279" h="267970">
                <a:moveTo>
                  <a:pt x="53223" y="17368"/>
                </a:moveTo>
                <a:lnTo>
                  <a:pt x="48121" y="10351"/>
                </a:lnTo>
                <a:lnTo>
                  <a:pt x="45154" y="10377"/>
                </a:lnTo>
                <a:lnTo>
                  <a:pt x="41256" y="27431"/>
                </a:lnTo>
                <a:lnTo>
                  <a:pt x="44958" y="27431"/>
                </a:lnTo>
                <a:lnTo>
                  <a:pt x="44958" y="37337"/>
                </a:lnTo>
                <a:lnTo>
                  <a:pt x="47244" y="37337"/>
                </a:lnTo>
                <a:lnTo>
                  <a:pt x="48768" y="35813"/>
                </a:lnTo>
                <a:lnTo>
                  <a:pt x="49530" y="33527"/>
                </a:lnTo>
                <a:lnTo>
                  <a:pt x="53223" y="17368"/>
                </a:lnTo>
                <a:close/>
              </a:path>
              <a:path w="335279" h="267970">
                <a:moveTo>
                  <a:pt x="60095" y="10243"/>
                </a:moveTo>
                <a:lnTo>
                  <a:pt x="54841" y="3002"/>
                </a:lnTo>
                <a:lnTo>
                  <a:pt x="54102" y="1523"/>
                </a:lnTo>
                <a:lnTo>
                  <a:pt x="51816" y="761"/>
                </a:lnTo>
                <a:lnTo>
                  <a:pt x="50292" y="1523"/>
                </a:lnTo>
                <a:lnTo>
                  <a:pt x="48006" y="1523"/>
                </a:lnTo>
                <a:lnTo>
                  <a:pt x="46482" y="4571"/>
                </a:lnTo>
                <a:lnTo>
                  <a:pt x="45154" y="10377"/>
                </a:lnTo>
                <a:lnTo>
                  <a:pt x="47244" y="10359"/>
                </a:lnTo>
                <a:lnTo>
                  <a:pt x="47244" y="9143"/>
                </a:lnTo>
                <a:lnTo>
                  <a:pt x="55626" y="6857"/>
                </a:lnTo>
                <a:lnTo>
                  <a:pt x="55626" y="10283"/>
                </a:lnTo>
                <a:lnTo>
                  <a:pt x="60095" y="10243"/>
                </a:lnTo>
                <a:close/>
              </a:path>
              <a:path w="335279" h="267970">
                <a:moveTo>
                  <a:pt x="55626" y="6857"/>
                </a:moveTo>
                <a:lnTo>
                  <a:pt x="47244" y="9143"/>
                </a:lnTo>
                <a:lnTo>
                  <a:pt x="48121" y="10351"/>
                </a:lnTo>
                <a:lnTo>
                  <a:pt x="54841" y="10290"/>
                </a:lnTo>
                <a:lnTo>
                  <a:pt x="55626" y="6857"/>
                </a:lnTo>
                <a:close/>
              </a:path>
              <a:path w="335279" h="267970">
                <a:moveTo>
                  <a:pt x="48121" y="10351"/>
                </a:moveTo>
                <a:lnTo>
                  <a:pt x="47244" y="9143"/>
                </a:lnTo>
                <a:lnTo>
                  <a:pt x="47244" y="10359"/>
                </a:lnTo>
                <a:lnTo>
                  <a:pt x="48121" y="10351"/>
                </a:lnTo>
                <a:close/>
              </a:path>
              <a:path w="335279" h="267970">
                <a:moveTo>
                  <a:pt x="54841" y="10290"/>
                </a:moveTo>
                <a:lnTo>
                  <a:pt x="48121" y="10351"/>
                </a:lnTo>
                <a:lnTo>
                  <a:pt x="53223" y="17368"/>
                </a:lnTo>
                <a:lnTo>
                  <a:pt x="54841" y="10290"/>
                </a:lnTo>
                <a:close/>
              </a:path>
              <a:path w="335279" h="267970">
                <a:moveTo>
                  <a:pt x="240407" y="258264"/>
                </a:moveTo>
                <a:lnTo>
                  <a:pt x="60095" y="10243"/>
                </a:lnTo>
                <a:lnTo>
                  <a:pt x="54841" y="10290"/>
                </a:lnTo>
                <a:lnTo>
                  <a:pt x="53223" y="17368"/>
                </a:lnTo>
                <a:lnTo>
                  <a:pt x="233934" y="265938"/>
                </a:lnTo>
                <a:lnTo>
                  <a:pt x="236982" y="267462"/>
                </a:lnTo>
                <a:lnTo>
                  <a:pt x="237744" y="267462"/>
                </a:lnTo>
                <a:lnTo>
                  <a:pt x="237744" y="258317"/>
                </a:lnTo>
                <a:lnTo>
                  <a:pt x="240407" y="258264"/>
                </a:lnTo>
                <a:close/>
              </a:path>
              <a:path w="335279" h="267970">
                <a:moveTo>
                  <a:pt x="55626" y="10283"/>
                </a:moveTo>
                <a:lnTo>
                  <a:pt x="55626" y="6857"/>
                </a:lnTo>
                <a:lnTo>
                  <a:pt x="54841" y="10290"/>
                </a:lnTo>
                <a:lnTo>
                  <a:pt x="55626" y="10283"/>
                </a:lnTo>
                <a:close/>
              </a:path>
              <a:path w="335279" h="267970">
                <a:moveTo>
                  <a:pt x="97536" y="9905"/>
                </a:moveTo>
                <a:lnTo>
                  <a:pt x="93726" y="7619"/>
                </a:lnTo>
                <a:lnTo>
                  <a:pt x="95412" y="9925"/>
                </a:lnTo>
                <a:lnTo>
                  <a:pt x="97536" y="9905"/>
                </a:lnTo>
                <a:close/>
              </a:path>
              <a:path w="335279" h="267970">
                <a:moveTo>
                  <a:pt x="95412" y="9925"/>
                </a:moveTo>
                <a:lnTo>
                  <a:pt x="93726" y="7619"/>
                </a:lnTo>
                <a:lnTo>
                  <a:pt x="93726" y="9940"/>
                </a:lnTo>
                <a:lnTo>
                  <a:pt x="95412" y="9925"/>
                </a:lnTo>
                <a:close/>
              </a:path>
              <a:path w="335279" h="267970">
                <a:moveTo>
                  <a:pt x="97536" y="12828"/>
                </a:moveTo>
                <a:lnTo>
                  <a:pt x="97536" y="9905"/>
                </a:lnTo>
                <a:lnTo>
                  <a:pt x="95412" y="9925"/>
                </a:lnTo>
                <a:lnTo>
                  <a:pt x="97536" y="12828"/>
                </a:lnTo>
                <a:close/>
              </a:path>
              <a:path w="335279" h="267970">
                <a:moveTo>
                  <a:pt x="241554" y="259841"/>
                </a:moveTo>
                <a:lnTo>
                  <a:pt x="240407" y="258264"/>
                </a:lnTo>
                <a:lnTo>
                  <a:pt x="237744" y="258317"/>
                </a:lnTo>
                <a:lnTo>
                  <a:pt x="241554" y="259841"/>
                </a:lnTo>
                <a:close/>
              </a:path>
              <a:path w="335279" h="267970">
                <a:moveTo>
                  <a:pt x="241554" y="267401"/>
                </a:moveTo>
                <a:lnTo>
                  <a:pt x="241554" y="259841"/>
                </a:lnTo>
                <a:lnTo>
                  <a:pt x="237744" y="258317"/>
                </a:lnTo>
                <a:lnTo>
                  <a:pt x="237744" y="267462"/>
                </a:lnTo>
                <a:lnTo>
                  <a:pt x="241554" y="267401"/>
                </a:lnTo>
                <a:close/>
              </a:path>
              <a:path w="335279" h="267970">
                <a:moveTo>
                  <a:pt x="313944" y="265953"/>
                </a:moveTo>
                <a:lnTo>
                  <a:pt x="313944" y="256794"/>
                </a:lnTo>
                <a:lnTo>
                  <a:pt x="310134" y="259079"/>
                </a:lnTo>
                <a:lnTo>
                  <a:pt x="310134" y="256870"/>
                </a:lnTo>
                <a:lnTo>
                  <a:pt x="240407" y="258264"/>
                </a:lnTo>
                <a:lnTo>
                  <a:pt x="241554" y="259841"/>
                </a:lnTo>
                <a:lnTo>
                  <a:pt x="241554" y="267401"/>
                </a:lnTo>
                <a:lnTo>
                  <a:pt x="310134" y="266029"/>
                </a:lnTo>
                <a:lnTo>
                  <a:pt x="310134" y="259079"/>
                </a:lnTo>
                <a:lnTo>
                  <a:pt x="311250" y="256847"/>
                </a:lnTo>
                <a:lnTo>
                  <a:pt x="311250" y="266007"/>
                </a:lnTo>
                <a:lnTo>
                  <a:pt x="313944" y="265953"/>
                </a:lnTo>
                <a:close/>
              </a:path>
              <a:path w="335279" h="267970">
                <a:moveTo>
                  <a:pt x="281940" y="248411"/>
                </a:moveTo>
                <a:lnTo>
                  <a:pt x="278097" y="243174"/>
                </a:lnTo>
                <a:lnTo>
                  <a:pt x="274320" y="249173"/>
                </a:lnTo>
                <a:lnTo>
                  <a:pt x="281940" y="248411"/>
                </a:lnTo>
                <a:close/>
              </a:path>
              <a:path w="335279" h="267970">
                <a:moveTo>
                  <a:pt x="281940" y="254507"/>
                </a:moveTo>
                <a:lnTo>
                  <a:pt x="281940" y="248411"/>
                </a:lnTo>
                <a:lnTo>
                  <a:pt x="274320" y="249173"/>
                </a:lnTo>
                <a:lnTo>
                  <a:pt x="274320" y="254508"/>
                </a:lnTo>
                <a:lnTo>
                  <a:pt x="275082" y="256031"/>
                </a:lnTo>
                <a:lnTo>
                  <a:pt x="280416" y="256031"/>
                </a:lnTo>
                <a:lnTo>
                  <a:pt x="281940" y="254507"/>
                </a:lnTo>
                <a:close/>
              </a:path>
              <a:path w="335279" h="267970">
                <a:moveTo>
                  <a:pt x="335280" y="231647"/>
                </a:moveTo>
                <a:lnTo>
                  <a:pt x="332994" y="227075"/>
                </a:lnTo>
                <a:lnTo>
                  <a:pt x="331470" y="226313"/>
                </a:lnTo>
                <a:lnTo>
                  <a:pt x="289560" y="226313"/>
                </a:lnTo>
                <a:lnTo>
                  <a:pt x="288036" y="227075"/>
                </a:lnTo>
                <a:lnTo>
                  <a:pt x="287274" y="228599"/>
                </a:lnTo>
                <a:lnTo>
                  <a:pt x="278097" y="243174"/>
                </a:lnTo>
                <a:lnTo>
                  <a:pt x="281940" y="248411"/>
                </a:lnTo>
                <a:lnTo>
                  <a:pt x="281940" y="254507"/>
                </a:lnTo>
                <a:lnTo>
                  <a:pt x="282702" y="253745"/>
                </a:lnTo>
                <a:lnTo>
                  <a:pt x="291084" y="240125"/>
                </a:lnTo>
                <a:lnTo>
                  <a:pt x="291084" y="236219"/>
                </a:lnTo>
                <a:lnTo>
                  <a:pt x="294894" y="233933"/>
                </a:lnTo>
                <a:lnTo>
                  <a:pt x="294894" y="236219"/>
                </a:lnTo>
                <a:lnTo>
                  <a:pt x="321564" y="236219"/>
                </a:lnTo>
                <a:lnTo>
                  <a:pt x="325374" y="228599"/>
                </a:lnTo>
                <a:lnTo>
                  <a:pt x="329946" y="236219"/>
                </a:lnTo>
                <a:lnTo>
                  <a:pt x="329946" y="241880"/>
                </a:lnTo>
                <a:lnTo>
                  <a:pt x="334518" y="233171"/>
                </a:lnTo>
                <a:lnTo>
                  <a:pt x="335280" y="231647"/>
                </a:lnTo>
                <a:close/>
              </a:path>
              <a:path w="335279" h="267970">
                <a:moveTo>
                  <a:pt x="294894" y="233933"/>
                </a:moveTo>
                <a:lnTo>
                  <a:pt x="291084" y="236219"/>
                </a:lnTo>
                <a:lnTo>
                  <a:pt x="293487" y="236219"/>
                </a:lnTo>
                <a:lnTo>
                  <a:pt x="294894" y="233933"/>
                </a:lnTo>
                <a:close/>
              </a:path>
              <a:path w="335279" h="267970">
                <a:moveTo>
                  <a:pt x="293487" y="236219"/>
                </a:moveTo>
                <a:lnTo>
                  <a:pt x="291084" y="236219"/>
                </a:lnTo>
                <a:lnTo>
                  <a:pt x="291084" y="240125"/>
                </a:lnTo>
                <a:lnTo>
                  <a:pt x="293487" y="236219"/>
                </a:lnTo>
                <a:close/>
              </a:path>
              <a:path w="335279" h="267970">
                <a:moveTo>
                  <a:pt x="294894" y="236219"/>
                </a:moveTo>
                <a:lnTo>
                  <a:pt x="294894" y="233933"/>
                </a:lnTo>
                <a:lnTo>
                  <a:pt x="293487" y="236219"/>
                </a:lnTo>
                <a:lnTo>
                  <a:pt x="294894" y="236219"/>
                </a:lnTo>
                <a:close/>
              </a:path>
              <a:path w="335279" h="267970">
                <a:moveTo>
                  <a:pt x="313944" y="256794"/>
                </a:moveTo>
                <a:lnTo>
                  <a:pt x="311250" y="256847"/>
                </a:lnTo>
                <a:lnTo>
                  <a:pt x="310134" y="259079"/>
                </a:lnTo>
                <a:lnTo>
                  <a:pt x="313944" y="256794"/>
                </a:lnTo>
                <a:close/>
              </a:path>
              <a:path w="335279" h="267970">
                <a:moveTo>
                  <a:pt x="329946" y="241880"/>
                </a:moveTo>
                <a:lnTo>
                  <a:pt x="329946" y="236219"/>
                </a:lnTo>
                <a:lnTo>
                  <a:pt x="321564" y="236219"/>
                </a:lnTo>
                <a:lnTo>
                  <a:pt x="311250" y="256847"/>
                </a:lnTo>
                <a:lnTo>
                  <a:pt x="313944" y="256794"/>
                </a:lnTo>
                <a:lnTo>
                  <a:pt x="313944" y="265953"/>
                </a:lnTo>
                <a:lnTo>
                  <a:pt x="316230" y="265938"/>
                </a:lnTo>
                <a:lnTo>
                  <a:pt x="317754" y="265176"/>
                </a:lnTo>
                <a:lnTo>
                  <a:pt x="318516" y="263652"/>
                </a:lnTo>
                <a:lnTo>
                  <a:pt x="329946" y="241880"/>
                </a:lnTo>
                <a:close/>
              </a:path>
              <a:path w="335279" h="267970">
                <a:moveTo>
                  <a:pt x="329946" y="236219"/>
                </a:moveTo>
                <a:lnTo>
                  <a:pt x="325374" y="228599"/>
                </a:lnTo>
                <a:lnTo>
                  <a:pt x="321564" y="236219"/>
                </a:lnTo>
                <a:lnTo>
                  <a:pt x="329946" y="2362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9" name="object 91"/>
          <p:cNvSpPr/>
          <p:nvPr/>
        </p:nvSpPr>
        <p:spPr>
          <a:xfrm>
            <a:off x="4046505" y="1453409"/>
            <a:ext cx="276327" cy="86342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0" name="object 92"/>
          <p:cNvSpPr/>
          <p:nvPr/>
        </p:nvSpPr>
        <p:spPr>
          <a:xfrm>
            <a:off x="4043484" y="1451039"/>
            <a:ext cx="283130" cy="90856"/>
          </a:xfrm>
          <a:custGeom>
            <a:avLst/>
            <a:gdLst/>
            <a:ahLst/>
            <a:cxnLst/>
            <a:rect l="l" t="t" r="r" b="b"/>
            <a:pathLst>
              <a:path w="428625" h="204470">
                <a:moveTo>
                  <a:pt x="428244" y="199644"/>
                </a:moveTo>
                <a:lnTo>
                  <a:pt x="426720" y="196596"/>
                </a:lnTo>
                <a:lnTo>
                  <a:pt x="279654" y="1524"/>
                </a:lnTo>
                <a:lnTo>
                  <a:pt x="278892" y="762"/>
                </a:lnTo>
                <a:lnTo>
                  <a:pt x="277368" y="0"/>
                </a:lnTo>
                <a:lnTo>
                  <a:pt x="3048" y="0"/>
                </a:lnTo>
                <a:lnTo>
                  <a:pt x="1524" y="1524"/>
                </a:lnTo>
                <a:lnTo>
                  <a:pt x="0" y="4572"/>
                </a:lnTo>
                <a:lnTo>
                  <a:pt x="0" y="6096"/>
                </a:lnTo>
                <a:lnTo>
                  <a:pt x="762" y="7620"/>
                </a:lnTo>
                <a:lnTo>
                  <a:pt x="4572" y="12871"/>
                </a:lnTo>
                <a:lnTo>
                  <a:pt x="4572" y="9906"/>
                </a:lnTo>
                <a:lnTo>
                  <a:pt x="8382" y="2286"/>
                </a:lnTo>
                <a:lnTo>
                  <a:pt x="13891" y="9879"/>
                </a:lnTo>
                <a:lnTo>
                  <a:pt x="272034" y="9154"/>
                </a:lnTo>
                <a:lnTo>
                  <a:pt x="272034" y="7620"/>
                </a:lnTo>
                <a:lnTo>
                  <a:pt x="275844" y="9144"/>
                </a:lnTo>
                <a:lnTo>
                  <a:pt x="275844" y="12673"/>
                </a:lnTo>
                <a:lnTo>
                  <a:pt x="413355" y="195072"/>
                </a:lnTo>
                <a:lnTo>
                  <a:pt x="422910" y="195072"/>
                </a:lnTo>
                <a:lnTo>
                  <a:pt x="422910" y="204216"/>
                </a:lnTo>
                <a:lnTo>
                  <a:pt x="424434" y="204216"/>
                </a:lnTo>
                <a:lnTo>
                  <a:pt x="426720" y="203454"/>
                </a:lnTo>
                <a:lnTo>
                  <a:pt x="427482" y="201930"/>
                </a:lnTo>
                <a:lnTo>
                  <a:pt x="428244" y="199644"/>
                </a:lnTo>
                <a:close/>
              </a:path>
              <a:path w="428625" h="204470">
                <a:moveTo>
                  <a:pt x="13891" y="9879"/>
                </a:moveTo>
                <a:lnTo>
                  <a:pt x="8382" y="2286"/>
                </a:lnTo>
                <a:lnTo>
                  <a:pt x="4572" y="9906"/>
                </a:lnTo>
                <a:lnTo>
                  <a:pt x="13891" y="9879"/>
                </a:lnTo>
                <a:close/>
              </a:path>
              <a:path w="428625" h="204470">
                <a:moveTo>
                  <a:pt x="148246" y="195072"/>
                </a:moveTo>
                <a:lnTo>
                  <a:pt x="13891" y="9879"/>
                </a:lnTo>
                <a:lnTo>
                  <a:pt x="4572" y="9906"/>
                </a:lnTo>
                <a:lnTo>
                  <a:pt x="4572" y="12871"/>
                </a:lnTo>
                <a:lnTo>
                  <a:pt x="141732" y="201930"/>
                </a:lnTo>
                <a:lnTo>
                  <a:pt x="142494" y="203454"/>
                </a:lnTo>
                <a:lnTo>
                  <a:pt x="144018" y="204216"/>
                </a:lnTo>
                <a:lnTo>
                  <a:pt x="145542" y="204216"/>
                </a:lnTo>
                <a:lnTo>
                  <a:pt x="145542" y="195072"/>
                </a:lnTo>
                <a:lnTo>
                  <a:pt x="148246" y="195072"/>
                </a:lnTo>
                <a:close/>
              </a:path>
              <a:path w="428625" h="204470">
                <a:moveTo>
                  <a:pt x="149352" y="196596"/>
                </a:moveTo>
                <a:lnTo>
                  <a:pt x="148246" y="195072"/>
                </a:lnTo>
                <a:lnTo>
                  <a:pt x="145542" y="195072"/>
                </a:lnTo>
                <a:lnTo>
                  <a:pt x="149352" y="196596"/>
                </a:lnTo>
                <a:close/>
              </a:path>
              <a:path w="428625" h="204470">
                <a:moveTo>
                  <a:pt x="149352" y="204216"/>
                </a:moveTo>
                <a:lnTo>
                  <a:pt x="149352" y="196596"/>
                </a:lnTo>
                <a:lnTo>
                  <a:pt x="145542" y="195072"/>
                </a:lnTo>
                <a:lnTo>
                  <a:pt x="145542" y="204216"/>
                </a:lnTo>
                <a:lnTo>
                  <a:pt x="149352" y="204216"/>
                </a:lnTo>
                <a:close/>
              </a:path>
              <a:path w="428625" h="204470">
                <a:moveTo>
                  <a:pt x="422910" y="204216"/>
                </a:moveTo>
                <a:lnTo>
                  <a:pt x="422910" y="195072"/>
                </a:lnTo>
                <a:lnTo>
                  <a:pt x="419100" y="202692"/>
                </a:lnTo>
                <a:lnTo>
                  <a:pt x="413355" y="195072"/>
                </a:lnTo>
                <a:lnTo>
                  <a:pt x="148246" y="195072"/>
                </a:lnTo>
                <a:lnTo>
                  <a:pt x="149352" y="196596"/>
                </a:lnTo>
                <a:lnTo>
                  <a:pt x="149352" y="204216"/>
                </a:lnTo>
                <a:lnTo>
                  <a:pt x="422910" y="204216"/>
                </a:lnTo>
                <a:close/>
              </a:path>
              <a:path w="428625" h="204470">
                <a:moveTo>
                  <a:pt x="275844" y="9144"/>
                </a:moveTo>
                <a:lnTo>
                  <a:pt x="272034" y="7620"/>
                </a:lnTo>
                <a:lnTo>
                  <a:pt x="273188" y="9151"/>
                </a:lnTo>
                <a:lnTo>
                  <a:pt x="275844" y="9144"/>
                </a:lnTo>
                <a:close/>
              </a:path>
              <a:path w="428625" h="204470">
                <a:moveTo>
                  <a:pt x="273188" y="9151"/>
                </a:moveTo>
                <a:lnTo>
                  <a:pt x="272034" y="7620"/>
                </a:lnTo>
                <a:lnTo>
                  <a:pt x="272034" y="9154"/>
                </a:lnTo>
                <a:lnTo>
                  <a:pt x="273188" y="9151"/>
                </a:lnTo>
                <a:close/>
              </a:path>
              <a:path w="428625" h="204470">
                <a:moveTo>
                  <a:pt x="275844" y="12673"/>
                </a:moveTo>
                <a:lnTo>
                  <a:pt x="275844" y="9144"/>
                </a:lnTo>
                <a:lnTo>
                  <a:pt x="273188" y="9151"/>
                </a:lnTo>
                <a:lnTo>
                  <a:pt x="275844" y="12673"/>
                </a:lnTo>
                <a:close/>
              </a:path>
              <a:path w="428625" h="204470">
                <a:moveTo>
                  <a:pt x="422910" y="195072"/>
                </a:moveTo>
                <a:lnTo>
                  <a:pt x="413355" y="195072"/>
                </a:lnTo>
                <a:lnTo>
                  <a:pt x="419100" y="202692"/>
                </a:lnTo>
                <a:lnTo>
                  <a:pt x="422910" y="1950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1" name="object 93"/>
          <p:cNvSpPr/>
          <p:nvPr/>
        </p:nvSpPr>
        <p:spPr>
          <a:xfrm>
            <a:off x="4399340" y="1439302"/>
            <a:ext cx="213920" cy="113993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2" name="object 94"/>
          <p:cNvSpPr/>
          <p:nvPr/>
        </p:nvSpPr>
        <p:spPr>
          <a:xfrm>
            <a:off x="4395312" y="1436480"/>
            <a:ext cx="221471" cy="119073"/>
          </a:xfrm>
          <a:custGeom>
            <a:avLst/>
            <a:gdLst/>
            <a:ahLst/>
            <a:cxnLst/>
            <a:rect l="l" t="t" r="r" b="b"/>
            <a:pathLst>
              <a:path w="335279" h="267970">
                <a:moveTo>
                  <a:pt x="277844" y="243575"/>
                </a:moveTo>
                <a:lnTo>
                  <a:pt x="101345" y="2285"/>
                </a:lnTo>
                <a:lnTo>
                  <a:pt x="100583" y="761"/>
                </a:lnTo>
                <a:lnTo>
                  <a:pt x="99059" y="0"/>
                </a:lnTo>
                <a:lnTo>
                  <a:pt x="11429" y="761"/>
                </a:lnTo>
                <a:lnTo>
                  <a:pt x="9143" y="2285"/>
                </a:lnTo>
                <a:lnTo>
                  <a:pt x="8381" y="4571"/>
                </a:lnTo>
                <a:lnTo>
                  <a:pt x="761" y="31241"/>
                </a:lnTo>
                <a:lnTo>
                  <a:pt x="0" y="32765"/>
                </a:lnTo>
                <a:lnTo>
                  <a:pt x="0" y="34289"/>
                </a:lnTo>
                <a:lnTo>
                  <a:pt x="1523" y="35051"/>
                </a:lnTo>
                <a:lnTo>
                  <a:pt x="2285" y="36575"/>
                </a:lnTo>
                <a:lnTo>
                  <a:pt x="3809" y="37337"/>
                </a:lnTo>
                <a:lnTo>
                  <a:pt x="5333" y="37337"/>
                </a:lnTo>
                <a:lnTo>
                  <a:pt x="5333" y="27431"/>
                </a:lnTo>
                <a:lnTo>
                  <a:pt x="11647" y="27431"/>
                </a:lnTo>
                <a:lnTo>
                  <a:pt x="12953" y="22859"/>
                </a:lnTo>
                <a:lnTo>
                  <a:pt x="12953" y="10667"/>
                </a:lnTo>
                <a:lnTo>
                  <a:pt x="17525" y="6857"/>
                </a:lnTo>
                <a:lnTo>
                  <a:pt x="17525" y="10626"/>
                </a:lnTo>
                <a:lnTo>
                  <a:pt x="45154" y="10377"/>
                </a:lnTo>
                <a:lnTo>
                  <a:pt x="46481" y="4571"/>
                </a:lnTo>
                <a:lnTo>
                  <a:pt x="47243" y="3047"/>
                </a:lnTo>
                <a:lnTo>
                  <a:pt x="48767" y="1523"/>
                </a:lnTo>
                <a:lnTo>
                  <a:pt x="50291" y="1523"/>
                </a:lnTo>
                <a:lnTo>
                  <a:pt x="51815" y="761"/>
                </a:lnTo>
                <a:lnTo>
                  <a:pt x="54101" y="1523"/>
                </a:lnTo>
                <a:lnTo>
                  <a:pt x="54863" y="3047"/>
                </a:lnTo>
                <a:lnTo>
                  <a:pt x="60116" y="10243"/>
                </a:lnTo>
                <a:lnTo>
                  <a:pt x="93725" y="9940"/>
                </a:lnTo>
                <a:lnTo>
                  <a:pt x="93725" y="7619"/>
                </a:lnTo>
                <a:lnTo>
                  <a:pt x="97535" y="9905"/>
                </a:lnTo>
                <a:lnTo>
                  <a:pt x="97535" y="12828"/>
                </a:lnTo>
                <a:lnTo>
                  <a:pt x="274319" y="254508"/>
                </a:lnTo>
                <a:lnTo>
                  <a:pt x="274319" y="249173"/>
                </a:lnTo>
                <a:lnTo>
                  <a:pt x="277844" y="243575"/>
                </a:lnTo>
                <a:close/>
              </a:path>
              <a:path w="335279" h="267970">
                <a:moveTo>
                  <a:pt x="11647" y="27431"/>
                </a:moveTo>
                <a:lnTo>
                  <a:pt x="5333" y="27431"/>
                </a:lnTo>
                <a:lnTo>
                  <a:pt x="9905" y="33527"/>
                </a:lnTo>
                <a:lnTo>
                  <a:pt x="11647" y="27431"/>
                </a:lnTo>
                <a:close/>
              </a:path>
              <a:path w="335279" h="267970">
                <a:moveTo>
                  <a:pt x="41256" y="27431"/>
                </a:moveTo>
                <a:lnTo>
                  <a:pt x="11647" y="27431"/>
                </a:lnTo>
                <a:lnTo>
                  <a:pt x="9905" y="33527"/>
                </a:lnTo>
                <a:lnTo>
                  <a:pt x="5333" y="27431"/>
                </a:lnTo>
                <a:lnTo>
                  <a:pt x="5333" y="37337"/>
                </a:lnTo>
                <a:lnTo>
                  <a:pt x="40385" y="37337"/>
                </a:lnTo>
                <a:lnTo>
                  <a:pt x="40385" y="31241"/>
                </a:lnTo>
                <a:lnTo>
                  <a:pt x="41256" y="27431"/>
                </a:lnTo>
                <a:close/>
              </a:path>
              <a:path w="335279" h="267970">
                <a:moveTo>
                  <a:pt x="17525" y="6857"/>
                </a:moveTo>
                <a:lnTo>
                  <a:pt x="12953" y="10667"/>
                </a:lnTo>
                <a:lnTo>
                  <a:pt x="16446" y="10636"/>
                </a:lnTo>
                <a:lnTo>
                  <a:pt x="17525" y="6857"/>
                </a:lnTo>
                <a:close/>
              </a:path>
              <a:path w="335279" h="267970">
                <a:moveTo>
                  <a:pt x="16446" y="10636"/>
                </a:moveTo>
                <a:lnTo>
                  <a:pt x="12953" y="10667"/>
                </a:lnTo>
                <a:lnTo>
                  <a:pt x="12953" y="22859"/>
                </a:lnTo>
                <a:lnTo>
                  <a:pt x="16446" y="10636"/>
                </a:lnTo>
                <a:close/>
              </a:path>
              <a:path w="335279" h="267970">
                <a:moveTo>
                  <a:pt x="17525" y="10626"/>
                </a:moveTo>
                <a:lnTo>
                  <a:pt x="17525" y="6857"/>
                </a:lnTo>
                <a:lnTo>
                  <a:pt x="16446" y="10636"/>
                </a:lnTo>
                <a:lnTo>
                  <a:pt x="17525" y="10626"/>
                </a:lnTo>
                <a:close/>
              </a:path>
              <a:path w="335279" h="267970">
                <a:moveTo>
                  <a:pt x="44957" y="27431"/>
                </a:moveTo>
                <a:lnTo>
                  <a:pt x="41256" y="27431"/>
                </a:lnTo>
                <a:lnTo>
                  <a:pt x="40385" y="31241"/>
                </a:lnTo>
                <a:lnTo>
                  <a:pt x="44957" y="27431"/>
                </a:lnTo>
                <a:close/>
              </a:path>
              <a:path w="335279" h="267970">
                <a:moveTo>
                  <a:pt x="44957" y="37337"/>
                </a:moveTo>
                <a:lnTo>
                  <a:pt x="44957" y="27431"/>
                </a:lnTo>
                <a:lnTo>
                  <a:pt x="40385" y="31241"/>
                </a:lnTo>
                <a:lnTo>
                  <a:pt x="40385" y="37337"/>
                </a:lnTo>
                <a:lnTo>
                  <a:pt x="44957" y="37337"/>
                </a:lnTo>
                <a:close/>
              </a:path>
              <a:path w="335279" h="267970">
                <a:moveTo>
                  <a:pt x="53223" y="17368"/>
                </a:moveTo>
                <a:lnTo>
                  <a:pt x="48121" y="10351"/>
                </a:lnTo>
                <a:lnTo>
                  <a:pt x="45154" y="10377"/>
                </a:lnTo>
                <a:lnTo>
                  <a:pt x="41256" y="27431"/>
                </a:lnTo>
                <a:lnTo>
                  <a:pt x="44957" y="27431"/>
                </a:lnTo>
                <a:lnTo>
                  <a:pt x="44957" y="37337"/>
                </a:lnTo>
                <a:lnTo>
                  <a:pt x="47243" y="37337"/>
                </a:lnTo>
                <a:lnTo>
                  <a:pt x="48767" y="35813"/>
                </a:lnTo>
                <a:lnTo>
                  <a:pt x="49529" y="33527"/>
                </a:lnTo>
                <a:lnTo>
                  <a:pt x="53223" y="17368"/>
                </a:lnTo>
                <a:close/>
              </a:path>
              <a:path w="335279" h="267970">
                <a:moveTo>
                  <a:pt x="60116" y="10243"/>
                </a:moveTo>
                <a:lnTo>
                  <a:pt x="54841" y="3002"/>
                </a:lnTo>
                <a:lnTo>
                  <a:pt x="54101" y="1523"/>
                </a:lnTo>
                <a:lnTo>
                  <a:pt x="51815" y="761"/>
                </a:lnTo>
                <a:lnTo>
                  <a:pt x="50291" y="1523"/>
                </a:lnTo>
                <a:lnTo>
                  <a:pt x="48767" y="1523"/>
                </a:lnTo>
                <a:lnTo>
                  <a:pt x="47243" y="3047"/>
                </a:lnTo>
                <a:lnTo>
                  <a:pt x="46481" y="4571"/>
                </a:lnTo>
                <a:lnTo>
                  <a:pt x="45154" y="10377"/>
                </a:lnTo>
                <a:lnTo>
                  <a:pt x="47243" y="10359"/>
                </a:lnTo>
                <a:lnTo>
                  <a:pt x="47243" y="9143"/>
                </a:lnTo>
                <a:lnTo>
                  <a:pt x="55625" y="6857"/>
                </a:lnTo>
                <a:lnTo>
                  <a:pt x="55625" y="10283"/>
                </a:lnTo>
                <a:lnTo>
                  <a:pt x="60116" y="10243"/>
                </a:lnTo>
                <a:close/>
              </a:path>
              <a:path w="335279" h="267970">
                <a:moveTo>
                  <a:pt x="55625" y="6857"/>
                </a:moveTo>
                <a:lnTo>
                  <a:pt x="47243" y="9143"/>
                </a:lnTo>
                <a:lnTo>
                  <a:pt x="48121" y="10351"/>
                </a:lnTo>
                <a:lnTo>
                  <a:pt x="54841" y="10290"/>
                </a:lnTo>
                <a:lnTo>
                  <a:pt x="55625" y="6857"/>
                </a:lnTo>
                <a:close/>
              </a:path>
              <a:path w="335279" h="267970">
                <a:moveTo>
                  <a:pt x="48121" y="10351"/>
                </a:moveTo>
                <a:lnTo>
                  <a:pt x="47243" y="9143"/>
                </a:lnTo>
                <a:lnTo>
                  <a:pt x="47243" y="10359"/>
                </a:lnTo>
                <a:lnTo>
                  <a:pt x="48121" y="10351"/>
                </a:lnTo>
                <a:close/>
              </a:path>
              <a:path w="335279" h="267970">
                <a:moveTo>
                  <a:pt x="54841" y="10290"/>
                </a:moveTo>
                <a:lnTo>
                  <a:pt x="48121" y="10351"/>
                </a:lnTo>
                <a:lnTo>
                  <a:pt x="53223" y="17368"/>
                </a:lnTo>
                <a:lnTo>
                  <a:pt x="54841" y="10290"/>
                </a:lnTo>
                <a:close/>
              </a:path>
              <a:path w="335279" h="267970">
                <a:moveTo>
                  <a:pt x="241154" y="258250"/>
                </a:moveTo>
                <a:lnTo>
                  <a:pt x="60116" y="10243"/>
                </a:lnTo>
                <a:lnTo>
                  <a:pt x="54841" y="10290"/>
                </a:lnTo>
                <a:lnTo>
                  <a:pt x="53223" y="17368"/>
                </a:lnTo>
                <a:lnTo>
                  <a:pt x="233933" y="265938"/>
                </a:lnTo>
                <a:lnTo>
                  <a:pt x="236981" y="267462"/>
                </a:lnTo>
                <a:lnTo>
                  <a:pt x="237743" y="267462"/>
                </a:lnTo>
                <a:lnTo>
                  <a:pt x="237743" y="258317"/>
                </a:lnTo>
                <a:lnTo>
                  <a:pt x="241154" y="258250"/>
                </a:lnTo>
                <a:close/>
              </a:path>
              <a:path w="335279" h="267970">
                <a:moveTo>
                  <a:pt x="55625" y="10283"/>
                </a:moveTo>
                <a:lnTo>
                  <a:pt x="55625" y="6857"/>
                </a:lnTo>
                <a:lnTo>
                  <a:pt x="54841" y="10290"/>
                </a:lnTo>
                <a:lnTo>
                  <a:pt x="55625" y="10283"/>
                </a:lnTo>
                <a:close/>
              </a:path>
              <a:path w="335279" h="267970">
                <a:moveTo>
                  <a:pt x="97535" y="9905"/>
                </a:moveTo>
                <a:lnTo>
                  <a:pt x="93725" y="7619"/>
                </a:lnTo>
                <a:lnTo>
                  <a:pt x="95412" y="9925"/>
                </a:lnTo>
                <a:lnTo>
                  <a:pt x="97535" y="9905"/>
                </a:lnTo>
                <a:close/>
              </a:path>
              <a:path w="335279" h="267970">
                <a:moveTo>
                  <a:pt x="95412" y="9925"/>
                </a:moveTo>
                <a:lnTo>
                  <a:pt x="93725" y="7619"/>
                </a:lnTo>
                <a:lnTo>
                  <a:pt x="93725" y="9940"/>
                </a:lnTo>
                <a:lnTo>
                  <a:pt x="95412" y="9925"/>
                </a:lnTo>
                <a:close/>
              </a:path>
              <a:path w="335279" h="267970">
                <a:moveTo>
                  <a:pt x="97535" y="12828"/>
                </a:moveTo>
                <a:lnTo>
                  <a:pt x="97535" y="9905"/>
                </a:lnTo>
                <a:lnTo>
                  <a:pt x="95412" y="9925"/>
                </a:lnTo>
                <a:lnTo>
                  <a:pt x="97535" y="12828"/>
                </a:lnTo>
                <a:close/>
              </a:path>
              <a:path w="335279" h="267970">
                <a:moveTo>
                  <a:pt x="242315" y="259841"/>
                </a:moveTo>
                <a:lnTo>
                  <a:pt x="241154" y="258250"/>
                </a:lnTo>
                <a:lnTo>
                  <a:pt x="237743" y="258317"/>
                </a:lnTo>
                <a:lnTo>
                  <a:pt x="242315" y="259841"/>
                </a:lnTo>
                <a:close/>
              </a:path>
              <a:path w="335279" h="267970">
                <a:moveTo>
                  <a:pt x="242315" y="267385"/>
                </a:moveTo>
                <a:lnTo>
                  <a:pt x="242315" y="259841"/>
                </a:lnTo>
                <a:lnTo>
                  <a:pt x="237743" y="258317"/>
                </a:lnTo>
                <a:lnTo>
                  <a:pt x="237743" y="267462"/>
                </a:lnTo>
                <a:lnTo>
                  <a:pt x="242315" y="267385"/>
                </a:lnTo>
                <a:close/>
              </a:path>
              <a:path w="335279" h="267970">
                <a:moveTo>
                  <a:pt x="314705" y="265938"/>
                </a:moveTo>
                <a:lnTo>
                  <a:pt x="314705" y="256794"/>
                </a:lnTo>
                <a:lnTo>
                  <a:pt x="310133" y="259079"/>
                </a:lnTo>
                <a:lnTo>
                  <a:pt x="310133" y="256884"/>
                </a:lnTo>
                <a:lnTo>
                  <a:pt x="241154" y="258250"/>
                </a:lnTo>
                <a:lnTo>
                  <a:pt x="242315" y="259841"/>
                </a:lnTo>
                <a:lnTo>
                  <a:pt x="242315" y="267385"/>
                </a:lnTo>
                <a:lnTo>
                  <a:pt x="310133" y="266029"/>
                </a:lnTo>
                <a:lnTo>
                  <a:pt x="310133" y="259079"/>
                </a:lnTo>
                <a:lnTo>
                  <a:pt x="311298" y="256861"/>
                </a:lnTo>
                <a:lnTo>
                  <a:pt x="311298" y="266006"/>
                </a:lnTo>
                <a:lnTo>
                  <a:pt x="314705" y="265938"/>
                </a:lnTo>
                <a:close/>
              </a:path>
              <a:path w="335279" h="267970">
                <a:moveTo>
                  <a:pt x="281939" y="249173"/>
                </a:moveTo>
                <a:lnTo>
                  <a:pt x="277844" y="243575"/>
                </a:lnTo>
                <a:lnTo>
                  <a:pt x="274319" y="249173"/>
                </a:lnTo>
                <a:lnTo>
                  <a:pt x="281939" y="249173"/>
                </a:lnTo>
                <a:close/>
              </a:path>
              <a:path w="335279" h="267970">
                <a:moveTo>
                  <a:pt x="281939" y="255269"/>
                </a:moveTo>
                <a:lnTo>
                  <a:pt x="281939" y="249173"/>
                </a:lnTo>
                <a:lnTo>
                  <a:pt x="274319" y="249173"/>
                </a:lnTo>
                <a:lnTo>
                  <a:pt x="274319" y="254508"/>
                </a:lnTo>
                <a:lnTo>
                  <a:pt x="276605" y="256794"/>
                </a:lnTo>
                <a:lnTo>
                  <a:pt x="278891" y="256031"/>
                </a:lnTo>
                <a:lnTo>
                  <a:pt x="280415" y="256031"/>
                </a:lnTo>
                <a:lnTo>
                  <a:pt x="281939" y="255269"/>
                </a:lnTo>
                <a:close/>
              </a:path>
              <a:path w="335279" h="267970">
                <a:moveTo>
                  <a:pt x="335279" y="231647"/>
                </a:moveTo>
                <a:lnTo>
                  <a:pt x="335279" y="230123"/>
                </a:lnTo>
                <a:lnTo>
                  <a:pt x="333755" y="228599"/>
                </a:lnTo>
                <a:lnTo>
                  <a:pt x="332993" y="227075"/>
                </a:lnTo>
                <a:lnTo>
                  <a:pt x="331469" y="226313"/>
                </a:lnTo>
                <a:lnTo>
                  <a:pt x="289559" y="226313"/>
                </a:lnTo>
                <a:lnTo>
                  <a:pt x="288035" y="227075"/>
                </a:lnTo>
                <a:lnTo>
                  <a:pt x="287273" y="228599"/>
                </a:lnTo>
                <a:lnTo>
                  <a:pt x="277844" y="243575"/>
                </a:lnTo>
                <a:lnTo>
                  <a:pt x="281939" y="249173"/>
                </a:lnTo>
                <a:lnTo>
                  <a:pt x="281939" y="255269"/>
                </a:lnTo>
                <a:lnTo>
                  <a:pt x="282701" y="254508"/>
                </a:lnTo>
                <a:lnTo>
                  <a:pt x="291083" y="240363"/>
                </a:lnTo>
                <a:lnTo>
                  <a:pt x="291083" y="236219"/>
                </a:lnTo>
                <a:lnTo>
                  <a:pt x="294893" y="233933"/>
                </a:lnTo>
                <a:lnTo>
                  <a:pt x="294893" y="236219"/>
                </a:lnTo>
                <a:lnTo>
                  <a:pt x="322135" y="236219"/>
                </a:lnTo>
                <a:lnTo>
                  <a:pt x="326135" y="228599"/>
                </a:lnTo>
                <a:lnTo>
                  <a:pt x="329945" y="236219"/>
                </a:lnTo>
                <a:lnTo>
                  <a:pt x="329945" y="241880"/>
                </a:lnTo>
                <a:lnTo>
                  <a:pt x="334517" y="233171"/>
                </a:lnTo>
                <a:lnTo>
                  <a:pt x="335279" y="231647"/>
                </a:lnTo>
                <a:close/>
              </a:path>
              <a:path w="335279" h="267970">
                <a:moveTo>
                  <a:pt x="294893" y="233933"/>
                </a:moveTo>
                <a:lnTo>
                  <a:pt x="291083" y="236219"/>
                </a:lnTo>
                <a:lnTo>
                  <a:pt x="293539" y="236219"/>
                </a:lnTo>
                <a:lnTo>
                  <a:pt x="294893" y="233933"/>
                </a:lnTo>
                <a:close/>
              </a:path>
              <a:path w="335279" h="267970">
                <a:moveTo>
                  <a:pt x="293539" y="236219"/>
                </a:moveTo>
                <a:lnTo>
                  <a:pt x="291083" y="236219"/>
                </a:lnTo>
                <a:lnTo>
                  <a:pt x="291083" y="240363"/>
                </a:lnTo>
                <a:lnTo>
                  <a:pt x="293539" y="236219"/>
                </a:lnTo>
                <a:close/>
              </a:path>
              <a:path w="335279" h="267970">
                <a:moveTo>
                  <a:pt x="294893" y="236219"/>
                </a:moveTo>
                <a:lnTo>
                  <a:pt x="294893" y="233933"/>
                </a:lnTo>
                <a:lnTo>
                  <a:pt x="293539" y="236219"/>
                </a:lnTo>
                <a:lnTo>
                  <a:pt x="294893" y="236219"/>
                </a:lnTo>
                <a:close/>
              </a:path>
              <a:path w="335279" h="267970">
                <a:moveTo>
                  <a:pt x="314705" y="256794"/>
                </a:moveTo>
                <a:lnTo>
                  <a:pt x="311298" y="256861"/>
                </a:lnTo>
                <a:lnTo>
                  <a:pt x="310133" y="259079"/>
                </a:lnTo>
                <a:lnTo>
                  <a:pt x="314705" y="256794"/>
                </a:lnTo>
                <a:close/>
              </a:path>
              <a:path w="335279" h="267970">
                <a:moveTo>
                  <a:pt x="329945" y="241880"/>
                </a:moveTo>
                <a:lnTo>
                  <a:pt x="329945" y="236219"/>
                </a:lnTo>
                <a:lnTo>
                  <a:pt x="322135" y="236219"/>
                </a:lnTo>
                <a:lnTo>
                  <a:pt x="311298" y="256861"/>
                </a:lnTo>
                <a:lnTo>
                  <a:pt x="314705" y="256794"/>
                </a:lnTo>
                <a:lnTo>
                  <a:pt x="314705" y="265938"/>
                </a:lnTo>
                <a:lnTo>
                  <a:pt x="316229" y="265938"/>
                </a:lnTo>
                <a:lnTo>
                  <a:pt x="317753" y="265176"/>
                </a:lnTo>
                <a:lnTo>
                  <a:pt x="318515" y="263652"/>
                </a:lnTo>
                <a:lnTo>
                  <a:pt x="329945" y="241880"/>
                </a:lnTo>
                <a:close/>
              </a:path>
              <a:path w="335279" h="267970">
                <a:moveTo>
                  <a:pt x="329945" y="236219"/>
                </a:moveTo>
                <a:lnTo>
                  <a:pt x="326135" y="228599"/>
                </a:lnTo>
                <a:lnTo>
                  <a:pt x="322135" y="236219"/>
                </a:lnTo>
                <a:lnTo>
                  <a:pt x="329945" y="2362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3" name="object 95"/>
          <p:cNvSpPr/>
          <p:nvPr/>
        </p:nvSpPr>
        <p:spPr>
          <a:xfrm>
            <a:off x="4261423" y="1452733"/>
            <a:ext cx="276336" cy="86342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4" name="object 96"/>
          <p:cNvSpPr/>
          <p:nvPr/>
        </p:nvSpPr>
        <p:spPr>
          <a:xfrm>
            <a:off x="4258403" y="1450362"/>
            <a:ext cx="283130" cy="90856"/>
          </a:xfrm>
          <a:custGeom>
            <a:avLst/>
            <a:gdLst/>
            <a:ahLst/>
            <a:cxnLst/>
            <a:rect l="l" t="t" r="r" b="b"/>
            <a:pathLst>
              <a:path w="428625" h="204470">
                <a:moveTo>
                  <a:pt x="428244" y="200406"/>
                </a:moveTo>
                <a:lnTo>
                  <a:pt x="428244" y="198120"/>
                </a:lnTo>
                <a:lnTo>
                  <a:pt x="426720" y="196596"/>
                </a:lnTo>
                <a:lnTo>
                  <a:pt x="279654" y="2286"/>
                </a:lnTo>
                <a:lnTo>
                  <a:pt x="278892" y="762"/>
                </a:lnTo>
                <a:lnTo>
                  <a:pt x="277368" y="0"/>
                </a:lnTo>
                <a:lnTo>
                  <a:pt x="3048" y="762"/>
                </a:lnTo>
                <a:lnTo>
                  <a:pt x="1524" y="1524"/>
                </a:lnTo>
                <a:lnTo>
                  <a:pt x="0" y="4572"/>
                </a:lnTo>
                <a:lnTo>
                  <a:pt x="0" y="6858"/>
                </a:lnTo>
                <a:lnTo>
                  <a:pt x="762" y="7620"/>
                </a:lnTo>
                <a:lnTo>
                  <a:pt x="4572" y="12892"/>
                </a:lnTo>
                <a:lnTo>
                  <a:pt x="4572" y="9906"/>
                </a:lnTo>
                <a:lnTo>
                  <a:pt x="8382" y="2286"/>
                </a:lnTo>
                <a:lnTo>
                  <a:pt x="13910" y="9906"/>
                </a:lnTo>
                <a:lnTo>
                  <a:pt x="272034" y="9906"/>
                </a:lnTo>
                <a:lnTo>
                  <a:pt x="272034" y="7620"/>
                </a:lnTo>
                <a:lnTo>
                  <a:pt x="275844" y="9906"/>
                </a:lnTo>
                <a:lnTo>
                  <a:pt x="275844" y="12673"/>
                </a:lnTo>
                <a:lnTo>
                  <a:pt x="413355" y="195072"/>
                </a:lnTo>
                <a:lnTo>
                  <a:pt x="422910" y="195072"/>
                </a:lnTo>
                <a:lnTo>
                  <a:pt x="422910" y="204216"/>
                </a:lnTo>
                <a:lnTo>
                  <a:pt x="425196" y="204216"/>
                </a:lnTo>
                <a:lnTo>
                  <a:pt x="426720" y="203454"/>
                </a:lnTo>
                <a:lnTo>
                  <a:pt x="428244" y="200406"/>
                </a:lnTo>
                <a:close/>
              </a:path>
              <a:path w="428625" h="204470">
                <a:moveTo>
                  <a:pt x="13910" y="9906"/>
                </a:moveTo>
                <a:lnTo>
                  <a:pt x="8382" y="2286"/>
                </a:lnTo>
                <a:lnTo>
                  <a:pt x="4572" y="9906"/>
                </a:lnTo>
                <a:lnTo>
                  <a:pt x="13910" y="9906"/>
                </a:lnTo>
                <a:close/>
              </a:path>
              <a:path w="428625" h="204470">
                <a:moveTo>
                  <a:pt x="148246" y="195072"/>
                </a:moveTo>
                <a:lnTo>
                  <a:pt x="13910" y="9906"/>
                </a:lnTo>
                <a:lnTo>
                  <a:pt x="4572" y="9906"/>
                </a:lnTo>
                <a:lnTo>
                  <a:pt x="4572" y="12892"/>
                </a:lnTo>
                <a:lnTo>
                  <a:pt x="141732" y="202692"/>
                </a:lnTo>
                <a:lnTo>
                  <a:pt x="142494" y="203454"/>
                </a:lnTo>
                <a:lnTo>
                  <a:pt x="144018" y="204216"/>
                </a:lnTo>
                <a:lnTo>
                  <a:pt x="145542" y="204216"/>
                </a:lnTo>
                <a:lnTo>
                  <a:pt x="145542" y="195072"/>
                </a:lnTo>
                <a:lnTo>
                  <a:pt x="148246" y="195072"/>
                </a:lnTo>
                <a:close/>
              </a:path>
              <a:path w="428625" h="204470">
                <a:moveTo>
                  <a:pt x="149352" y="196596"/>
                </a:moveTo>
                <a:lnTo>
                  <a:pt x="148246" y="195072"/>
                </a:lnTo>
                <a:lnTo>
                  <a:pt x="145542" y="195072"/>
                </a:lnTo>
                <a:lnTo>
                  <a:pt x="149352" y="196596"/>
                </a:lnTo>
                <a:close/>
              </a:path>
              <a:path w="428625" h="204470">
                <a:moveTo>
                  <a:pt x="149352" y="204216"/>
                </a:moveTo>
                <a:lnTo>
                  <a:pt x="149352" y="196596"/>
                </a:lnTo>
                <a:lnTo>
                  <a:pt x="145542" y="195072"/>
                </a:lnTo>
                <a:lnTo>
                  <a:pt x="145542" y="204216"/>
                </a:lnTo>
                <a:lnTo>
                  <a:pt x="149352" y="204216"/>
                </a:lnTo>
                <a:close/>
              </a:path>
              <a:path w="428625" h="204470">
                <a:moveTo>
                  <a:pt x="422910" y="204216"/>
                </a:moveTo>
                <a:lnTo>
                  <a:pt x="422910" y="195072"/>
                </a:lnTo>
                <a:lnTo>
                  <a:pt x="419100" y="202692"/>
                </a:lnTo>
                <a:lnTo>
                  <a:pt x="413355" y="195072"/>
                </a:lnTo>
                <a:lnTo>
                  <a:pt x="148246" y="195072"/>
                </a:lnTo>
                <a:lnTo>
                  <a:pt x="149352" y="196596"/>
                </a:lnTo>
                <a:lnTo>
                  <a:pt x="149352" y="204216"/>
                </a:lnTo>
                <a:lnTo>
                  <a:pt x="422910" y="204216"/>
                </a:lnTo>
                <a:close/>
              </a:path>
              <a:path w="428625" h="204470">
                <a:moveTo>
                  <a:pt x="275844" y="9906"/>
                </a:moveTo>
                <a:lnTo>
                  <a:pt x="272034" y="7620"/>
                </a:lnTo>
                <a:lnTo>
                  <a:pt x="273757" y="9906"/>
                </a:lnTo>
                <a:lnTo>
                  <a:pt x="275844" y="9906"/>
                </a:lnTo>
                <a:close/>
              </a:path>
              <a:path w="428625" h="204470">
                <a:moveTo>
                  <a:pt x="273757" y="9906"/>
                </a:moveTo>
                <a:lnTo>
                  <a:pt x="272034" y="7620"/>
                </a:lnTo>
                <a:lnTo>
                  <a:pt x="272034" y="9906"/>
                </a:lnTo>
                <a:lnTo>
                  <a:pt x="273757" y="9906"/>
                </a:lnTo>
                <a:close/>
              </a:path>
              <a:path w="428625" h="204470">
                <a:moveTo>
                  <a:pt x="275844" y="12673"/>
                </a:moveTo>
                <a:lnTo>
                  <a:pt x="275844" y="9906"/>
                </a:lnTo>
                <a:lnTo>
                  <a:pt x="273757" y="9906"/>
                </a:lnTo>
                <a:lnTo>
                  <a:pt x="275844" y="12673"/>
                </a:lnTo>
                <a:close/>
              </a:path>
              <a:path w="428625" h="204470">
                <a:moveTo>
                  <a:pt x="422910" y="195072"/>
                </a:moveTo>
                <a:lnTo>
                  <a:pt x="413355" y="195072"/>
                </a:lnTo>
                <a:lnTo>
                  <a:pt x="419100" y="202692"/>
                </a:lnTo>
                <a:lnTo>
                  <a:pt x="422910" y="1950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5" name="object 97"/>
          <p:cNvSpPr/>
          <p:nvPr/>
        </p:nvSpPr>
        <p:spPr>
          <a:xfrm>
            <a:off x="4612254" y="1438625"/>
            <a:ext cx="213920" cy="113993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6" name="object 98"/>
          <p:cNvSpPr/>
          <p:nvPr/>
        </p:nvSpPr>
        <p:spPr>
          <a:xfrm>
            <a:off x="4608236" y="1435803"/>
            <a:ext cx="221471" cy="119073"/>
          </a:xfrm>
          <a:custGeom>
            <a:avLst/>
            <a:gdLst/>
            <a:ahLst/>
            <a:cxnLst/>
            <a:rect l="l" t="t" r="r" b="b"/>
            <a:pathLst>
              <a:path w="335279" h="267970">
                <a:moveTo>
                  <a:pt x="278102" y="243166"/>
                </a:moveTo>
                <a:lnTo>
                  <a:pt x="101345" y="1523"/>
                </a:lnTo>
                <a:lnTo>
                  <a:pt x="100583" y="761"/>
                </a:lnTo>
                <a:lnTo>
                  <a:pt x="99059" y="0"/>
                </a:lnTo>
                <a:lnTo>
                  <a:pt x="11429" y="761"/>
                </a:lnTo>
                <a:lnTo>
                  <a:pt x="9143" y="2285"/>
                </a:lnTo>
                <a:lnTo>
                  <a:pt x="8381" y="3809"/>
                </a:lnTo>
                <a:lnTo>
                  <a:pt x="761" y="30479"/>
                </a:lnTo>
                <a:lnTo>
                  <a:pt x="0" y="32003"/>
                </a:lnTo>
                <a:lnTo>
                  <a:pt x="0" y="33527"/>
                </a:lnTo>
                <a:lnTo>
                  <a:pt x="761" y="35051"/>
                </a:lnTo>
                <a:lnTo>
                  <a:pt x="3809" y="36575"/>
                </a:lnTo>
                <a:lnTo>
                  <a:pt x="5333" y="36575"/>
                </a:lnTo>
                <a:lnTo>
                  <a:pt x="5333" y="27431"/>
                </a:lnTo>
                <a:lnTo>
                  <a:pt x="11059" y="27431"/>
                </a:lnTo>
                <a:lnTo>
                  <a:pt x="12953" y="21405"/>
                </a:lnTo>
                <a:lnTo>
                  <a:pt x="12953" y="9905"/>
                </a:lnTo>
                <a:lnTo>
                  <a:pt x="17525" y="6857"/>
                </a:lnTo>
                <a:lnTo>
                  <a:pt x="17525" y="9864"/>
                </a:lnTo>
                <a:lnTo>
                  <a:pt x="45329" y="9614"/>
                </a:lnTo>
                <a:lnTo>
                  <a:pt x="46481" y="4571"/>
                </a:lnTo>
                <a:lnTo>
                  <a:pt x="47243" y="3047"/>
                </a:lnTo>
                <a:lnTo>
                  <a:pt x="48767" y="1523"/>
                </a:lnTo>
                <a:lnTo>
                  <a:pt x="50291" y="761"/>
                </a:lnTo>
                <a:lnTo>
                  <a:pt x="51815" y="761"/>
                </a:lnTo>
                <a:lnTo>
                  <a:pt x="54101" y="1523"/>
                </a:lnTo>
                <a:lnTo>
                  <a:pt x="54863" y="3047"/>
                </a:lnTo>
                <a:lnTo>
                  <a:pt x="59563" y="9486"/>
                </a:lnTo>
                <a:lnTo>
                  <a:pt x="93725" y="9178"/>
                </a:lnTo>
                <a:lnTo>
                  <a:pt x="93725" y="7619"/>
                </a:lnTo>
                <a:lnTo>
                  <a:pt x="97535" y="9143"/>
                </a:lnTo>
                <a:lnTo>
                  <a:pt x="97535" y="12828"/>
                </a:lnTo>
                <a:lnTo>
                  <a:pt x="274319" y="254507"/>
                </a:lnTo>
                <a:lnTo>
                  <a:pt x="274319" y="249173"/>
                </a:lnTo>
                <a:lnTo>
                  <a:pt x="278102" y="243166"/>
                </a:lnTo>
                <a:close/>
              </a:path>
              <a:path w="335279" h="267970">
                <a:moveTo>
                  <a:pt x="11059" y="27431"/>
                </a:moveTo>
                <a:lnTo>
                  <a:pt x="5333" y="27431"/>
                </a:lnTo>
                <a:lnTo>
                  <a:pt x="9143" y="33527"/>
                </a:lnTo>
                <a:lnTo>
                  <a:pt x="11059" y="27431"/>
                </a:lnTo>
                <a:close/>
              </a:path>
              <a:path w="335279" h="267970">
                <a:moveTo>
                  <a:pt x="41256" y="27431"/>
                </a:moveTo>
                <a:lnTo>
                  <a:pt x="11059" y="27431"/>
                </a:lnTo>
                <a:lnTo>
                  <a:pt x="9143" y="33527"/>
                </a:lnTo>
                <a:lnTo>
                  <a:pt x="5333" y="27431"/>
                </a:lnTo>
                <a:lnTo>
                  <a:pt x="5333" y="36575"/>
                </a:lnTo>
                <a:lnTo>
                  <a:pt x="40385" y="36575"/>
                </a:lnTo>
                <a:lnTo>
                  <a:pt x="40385" y="31241"/>
                </a:lnTo>
                <a:lnTo>
                  <a:pt x="41256" y="27431"/>
                </a:lnTo>
                <a:close/>
              </a:path>
              <a:path w="335279" h="267970">
                <a:moveTo>
                  <a:pt x="17525" y="6857"/>
                </a:moveTo>
                <a:lnTo>
                  <a:pt x="12953" y="9905"/>
                </a:lnTo>
                <a:lnTo>
                  <a:pt x="16578" y="9873"/>
                </a:lnTo>
                <a:lnTo>
                  <a:pt x="17525" y="6857"/>
                </a:lnTo>
                <a:close/>
              </a:path>
              <a:path w="335279" h="267970">
                <a:moveTo>
                  <a:pt x="16578" y="9873"/>
                </a:moveTo>
                <a:lnTo>
                  <a:pt x="12953" y="9905"/>
                </a:lnTo>
                <a:lnTo>
                  <a:pt x="12953" y="21405"/>
                </a:lnTo>
                <a:lnTo>
                  <a:pt x="16578" y="9873"/>
                </a:lnTo>
                <a:close/>
              </a:path>
              <a:path w="335279" h="267970">
                <a:moveTo>
                  <a:pt x="17525" y="9864"/>
                </a:moveTo>
                <a:lnTo>
                  <a:pt x="17525" y="6857"/>
                </a:lnTo>
                <a:lnTo>
                  <a:pt x="16578" y="9873"/>
                </a:lnTo>
                <a:lnTo>
                  <a:pt x="17525" y="9864"/>
                </a:lnTo>
                <a:close/>
              </a:path>
              <a:path w="335279" h="267970">
                <a:moveTo>
                  <a:pt x="44957" y="27431"/>
                </a:moveTo>
                <a:lnTo>
                  <a:pt x="41256" y="27431"/>
                </a:lnTo>
                <a:lnTo>
                  <a:pt x="40385" y="31241"/>
                </a:lnTo>
                <a:lnTo>
                  <a:pt x="44957" y="27431"/>
                </a:lnTo>
                <a:close/>
              </a:path>
              <a:path w="335279" h="267970">
                <a:moveTo>
                  <a:pt x="44957" y="36575"/>
                </a:moveTo>
                <a:lnTo>
                  <a:pt x="44957" y="27431"/>
                </a:lnTo>
                <a:lnTo>
                  <a:pt x="40385" y="31241"/>
                </a:lnTo>
                <a:lnTo>
                  <a:pt x="40385" y="36575"/>
                </a:lnTo>
                <a:lnTo>
                  <a:pt x="44957" y="36575"/>
                </a:lnTo>
                <a:close/>
              </a:path>
              <a:path w="335279" h="267970">
                <a:moveTo>
                  <a:pt x="53356" y="16789"/>
                </a:moveTo>
                <a:lnTo>
                  <a:pt x="48121" y="9589"/>
                </a:lnTo>
                <a:lnTo>
                  <a:pt x="45329" y="9614"/>
                </a:lnTo>
                <a:lnTo>
                  <a:pt x="41256" y="27431"/>
                </a:lnTo>
                <a:lnTo>
                  <a:pt x="44957" y="27431"/>
                </a:lnTo>
                <a:lnTo>
                  <a:pt x="44957" y="36575"/>
                </a:lnTo>
                <a:lnTo>
                  <a:pt x="47243" y="36575"/>
                </a:lnTo>
                <a:lnTo>
                  <a:pt x="48767" y="35051"/>
                </a:lnTo>
                <a:lnTo>
                  <a:pt x="49529" y="33527"/>
                </a:lnTo>
                <a:lnTo>
                  <a:pt x="53356" y="16789"/>
                </a:lnTo>
                <a:close/>
              </a:path>
              <a:path w="335279" h="267970">
                <a:moveTo>
                  <a:pt x="59563" y="9486"/>
                </a:moveTo>
                <a:lnTo>
                  <a:pt x="54863" y="3047"/>
                </a:lnTo>
                <a:lnTo>
                  <a:pt x="54101" y="1523"/>
                </a:lnTo>
                <a:lnTo>
                  <a:pt x="51815" y="761"/>
                </a:lnTo>
                <a:lnTo>
                  <a:pt x="45329" y="9614"/>
                </a:lnTo>
                <a:lnTo>
                  <a:pt x="47243" y="9597"/>
                </a:lnTo>
                <a:lnTo>
                  <a:pt x="47243" y="8381"/>
                </a:lnTo>
                <a:lnTo>
                  <a:pt x="55625" y="6857"/>
                </a:lnTo>
                <a:lnTo>
                  <a:pt x="55625" y="9521"/>
                </a:lnTo>
                <a:lnTo>
                  <a:pt x="59563" y="9486"/>
                </a:lnTo>
                <a:close/>
              </a:path>
              <a:path w="335279" h="267970">
                <a:moveTo>
                  <a:pt x="55625" y="6857"/>
                </a:moveTo>
                <a:lnTo>
                  <a:pt x="47243" y="8381"/>
                </a:lnTo>
                <a:lnTo>
                  <a:pt x="48121" y="9589"/>
                </a:lnTo>
                <a:lnTo>
                  <a:pt x="55015" y="9527"/>
                </a:lnTo>
                <a:lnTo>
                  <a:pt x="55625" y="6857"/>
                </a:lnTo>
                <a:close/>
              </a:path>
              <a:path w="335279" h="267970">
                <a:moveTo>
                  <a:pt x="48121" y="9589"/>
                </a:moveTo>
                <a:lnTo>
                  <a:pt x="47243" y="8381"/>
                </a:lnTo>
                <a:lnTo>
                  <a:pt x="47243" y="9597"/>
                </a:lnTo>
                <a:lnTo>
                  <a:pt x="48121" y="9589"/>
                </a:lnTo>
                <a:close/>
              </a:path>
              <a:path w="335279" h="267970">
                <a:moveTo>
                  <a:pt x="55015" y="9527"/>
                </a:moveTo>
                <a:lnTo>
                  <a:pt x="48121" y="9589"/>
                </a:lnTo>
                <a:lnTo>
                  <a:pt x="53356" y="16789"/>
                </a:lnTo>
                <a:lnTo>
                  <a:pt x="55015" y="9527"/>
                </a:lnTo>
                <a:close/>
              </a:path>
              <a:path w="335279" h="267970">
                <a:moveTo>
                  <a:pt x="240626" y="257527"/>
                </a:moveTo>
                <a:lnTo>
                  <a:pt x="59563" y="9486"/>
                </a:lnTo>
                <a:lnTo>
                  <a:pt x="55015" y="9527"/>
                </a:lnTo>
                <a:lnTo>
                  <a:pt x="53356" y="16789"/>
                </a:lnTo>
                <a:lnTo>
                  <a:pt x="233933" y="265175"/>
                </a:lnTo>
                <a:lnTo>
                  <a:pt x="235457" y="266699"/>
                </a:lnTo>
                <a:lnTo>
                  <a:pt x="236981" y="267461"/>
                </a:lnTo>
                <a:lnTo>
                  <a:pt x="237743" y="267461"/>
                </a:lnTo>
                <a:lnTo>
                  <a:pt x="237743" y="257555"/>
                </a:lnTo>
                <a:lnTo>
                  <a:pt x="240626" y="257527"/>
                </a:lnTo>
                <a:close/>
              </a:path>
              <a:path w="335279" h="267970">
                <a:moveTo>
                  <a:pt x="55625" y="9521"/>
                </a:moveTo>
                <a:lnTo>
                  <a:pt x="55625" y="6857"/>
                </a:lnTo>
                <a:lnTo>
                  <a:pt x="55015" y="9527"/>
                </a:lnTo>
                <a:lnTo>
                  <a:pt x="55625" y="9521"/>
                </a:lnTo>
                <a:close/>
              </a:path>
              <a:path w="335279" h="267970">
                <a:moveTo>
                  <a:pt x="97535" y="9143"/>
                </a:moveTo>
                <a:lnTo>
                  <a:pt x="93725" y="7619"/>
                </a:lnTo>
                <a:lnTo>
                  <a:pt x="94858" y="9168"/>
                </a:lnTo>
                <a:lnTo>
                  <a:pt x="97535" y="9143"/>
                </a:lnTo>
                <a:close/>
              </a:path>
              <a:path w="335279" h="267970">
                <a:moveTo>
                  <a:pt x="94858" y="9168"/>
                </a:moveTo>
                <a:lnTo>
                  <a:pt x="93725" y="7619"/>
                </a:lnTo>
                <a:lnTo>
                  <a:pt x="93725" y="9178"/>
                </a:lnTo>
                <a:lnTo>
                  <a:pt x="94858" y="9168"/>
                </a:lnTo>
                <a:close/>
              </a:path>
              <a:path w="335279" h="267970">
                <a:moveTo>
                  <a:pt x="97535" y="12828"/>
                </a:moveTo>
                <a:lnTo>
                  <a:pt x="97535" y="9143"/>
                </a:lnTo>
                <a:lnTo>
                  <a:pt x="94858" y="9168"/>
                </a:lnTo>
                <a:lnTo>
                  <a:pt x="97535" y="12828"/>
                </a:lnTo>
                <a:close/>
              </a:path>
              <a:path w="335279" h="267970">
                <a:moveTo>
                  <a:pt x="242315" y="259841"/>
                </a:moveTo>
                <a:lnTo>
                  <a:pt x="240626" y="257527"/>
                </a:lnTo>
                <a:lnTo>
                  <a:pt x="237743" y="257555"/>
                </a:lnTo>
                <a:lnTo>
                  <a:pt x="242315" y="259841"/>
                </a:lnTo>
                <a:close/>
              </a:path>
              <a:path w="335279" h="267970">
                <a:moveTo>
                  <a:pt x="242315" y="267385"/>
                </a:moveTo>
                <a:lnTo>
                  <a:pt x="242315" y="259841"/>
                </a:lnTo>
                <a:lnTo>
                  <a:pt x="237743" y="257555"/>
                </a:lnTo>
                <a:lnTo>
                  <a:pt x="237743" y="267461"/>
                </a:lnTo>
                <a:lnTo>
                  <a:pt x="242315" y="267385"/>
                </a:lnTo>
                <a:close/>
              </a:path>
              <a:path w="335279" h="267970">
                <a:moveTo>
                  <a:pt x="314705" y="265937"/>
                </a:moveTo>
                <a:lnTo>
                  <a:pt x="314705" y="256793"/>
                </a:lnTo>
                <a:lnTo>
                  <a:pt x="310133" y="259079"/>
                </a:lnTo>
                <a:lnTo>
                  <a:pt x="310133" y="256839"/>
                </a:lnTo>
                <a:lnTo>
                  <a:pt x="240626" y="257527"/>
                </a:lnTo>
                <a:lnTo>
                  <a:pt x="242315" y="259841"/>
                </a:lnTo>
                <a:lnTo>
                  <a:pt x="242315" y="267385"/>
                </a:lnTo>
                <a:lnTo>
                  <a:pt x="310133" y="266029"/>
                </a:lnTo>
                <a:lnTo>
                  <a:pt x="310133" y="259079"/>
                </a:lnTo>
                <a:lnTo>
                  <a:pt x="311259" y="256828"/>
                </a:lnTo>
                <a:lnTo>
                  <a:pt x="311259" y="266006"/>
                </a:lnTo>
                <a:lnTo>
                  <a:pt x="314705" y="265937"/>
                </a:lnTo>
                <a:close/>
              </a:path>
              <a:path w="335279" h="267970">
                <a:moveTo>
                  <a:pt x="281939" y="248411"/>
                </a:moveTo>
                <a:lnTo>
                  <a:pt x="278102" y="243166"/>
                </a:lnTo>
                <a:lnTo>
                  <a:pt x="274319" y="249173"/>
                </a:lnTo>
                <a:lnTo>
                  <a:pt x="281939" y="248411"/>
                </a:lnTo>
                <a:close/>
              </a:path>
              <a:path w="335279" h="267970">
                <a:moveTo>
                  <a:pt x="281939" y="254507"/>
                </a:moveTo>
                <a:lnTo>
                  <a:pt x="281939" y="248411"/>
                </a:lnTo>
                <a:lnTo>
                  <a:pt x="274319" y="249173"/>
                </a:lnTo>
                <a:lnTo>
                  <a:pt x="274319" y="254507"/>
                </a:lnTo>
                <a:lnTo>
                  <a:pt x="275081" y="255269"/>
                </a:lnTo>
                <a:lnTo>
                  <a:pt x="276605" y="256031"/>
                </a:lnTo>
                <a:lnTo>
                  <a:pt x="280415" y="256031"/>
                </a:lnTo>
                <a:lnTo>
                  <a:pt x="281939" y="254507"/>
                </a:lnTo>
                <a:close/>
              </a:path>
              <a:path w="335279" h="267970">
                <a:moveTo>
                  <a:pt x="335279" y="231647"/>
                </a:moveTo>
                <a:lnTo>
                  <a:pt x="332993" y="227075"/>
                </a:lnTo>
                <a:lnTo>
                  <a:pt x="331469" y="226313"/>
                </a:lnTo>
                <a:lnTo>
                  <a:pt x="289559" y="226313"/>
                </a:lnTo>
                <a:lnTo>
                  <a:pt x="288035" y="227075"/>
                </a:lnTo>
                <a:lnTo>
                  <a:pt x="287273" y="228599"/>
                </a:lnTo>
                <a:lnTo>
                  <a:pt x="278102" y="243166"/>
                </a:lnTo>
                <a:lnTo>
                  <a:pt x="281939" y="248411"/>
                </a:lnTo>
                <a:lnTo>
                  <a:pt x="281939" y="254507"/>
                </a:lnTo>
                <a:lnTo>
                  <a:pt x="282701" y="253745"/>
                </a:lnTo>
                <a:lnTo>
                  <a:pt x="291083" y="239601"/>
                </a:lnTo>
                <a:lnTo>
                  <a:pt x="291083" y="235457"/>
                </a:lnTo>
                <a:lnTo>
                  <a:pt x="294893" y="233171"/>
                </a:lnTo>
                <a:lnTo>
                  <a:pt x="294893" y="235457"/>
                </a:lnTo>
                <a:lnTo>
                  <a:pt x="321944" y="235457"/>
                </a:lnTo>
                <a:lnTo>
                  <a:pt x="325373" y="228599"/>
                </a:lnTo>
                <a:lnTo>
                  <a:pt x="329945" y="235457"/>
                </a:lnTo>
                <a:lnTo>
                  <a:pt x="329945" y="241880"/>
                </a:lnTo>
                <a:lnTo>
                  <a:pt x="334517" y="233171"/>
                </a:lnTo>
                <a:lnTo>
                  <a:pt x="335279" y="231647"/>
                </a:lnTo>
                <a:close/>
              </a:path>
              <a:path w="335279" h="267970">
                <a:moveTo>
                  <a:pt x="294893" y="233171"/>
                </a:moveTo>
                <a:lnTo>
                  <a:pt x="291083" y="235457"/>
                </a:lnTo>
                <a:lnTo>
                  <a:pt x="293539" y="235457"/>
                </a:lnTo>
                <a:lnTo>
                  <a:pt x="294893" y="233171"/>
                </a:lnTo>
                <a:close/>
              </a:path>
              <a:path w="335279" h="267970">
                <a:moveTo>
                  <a:pt x="293539" y="235457"/>
                </a:moveTo>
                <a:lnTo>
                  <a:pt x="291083" y="235457"/>
                </a:lnTo>
                <a:lnTo>
                  <a:pt x="291083" y="239601"/>
                </a:lnTo>
                <a:lnTo>
                  <a:pt x="293539" y="235457"/>
                </a:lnTo>
                <a:close/>
              </a:path>
              <a:path w="335279" h="267970">
                <a:moveTo>
                  <a:pt x="294893" y="235457"/>
                </a:moveTo>
                <a:lnTo>
                  <a:pt x="294893" y="233171"/>
                </a:lnTo>
                <a:lnTo>
                  <a:pt x="293539" y="235457"/>
                </a:lnTo>
                <a:lnTo>
                  <a:pt x="294893" y="235457"/>
                </a:lnTo>
                <a:close/>
              </a:path>
              <a:path w="335279" h="267970">
                <a:moveTo>
                  <a:pt x="314705" y="256793"/>
                </a:moveTo>
                <a:lnTo>
                  <a:pt x="311259" y="256828"/>
                </a:lnTo>
                <a:lnTo>
                  <a:pt x="310133" y="259079"/>
                </a:lnTo>
                <a:lnTo>
                  <a:pt x="314705" y="256793"/>
                </a:lnTo>
                <a:close/>
              </a:path>
              <a:path w="335279" h="267970">
                <a:moveTo>
                  <a:pt x="329945" y="241880"/>
                </a:moveTo>
                <a:lnTo>
                  <a:pt x="329945" y="235457"/>
                </a:lnTo>
                <a:lnTo>
                  <a:pt x="321944" y="235457"/>
                </a:lnTo>
                <a:lnTo>
                  <a:pt x="311259" y="256828"/>
                </a:lnTo>
                <a:lnTo>
                  <a:pt x="314705" y="256793"/>
                </a:lnTo>
                <a:lnTo>
                  <a:pt x="314705" y="265937"/>
                </a:lnTo>
                <a:lnTo>
                  <a:pt x="316229" y="265937"/>
                </a:lnTo>
                <a:lnTo>
                  <a:pt x="317753" y="265175"/>
                </a:lnTo>
                <a:lnTo>
                  <a:pt x="318515" y="263651"/>
                </a:lnTo>
                <a:lnTo>
                  <a:pt x="329945" y="241880"/>
                </a:lnTo>
                <a:close/>
              </a:path>
              <a:path w="335279" h="267970">
                <a:moveTo>
                  <a:pt x="329945" y="235457"/>
                </a:moveTo>
                <a:lnTo>
                  <a:pt x="325373" y="228599"/>
                </a:lnTo>
                <a:lnTo>
                  <a:pt x="321944" y="235457"/>
                </a:lnTo>
                <a:lnTo>
                  <a:pt x="329945" y="2354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7" name="object 99"/>
          <p:cNvSpPr/>
          <p:nvPr/>
        </p:nvSpPr>
        <p:spPr>
          <a:xfrm>
            <a:off x="4474338" y="1451717"/>
            <a:ext cx="276335" cy="86342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8" name="object 100"/>
          <p:cNvSpPr/>
          <p:nvPr/>
        </p:nvSpPr>
        <p:spPr>
          <a:xfrm>
            <a:off x="4471318" y="1449685"/>
            <a:ext cx="283130" cy="90856"/>
          </a:xfrm>
          <a:custGeom>
            <a:avLst/>
            <a:gdLst/>
            <a:ahLst/>
            <a:cxnLst/>
            <a:rect l="l" t="t" r="r" b="b"/>
            <a:pathLst>
              <a:path w="428625" h="204470">
                <a:moveTo>
                  <a:pt x="428244" y="199644"/>
                </a:moveTo>
                <a:lnTo>
                  <a:pt x="426720" y="196596"/>
                </a:lnTo>
                <a:lnTo>
                  <a:pt x="279654" y="1524"/>
                </a:lnTo>
                <a:lnTo>
                  <a:pt x="278892" y="762"/>
                </a:lnTo>
                <a:lnTo>
                  <a:pt x="277368" y="0"/>
                </a:lnTo>
                <a:lnTo>
                  <a:pt x="3048" y="0"/>
                </a:lnTo>
                <a:lnTo>
                  <a:pt x="1524" y="762"/>
                </a:lnTo>
                <a:lnTo>
                  <a:pt x="762" y="3048"/>
                </a:lnTo>
                <a:lnTo>
                  <a:pt x="0" y="4572"/>
                </a:lnTo>
                <a:lnTo>
                  <a:pt x="0" y="6096"/>
                </a:lnTo>
                <a:lnTo>
                  <a:pt x="762" y="7620"/>
                </a:lnTo>
                <a:lnTo>
                  <a:pt x="4572" y="12871"/>
                </a:lnTo>
                <a:lnTo>
                  <a:pt x="4572" y="9906"/>
                </a:lnTo>
                <a:lnTo>
                  <a:pt x="8382" y="2286"/>
                </a:lnTo>
                <a:lnTo>
                  <a:pt x="13891" y="9879"/>
                </a:lnTo>
                <a:lnTo>
                  <a:pt x="272034" y="9154"/>
                </a:lnTo>
                <a:lnTo>
                  <a:pt x="272034" y="7620"/>
                </a:lnTo>
                <a:lnTo>
                  <a:pt x="275844" y="9144"/>
                </a:lnTo>
                <a:lnTo>
                  <a:pt x="275844" y="12653"/>
                </a:lnTo>
                <a:lnTo>
                  <a:pt x="413332" y="194310"/>
                </a:lnTo>
                <a:lnTo>
                  <a:pt x="422910" y="194310"/>
                </a:lnTo>
                <a:lnTo>
                  <a:pt x="422910" y="204216"/>
                </a:lnTo>
                <a:lnTo>
                  <a:pt x="424434" y="204216"/>
                </a:lnTo>
                <a:lnTo>
                  <a:pt x="426720" y="202692"/>
                </a:lnTo>
                <a:lnTo>
                  <a:pt x="428244" y="199644"/>
                </a:lnTo>
                <a:close/>
              </a:path>
              <a:path w="428625" h="204470">
                <a:moveTo>
                  <a:pt x="13891" y="9879"/>
                </a:moveTo>
                <a:lnTo>
                  <a:pt x="8382" y="2286"/>
                </a:lnTo>
                <a:lnTo>
                  <a:pt x="4572" y="9906"/>
                </a:lnTo>
                <a:lnTo>
                  <a:pt x="13891" y="9879"/>
                </a:lnTo>
                <a:close/>
              </a:path>
              <a:path w="428625" h="204470">
                <a:moveTo>
                  <a:pt x="147693" y="194310"/>
                </a:moveTo>
                <a:lnTo>
                  <a:pt x="13891" y="9879"/>
                </a:lnTo>
                <a:lnTo>
                  <a:pt x="4572" y="9906"/>
                </a:lnTo>
                <a:lnTo>
                  <a:pt x="4572" y="12871"/>
                </a:lnTo>
                <a:lnTo>
                  <a:pt x="141732" y="201930"/>
                </a:lnTo>
                <a:lnTo>
                  <a:pt x="142494" y="203454"/>
                </a:lnTo>
                <a:lnTo>
                  <a:pt x="144018" y="204216"/>
                </a:lnTo>
                <a:lnTo>
                  <a:pt x="145542" y="204216"/>
                </a:lnTo>
                <a:lnTo>
                  <a:pt x="145542" y="194310"/>
                </a:lnTo>
                <a:lnTo>
                  <a:pt x="147693" y="194310"/>
                </a:lnTo>
                <a:close/>
              </a:path>
              <a:path w="428625" h="204470">
                <a:moveTo>
                  <a:pt x="149352" y="196596"/>
                </a:moveTo>
                <a:lnTo>
                  <a:pt x="147693" y="194310"/>
                </a:lnTo>
                <a:lnTo>
                  <a:pt x="145542" y="194310"/>
                </a:lnTo>
                <a:lnTo>
                  <a:pt x="149352" y="196596"/>
                </a:lnTo>
                <a:close/>
              </a:path>
              <a:path w="428625" h="204470">
                <a:moveTo>
                  <a:pt x="149352" y="204216"/>
                </a:moveTo>
                <a:lnTo>
                  <a:pt x="149352" y="196596"/>
                </a:lnTo>
                <a:lnTo>
                  <a:pt x="145542" y="194310"/>
                </a:lnTo>
                <a:lnTo>
                  <a:pt x="145542" y="204216"/>
                </a:lnTo>
                <a:lnTo>
                  <a:pt x="149352" y="204216"/>
                </a:lnTo>
                <a:close/>
              </a:path>
              <a:path w="428625" h="204470">
                <a:moveTo>
                  <a:pt x="422910" y="204216"/>
                </a:moveTo>
                <a:lnTo>
                  <a:pt x="422910" y="194310"/>
                </a:lnTo>
                <a:lnTo>
                  <a:pt x="419100" y="201930"/>
                </a:lnTo>
                <a:lnTo>
                  <a:pt x="413332" y="194310"/>
                </a:lnTo>
                <a:lnTo>
                  <a:pt x="147693" y="194310"/>
                </a:lnTo>
                <a:lnTo>
                  <a:pt x="149352" y="196596"/>
                </a:lnTo>
                <a:lnTo>
                  <a:pt x="149352" y="204216"/>
                </a:lnTo>
                <a:lnTo>
                  <a:pt x="422910" y="204216"/>
                </a:lnTo>
                <a:close/>
              </a:path>
              <a:path w="428625" h="204470">
                <a:moveTo>
                  <a:pt x="275844" y="9144"/>
                </a:moveTo>
                <a:lnTo>
                  <a:pt x="272034" y="7620"/>
                </a:lnTo>
                <a:lnTo>
                  <a:pt x="273193" y="9151"/>
                </a:lnTo>
                <a:lnTo>
                  <a:pt x="275844" y="9144"/>
                </a:lnTo>
                <a:close/>
              </a:path>
              <a:path w="428625" h="204470">
                <a:moveTo>
                  <a:pt x="273193" y="9151"/>
                </a:moveTo>
                <a:lnTo>
                  <a:pt x="272034" y="7620"/>
                </a:lnTo>
                <a:lnTo>
                  <a:pt x="272034" y="9154"/>
                </a:lnTo>
                <a:lnTo>
                  <a:pt x="273193" y="9151"/>
                </a:lnTo>
                <a:close/>
              </a:path>
              <a:path w="428625" h="204470">
                <a:moveTo>
                  <a:pt x="275844" y="12653"/>
                </a:moveTo>
                <a:lnTo>
                  <a:pt x="275844" y="9144"/>
                </a:lnTo>
                <a:lnTo>
                  <a:pt x="273193" y="9151"/>
                </a:lnTo>
                <a:lnTo>
                  <a:pt x="275844" y="12653"/>
                </a:lnTo>
                <a:close/>
              </a:path>
              <a:path w="428625" h="204470">
                <a:moveTo>
                  <a:pt x="422910" y="194310"/>
                </a:moveTo>
                <a:lnTo>
                  <a:pt x="413332" y="194310"/>
                </a:lnTo>
                <a:lnTo>
                  <a:pt x="419100" y="201930"/>
                </a:lnTo>
                <a:lnTo>
                  <a:pt x="422910" y="19431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9" name="object 101"/>
          <p:cNvSpPr/>
          <p:nvPr/>
        </p:nvSpPr>
        <p:spPr>
          <a:xfrm>
            <a:off x="4827182" y="1437948"/>
            <a:ext cx="213920" cy="113993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0" name="object 102"/>
          <p:cNvSpPr/>
          <p:nvPr/>
        </p:nvSpPr>
        <p:spPr>
          <a:xfrm>
            <a:off x="4823155" y="1435127"/>
            <a:ext cx="221471" cy="119073"/>
          </a:xfrm>
          <a:custGeom>
            <a:avLst/>
            <a:gdLst/>
            <a:ahLst/>
            <a:cxnLst/>
            <a:rect l="l" t="t" r="r" b="b"/>
            <a:pathLst>
              <a:path w="335279" h="267970">
                <a:moveTo>
                  <a:pt x="278102" y="243166"/>
                </a:moveTo>
                <a:lnTo>
                  <a:pt x="101345" y="1523"/>
                </a:lnTo>
                <a:lnTo>
                  <a:pt x="100583" y="761"/>
                </a:lnTo>
                <a:lnTo>
                  <a:pt x="99059" y="0"/>
                </a:lnTo>
                <a:lnTo>
                  <a:pt x="11429" y="761"/>
                </a:lnTo>
                <a:lnTo>
                  <a:pt x="9143" y="2285"/>
                </a:lnTo>
                <a:lnTo>
                  <a:pt x="8381" y="3809"/>
                </a:lnTo>
                <a:lnTo>
                  <a:pt x="761" y="30479"/>
                </a:lnTo>
                <a:lnTo>
                  <a:pt x="0" y="32003"/>
                </a:lnTo>
                <a:lnTo>
                  <a:pt x="0" y="33527"/>
                </a:lnTo>
                <a:lnTo>
                  <a:pt x="2285" y="35813"/>
                </a:lnTo>
                <a:lnTo>
                  <a:pt x="3809" y="36575"/>
                </a:lnTo>
                <a:lnTo>
                  <a:pt x="5333" y="36575"/>
                </a:lnTo>
                <a:lnTo>
                  <a:pt x="5333" y="27431"/>
                </a:lnTo>
                <a:lnTo>
                  <a:pt x="11647" y="27431"/>
                </a:lnTo>
                <a:lnTo>
                  <a:pt x="12953" y="22859"/>
                </a:lnTo>
                <a:lnTo>
                  <a:pt x="12953" y="9905"/>
                </a:lnTo>
                <a:lnTo>
                  <a:pt x="17525" y="6857"/>
                </a:lnTo>
                <a:lnTo>
                  <a:pt x="17525" y="9864"/>
                </a:lnTo>
                <a:lnTo>
                  <a:pt x="45329" y="9614"/>
                </a:lnTo>
                <a:lnTo>
                  <a:pt x="46481" y="4571"/>
                </a:lnTo>
                <a:lnTo>
                  <a:pt x="47243" y="3047"/>
                </a:lnTo>
                <a:lnTo>
                  <a:pt x="48767" y="1523"/>
                </a:lnTo>
                <a:lnTo>
                  <a:pt x="50291" y="761"/>
                </a:lnTo>
                <a:lnTo>
                  <a:pt x="51815" y="761"/>
                </a:lnTo>
                <a:lnTo>
                  <a:pt x="54101" y="1523"/>
                </a:lnTo>
                <a:lnTo>
                  <a:pt x="54863" y="3047"/>
                </a:lnTo>
                <a:lnTo>
                  <a:pt x="59563" y="9486"/>
                </a:lnTo>
                <a:lnTo>
                  <a:pt x="93725" y="9178"/>
                </a:lnTo>
                <a:lnTo>
                  <a:pt x="93725" y="7619"/>
                </a:lnTo>
                <a:lnTo>
                  <a:pt x="97535" y="9143"/>
                </a:lnTo>
                <a:lnTo>
                  <a:pt x="97535" y="12828"/>
                </a:lnTo>
                <a:lnTo>
                  <a:pt x="274319" y="254507"/>
                </a:lnTo>
                <a:lnTo>
                  <a:pt x="274319" y="249173"/>
                </a:lnTo>
                <a:lnTo>
                  <a:pt x="278102" y="243166"/>
                </a:lnTo>
                <a:close/>
              </a:path>
              <a:path w="335279" h="267970">
                <a:moveTo>
                  <a:pt x="11647" y="27431"/>
                </a:moveTo>
                <a:lnTo>
                  <a:pt x="5333" y="27431"/>
                </a:lnTo>
                <a:lnTo>
                  <a:pt x="9905" y="33527"/>
                </a:lnTo>
                <a:lnTo>
                  <a:pt x="11647" y="27431"/>
                </a:lnTo>
                <a:close/>
              </a:path>
              <a:path w="335279" h="267970">
                <a:moveTo>
                  <a:pt x="41256" y="27431"/>
                </a:moveTo>
                <a:lnTo>
                  <a:pt x="11647" y="27431"/>
                </a:lnTo>
                <a:lnTo>
                  <a:pt x="9905" y="33527"/>
                </a:lnTo>
                <a:lnTo>
                  <a:pt x="5333" y="27431"/>
                </a:lnTo>
                <a:lnTo>
                  <a:pt x="5333" y="36575"/>
                </a:lnTo>
                <a:lnTo>
                  <a:pt x="40385" y="36575"/>
                </a:lnTo>
                <a:lnTo>
                  <a:pt x="40385" y="31241"/>
                </a:lnTo>
                <a:lnTo>
                  <a:pt x="41256" y="27431"/>
                </a:lnTo>
                <a:close/>
              </a:path>
              <a:path w="335279" h="267970">
                <a:moveTo>
                  <a:pt x="17525" y="6857"/>
                </a:moveTo>
                <a:lnTo>
                  <a:pt x="12953" y="9905"/>
                </a:lnTo>
                <a:lnTo>
                  <a:pt x="16664" y="9872"/>
                </a:lnTo>
                <a:lnTo>
                  <a:pt x="17525" y="6857"/>
                </a:lnTo>
                <a:close/>
              </a:path>
              <a:path w="335279" h="267970">
                <a:moveTo>
                  <a:pt x="16664" y="9872"/>
                </a:moveTo>
                <a:lnTo>
                  <a:pt x="12953" y="9905"/>
                </a:lnTo>
                <a:lnTo>
                  <a:pt x="12953" y="22859"/>
                </a:lnTo>
                <a:lnTo>
                  <a:pt x="16664" y="9872"/>
                </a:lnTo>
                <a:close/>
              </a:path>
              <a:path w="335279" h="267970">
                <a:moveTo>
                  <a:pt x="17525" y="9864"/>
                </a:moveTo>
                <a:lnTo>
                  <a:pt x="17525" y="6857"/>
                </a:lnTo>
                <a:lnTo>
                  <a:pt x="16664" y="9872"/>
                </a:lnTo>
                <a:lnTo>
                  <a:pt x="17525" y="9864"/>
                </a:lnTo>
                <a:close/>
              </a:path>
              <a:path w="335279" h="267970">
                <a:moveTo>
                  <a:pt x="44957" y="27431"/>
                </a:moveTo>
                <a:lnTo>
                  <a:pt x="41256" y="27431"/>
                </a:lnTo>
                <a:lnTo>
                  <a:pt x="40385" y="31241"/>
                </a:lnTo>
                <a:lnTo>
                  <a:pt x="44957" y="27431"/>
                </a:lnTo>
                <a:close/>
              </a:path>
              <a:path w="335279" h="267970">
                <a:moveTo>
                  <a:pt x="44957" y="36575"/>
                </a:moveTo>
                <a:lnTo>
                  <a:pt x="44957" y="27431"/>
                </a:lnTo>
                <a:lnTo>
                  <a:pt x="40385" y="31241"/>
                </a:lnTo>
                <a:lnTo>
                  <a:pt x="40385" y="36575"/>
                </a:lnTo>
                <a:lnTo>
                  <a:pt x="44957" y="36575"/>
                </a:lnTo>
                <a:close/>
              </a:path>
              <a:path w="335279" h="267970">
                <a:moveTo>
                  <a:pt x="53361" y="16763"/>
                </a:moveTo>
                <a:lnTo>
                  <a:pt x="48125" y="9589"/>
                </a:lnTo>
                <a:lnTo>
                  <a:pt x="45329" y="9614"/>
                </a:lnTo>
                <a:lnTo>
                  <a:pt x="41256" y="27431"/>
                </a:lnTo>
                <a:lnTo>
                  <a:pt x="44957" y="27431"/>
                </a:lnTo>
                <a:lnTo>
                  <a:pt x="44957" y="36575"/>
                </a:lnTo>
                <a:lnTo>
                  <a:pt x="47243" y="36575"/>
                </a:lnTo>
                <a:lnTo>
                  <a:pt x="48767" y="35051"/>
                </a:lnTo>
                <a:lnTo>
                  <a:pt x="49529" y="33527"/>
                </a:lnTo>
                <a:lnTo>
                  <a:pt x="53361" y="16763"/>
                </a:lnTo>
                <a:close/>
              </a:path>
              <a:path w="335279" h="267970">
                <a:moveTo>
                  <a:pt x="59563" y="9486"/>
                </a:moveTo>
                <a:lnTo>
                  <a:pt x="54863" y="3047"/>
                </a:lnTo>
                <a:lnTo>
                  <a:pt x="54101" y="1523"/>
                </a:lnTo>
                <a:lnTo>
                  <a:pt x="51815" y="761"/>
                </a:lnTo>
                <a:lnTo>
                  <a:pt x="45329" y="9614"/>
                </a:lnTo>
                <a:lnTo>
                  <a:pt x="47243" y="9597"/>
                </a:lnTo>
                <a:lnTo>
                  <a:pt x="47243" y="8381"/>
                </a:lnTo>
                <a:lnTo>
                  <a:pt x="55625" y="6857"/>
                </a:lnTo>
                <a:lnTo>
                  <a:pt x="55625" y="9521"/>
                </a:lnTo>
                <a:lnTo>
                  <a:pt x="59563" y="9486"/>
                </a:lnTo>
                <a:close/>
              </a:path>
              <a:path w="335279" h="267970">
                <a:moveTo>
                  <a:pt x="55625" y="6857"/>
                </a:moveTo>
                <a:lnTo>
                  <a:pt x="47243" y="8381"/>
                </a:lnTo>
                <a:lnTo>
                  <a:pt x="48125" y="9589"/>
                </a:lnTo>
                <a:lnTo>
                  <a:pt x="55015" y="9527"/>
                </a:lnTo>
                <a:lnTo>
                  <a:pt x="55625" y="6857"/>
                </a:lnTo>
                <a:close/>
              </a:path>
              <a:path w="335279" h="267970">
                <a:moveTo>
                  <a:pt x="48125" y="9589"/>
                </a:moveTo>
                <a:lnTo>
                  <a:pt x="47243" y="8381"/>
                </a:lnTo>
                <a:lnTo>
                  <a:pt x="47243" y="9597"/>
                </a:lnTo>
                <a:lnTo>
                  <a:pt x="48125" y="9589"/>
                </a:lnTo>
                <a:close/>
              </a:path>
              <a:path w="335279" h="267970">
                <a:moveTo>
                  <a:pt x="55015" y="9527"/>
                </a:moveTo>
                <a:lnTo>
                  <a:pt x="48125" y="9589"/>
                </a:lnTo>
                <a:lnTo>
                  <a:pt x="53361" y="16763"/>
                </a:lnTo>
                <a:lnTo>
                  <a:pt x="55015" y="9527"/>
                </a:lnTo>
                <a:close/>
              </a:path>
              <a:path w="335279" h="267970">
                <a:moveTo>
                  <a:pt x="241154" y="258250"/>
                </a:moveTo>
                <a:lnTo>
                  <a:pt x="59563" y="9486"/>
                </a:lnTo>
                <a:lnTo>
                  <a:pt x="55015" y="9527"/>
                </a:lnTo>
                <a:lnTo>
                  <a:pt x="53361" y="16763"/>
                </a:lnTo>
                <a:lnTo>
                  <a:pt x="234695" y="265175"/>
                </a:lnTo>
                <a:lnTo>
                  <a:pt x="235457" y="266699"/>
                </a:lnTo>
                <a:lnTo>
                  <a:pt x="236981" y="267461"/>
                </a:lnTo>
                <a:lnTo>
                  <a:pt x="237743" y="267461"/>
                </a:lnTo>
                <a:lnTo>
                  <a:pt x="237743" y="258317"/>
                </a:lnTo>
                <a:lnTo>
                  <a:pt x="241154" y="258250"/>
                </a:lnTo>
                <a:close/>
              </a:path>
              <a:path w="335279" h="267970">
                <a:moveTo>
                  <a:pt x="55625" y="9521"/>
                </a:moveTo>
                <a:lnTo>
                  <a:pt x="55625" y="6857"/>
                </a:lnTo>
                <a:lnTo>
                  <a:pt x="55015" y="9527"/>
                </a:lnTo>
                <a:lnTo>
                  <a:pt x="55625" y="9521"/>
                </a:lnTo>
                <a:close/>
              </a:path>
              <a:path w="335279" h="267970">
                <a:moveTo>
                  <a:pt x="97535" y="9143"/>
                </a:moveTo>
                <a:lnTo>
                  <a:pt x="93725" y="7619"/>
                </a:lnTo>
                <a:lnTo>
                  <a:pt x="94858" y="9168"/>
                </a:lnTo>
                <a:lnTo>
                  <a:pt x="97535" y="9143"/>
                </a:lnTo>
                <a:close/>
              </a:path>
              <a:path w="335279" h="267970">
                <a:moveTo>
                  <a:pt x="94858" y="9168"/>
                </a:moveTo>
                <a:lnTo>
                  <a:pt x="93725" y="7619"/>
                </a:lnTo>
                <a:lnTo>
                  <a:pt x="93725" y="9178"/>
                </a:lnTo>
                <a:lnTo>
                  <a:pt x="94858" y="9168"/>
                </a:lnTo>
                <a:close/>
              </a:path>
              <a:path w="335279" h="267970">
                <a:moveTo>
                  <a:pt x="97535" y="12828"/>
                </a:moveTo>
                <a:lnTo>
                  <a:pt x="97535" y="9143"/>
                </a:lnTo>
                <a:lnTo>
                  <a:pt x="94858" y="9168"/>
                </a:lnTo>
                <a:lnTo>
                  <a:pt x="97535" y="12828"/>
                </a:lnTo>
                <a:close/>
              </a:path>
              <a:path w="335279" h="267970">
                <a:moveTo>
                  <a:pt x="242315" y="259841"/>
                </a:moveTo>
                <a:lnTo>
                  <a:pt x="241154" y="258250"/>
                </a:lnTo>
                <a:lnTo>
                  <a:pt x="237743" y="258317"/>
                </a:lnTo>
                <a:lnTo>
                  <a:pt x="242315" y="259841"/>
                </a:lnTo>
                <a:close/>
              </a:path>
              <a:path w="335279" h="267970">
                <a:moveTo>
                  <a:pt x="242315" y="267385"/>
                </a:moveTo>
                <a:lnTo>
                  <a:pt x="242315" y="259841"/>
                </a:lnTo>
                <a:lnTo>
                  <a:pt x="237743" y="258317"/>
                </a:lnTo>
                <a:lnTo>
                  <a:pt x="237743" y="267461"/>
                </a:lnTo>
                <a:lnTo>
                  <a:pt x="242315" y="267385"/>
                </a:lnTo>
                <a:close/>
              </a:path>
              <a:path w="335279" h="267970">
                <a:moveTo>
                  <a:pt x="314705" y="265937"/>
                </a:moveTo>
                <a:lnTo>
                  <a:pt x="314705" y="256793"/>
                </a:lnTo>
                <a:lnTo>
                  <a:pt x="310133" y="259079"/>
                </a:lnTo>
                <a:lnTo>
                  <a:pt x="310133" y="256884"/>
                </a:lnTo>
                <a:lnTo>
                  <a:pt x="241154" y="258250"/>
                </a:lnTo>
                <a:lnTo>
                  <a:pt x="242315" y="259841"/>
                </a:lnTo>
                <a:lnTo>
                  <a:pt x="242315" y="267385"/>
                </a:lnTo>
                <a:lnTo>
                  <a:pt x="310133" y="266029"/>
                </a:lnTo>
                <a:lnTo>
                  <a:pt x="310133" y="259079"/>
                </a:lnTo>
                <a:lnTo>
                  <a:pt x="311298" y="256861"/>
                </a:lnTo>
                <a:lnTo>
                  <a:pt x="311298" y="266006"/>
                </a:lnTo>
                <a:lnTo>
                  <a:pt x="314705" y="265937"/>
                </a:lnTo>
                <a:close/>
              </a:path>
              <a:path w="335279" h="267970">
                <a:moveTo>
                  <a:pt x="281939" y="248411"/>
                </a:moveTo>
                <a:lnTo>
                  <a:pt x="278102" y="243166"/>
                </a:lnTo>
                <a:lnTo>
                  <a:pt x="274319" y="249173"/>
                </a:lnTo>
                <a:lnTo>
                  <a:pt x="281939" y="248411"/>
                </a:lnTo>
                <a:close/>
              </a:path>
              <a:path w="335279" h="267970">
                <a:moveTo>
                  <a:pt x="281939" y="255269"/>
                </a:moveTo>
                <a:lnTo>
                  <a:pt x="281939" y="248411"/>
                </a:lnTo>
                <a:lnTo>
                  <a:pt x="274319" y="249173"/>
                </a:lnTo>
                <a:lnTo>
                  <a:pt x="274319" y="254507"/>
                </a:lnTo>
                <a:lnTo>
                  <a:pt x="277367" y="256031"/>
                </a:lnTo>
                <a:lnTo>
                  <a:pt x="280415" y="256031"/>
                </a:lnTo>
                <a:lnTo>
                  <a:pt x="281939" y="255269"/>
                </a:lnTo>
                <a:close/>
              </a:path>
              <a:path w="335279" h="267970">
                <a:moveTo>
                  <a:pt x="335279" y="231647"/>
                </a:moveTo>
                <a:lnTo>
                  <a:pt x="335279" y="230123"/>
                </a:lnTo>
                <a:lnTo>
                  <a:pt x="333755" y="228599"/>
                </a:lnTo>
                <a:lnTo>
                  <a:pt x="332993" y="227075"/>
                </a:lnTo>
                <a:lnTo>
                  <a:pt x="331469" y="226313"/>
                </a:lnTo>
                <a:lnTo>
                  <a:pt x="289559" y="226313"/>
                </a:lnTo>
                <a:lnTo>
                  <a:pt x="288035" y="227075"/>
                </a:lnTo>
                <a:lnTo>
                  <a:pt x="287273" y="228599"/>
                </a:lnTo>
                <a:lnTo>
                  <a:pt x="278102" y="243166"/>
                </a:lnTo>
                <a:lnTo>
                  <a:pt x="281939" y="248411"/>
                </a:lnTo>
                <a:lnTo>
                  <a:pt x="281939" y="255269"/>
                </a:lnTo>
                <a:lnTo>
                  <a:pt x="282701" y="253745"/>
                </a:lnTo>
                <a:lnTo>
                  <a:pt x="291083" y="239601"/>
                </a:lnTo>
                <a:lnTo>
                  <a:pt x="291083" y="235457"/>
                </a:lnTo>
                <a:lnTo>
                  <a:pt x="294893" y="233171"/>
                </a:lnTo>
                <a:lnTo>
                  <a:pt x="294893" y="235457"/>
                </a:lnTo>
                <a:lnTo>
                  <a:pt x="322535" y="235457"/>
                </a:lnTo>
                <a:lnTo>
                  <a:pt x="326135" y="228599"/>
                </a:lnTo>
                <a:lnTo>
                  <a:pt x="329945" y="235457"/>
                </a:lnTo>
                <a:lnTo>
                  <a:pt x="329945" y="241880"/>
                </a:lnTo>
                <a:lnTo>
                  <a:pt x="334517" y="233171"/>
                </a:lnTo>
                <a:lnTo>
                  <a:pt x="335279" y="231647"/>
                </a:lnTo>
                <a:close/>
              </a:path>
              <a:path w="335279" h="267970">
                <a:moveTo>
                  <a:pt x="294893" y="233171"/>
                </a:moveTo>
                <a:lnTo>
                  <a:pt x="291083" y="235457"/>
                </a:lnTo>
                <a:lnTo>
                  <a:pt x="293539" y="235457"/>
                </a:lnTo>
                <a:lnTo>
                  <a:pt x="294893" y="233171"/>
                </a:lnTo>
                <a:close/>
              </a:path>
              <a:path w="335279" h="267970">
                <a:moveTo>
                  <a:pt x="293539" y="235457"/>
                </a:moveTo>
                <a:lnTo>
                  <a:pt x="291083" y="235457"/>
                </a:lnTo>
                <a:lnTo>
                  <a:pt x="291083" y="239601"/>
                </a:lnTo>
                <a:lnTo>
                  <a:pt x="293539" y="235457"/>
                </a:lnTo>
                <a:close/>
              </a:path>
              <a:path w="335279" h="267970">
                <a:moveTo>
                  <a:pt x="294893" y="235457"/>
                </a:moveTo>
                <a:lnTo>
                  <a:pt x="294893" y="233171"/>
                </a:lnTo>
                <a:lnTo>
                  <a:pt x="293539" y="235457"/>
                </a:lnTo>
                <a:lnTo>
                  <a:pt x="294893" y="235457"/>
                </a:lnTo>
                <a:close/>
              </a:path>
              <a:path w="335279" h="267970">
                <a:moveTo>
                  <a:pt x="314705" y="256793"/>
                </a:moveTo>
                <a:lnTo>
                  <a:pt x="311298" y="256861"/>
                </a:lnTo>
                <a:lnTo>
                  <a:pt x="310133" y="259079"/>
                </a:lnTo>
                <a:lnTo>
                  <a:pt x="314705" y="256793"/>
                </a:lnTo>
                <a:close/>
              </a:path>
              <a:path w="335279" h="267970">
                <a:moveTo>
                  <a:pt x="329945" y="241880"/>
                </a:moveTo>
                <a:lnTo>
                  <a:pt x="329945" y="235457"/>
                </a:lnTo>
                <a:lnTo>
                  <a:pt x="322535" y="235457"/>
                </a:lnTo>
                <a:lnTo>
                  <a:pt x="311298" y="256861"/>
                </a:lnTo>
                <a:lnTo>
                  <a:pt x="314705" y="256793"/>
                </a:lnTo>
                <a:lnTo>
                  <a:pt x="314705" y="265937"/>
                </a:lnTo>
                <a:lnTo>
                  <a:pt x="316229" y="265937"/>
                </a:lnTo>
                <a:lnTo>
                  <a:pt x="317753" y="265175"/>
                </a:lnTo>
                <a:lnTo>
                  <a:pt x="318515" y="263651"/>
                </a:lnTo>
                <a:lnTo>
                  <a:pt x="329945" y="241880"/>
                </a:lnTo>
                <a:close/>
              </a:path>
              <a:path w="335279" h="267970">
                <a:moveTo>
                  <a:pt x="329945" y="235457"/>
                </a:moveTo>
                <a:lnTo>
                  <a:pt x="326135" y="228599"/>
                </a:lnTo>
                <a:lnTo>
                  <a:pt x="322535" y="235457"/>
                </a:lnTo>
                <a:lnTo>
                  <a:pt x="329945" y="2354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1" name="object 103"/>
          <p:cNvSpPr/>
          <p:nvPr/>
        </p:nvSpPr>
        <p:spPr>
          <a:xfrm>
            <a:off x="4689266" y="1451378"/>
            <a:ext cx="276335" cy="86342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2" name="object 104"/>
          <p:cNvSpPr/>
          <p:nvPr/>
        </p:nvSpPr>
        <p:spPr>
          <a:xfrm>
            <a:off x="4686246" y="1449007"/>
            <a:ext cx="283130" cy="90856"/>
          </a:xfrm>
          <a:custGeom>
            <a:avLst/>
            <a:gdLst/>
            <a:ahLst/>
            <a:cxnLst/>
            <a:rect l="l" t="t" r="r" b="b"/>
            <a:pathLst>
              <a:path w="428625" h="204470">
                <a:moveTo>
                  <a:pt x="428244" y="199644"/>
                </a:moveTo>
                <a:lnTo>
                  <a:pt x="428244" y="198120"/>
                </a:lnTo>
                <a:lnTo>
                  <a:pt x="426720" y="196596"/>
                </a:lnTo>
                <a:lnTo>
                  <a:pt x="279654" y="1524"/>
                </a:lnTo>
                <a:lnTo>
                  <a:pt x="278892" y="762"/>
                </a:lnTo>
                <a:lnTo>
                  <a:pt x="277368" y="0"/>
                </a:lnTo>
                <a:lnTo>
                  <a:pt x="3048" y="0"/>
                </a:lnTo>
                <a:lnTo>
                  <a:pt x="1524" y="1524"/>
                </a:lnTo>
                <a:lnTo>
                  <a:pt x="0" y="4572"/>
                </a:lnTo>
                <a:lnTo>
                  <a:pt x="0" y="6096"/>
                </a:lnTo>
                <a:lnTo>
                  <a:pt x="762" y="7620"/>
                </a:lnTo>
                <a:lnTo>
                  <a:pt x="4572" y="12871"/>
                </a:lnTo>
                <a:lnTo>
                  <a:pt x="4572" y="9906"/>
                </a:lnTo>
                <a:lnTo>
                  <a:pt x="8382" y="2286"/>
                </a:lnTo>
                <a:lnTo>
                  <a:pt x="13891" y="9879"/>
                </a:lnTo>
                <a:lnTo>
                  <a:pt x="272034" y="9154"/>
                </a:lnTo>
                <a:lnTo>
                  <a:pt x="272034" y="7620"/>
                </a:lnTo>
                <a:lnTo>
                  <a:pt x="275844" y="9144"/>
                </a:lnTo>
                <a:lnTo>
                  <a:pt x="275844" y="12653"/>
                </a:lnTo>
                <a:lnTo>
                  <a:pt x="413332" y="194310"/>
                </a:lnTo>
                <a:lnTo>
                  <a:pt x="422910" y="194310"/>
                </a:lnTo>
                <a:lnTo>
                  <a:pt x="422910" y="204216"/>
                </a:lnTo>
                <a:lnTo>
                  <a:pt x="425196" y="204216"/>
                </a:lnTo>
                <a:lnTo>
                  <a:pt x="426720" y="202692"/>
                </a:lnTo>
                <a:lnTo>
                  <a:pt x="428244" y="199644"/>
                </a:lnTo>
                <a:close/>
              </a:path>
              <a:path w="428625" h="204470">
                <a:moveTo>
                  <a:pt x="13891" y="9879"/>
                </a:moveTo>
                <a:lnTo>
                  <a:pt x="8382" y="2286"/>
                </a:lnTo>
                <a:lnTo>
                  <a:pt x="4572" y="9906"/>
                </a:lnTo>
                <a:lnTo>
                  <a:pt x="13891" y="9879"/>
                </a:lnTo>
                <a:close/>
              </a:path>
              <a:path w="428625" h="204470">
                <a:moveTo>
                  <a:pt x="147693" y="194310"/>
                </a:moveTo>
                <a:lnTo>
                  <a:pt x="13891" y="9879"/>
                </a:lnTo>
                <a:lnTo>
                  <a:pt x="4572" y="9906"/>
                </a:lnTo>
                <a:lnTo>
                  <a:pt x="4572" y="12871"/>
                </a:lnTo>
                <a:lnTo>
                  <a:pt x="141732" y="201930"/>
                </a:lnTo>
                <a:lnTo>
                  <a:pt x="142494" y="203454"/>
                </a:lnTo>
                <a:lnTo>
                  <a:pt x="144018" y="204216"/>
                </a:lnTo>
                <a:lnTo>
                  <a:pt x="145542" y="204216"/>
                </a:lnTo>
                <a:lnTo>
                  <a:pt x="145542" y="194310"/>
                </a:lnTo>
                <a:lnTo>
                  <a:pt x="147693" y="194310"/>
                </a:lnTo>
                <a:close/>
              </a:path>
              <a:path w="428625" h="204470">
                <a:moveTo>
                  <a:pt x="149352" y="196596"/>
                </a:moveTo>
                <a:lnTo>
                  <a:pt x="147693" y="194310"/>
                </a:lnTo>
                <a:lnTo>
                  <a:pt x="145542" y="194310"/>
                </a:lnTo>
                <a:lnTo>
                  <a:pt x="149352" y="196596"/>
                </a:lnTo>
                <a:close/>
              </a:path>
              <a:path w="428625" h="204470">
                <a:moveTo>
                  <a:pt x="149352" y="204216"/>
                </a:moveTo>
                <a:lnTo>
                  <a:pt x="149352" y="196596"/>
                </a:lnTo>
                <a:lnTo>
                  <a:pt x="145542" y="194310"/>
                </a:lnTo>
                <a:lnTo>
                  <a:pt x="145542" y="204216"/>
                </a:lnTo>
                <a:lnTo>
                  <a:pt x="149352" y="204216"/>
                </a:lnTo>
                <a:close/>
              </a:path>
              <a:path w="428625" h="204470">
                <a:moveTo>
                  <a:pt x="422910" y="204216"/>
                </a:moveTo>
                <a:lnTo>
                  <a:pt x="422910" y="194310"/>
                </a:lnTo>
                <a:lnTo>
                  <a:pt x="419100" y="201930"/>
                </a:lnTo>
                <a:lnTo>
                  <a:pt x="413332" y="194310"/>
                </a:lnTo>
                <a:lnTo>
                  <a:pt x="147693" y="194310"/>
                </a:lnTo>
                <a:lnTo>
                  <a:pt x="149352" y="196596"/>
                </a:lnTo>
                <a:lnTo>
                  <a:pt x="149352" y="204216"/>
                </a:lnTo>
                <a:lnTo>
                  <a:pt x="422910" y="204216"/>
                </a:lnTo>
                <a:close/>
              </a:path>
              <a:path w="428625" h="204470">
                <a:moveTo>
                  <a:pt x="275844" y="9144"/>
                </a:moveTo>
                <a:lnTo>
                  <a:pt x="272034" y="7620"/>
                </a:lnTo>
                <a:lnTo>
                  <a:pt x="273193" y="9151"/>
                </a:lnTo>
                <a:lnTo>
                  <a:pt x="275844" y="9144"/>
                </a:lnTo>
                <a:close/>
              </a:path>
              <a:path w="428625" h="204470">
                <a:moveTo>
                  <a:pt x="273193" y="9151"/>
                </a:moveTo>
                <a:lnTo>
                  <a:pt x="272034" y="7620"/>
                </a:lnTo>
                <a:lnTo>
                  <a:pt x="272034" y="9154"/>
                </a:lnTo>
                <a:lnTo>
                  <a:pt x="273193" y="9151"/>
                </a:lnTo>
                <a:close/>
              </a:path>
              <a:path w="428625" h="204470">
                <a:moveTo>
                  <a:pt x="275844" y="12653"/>
                </a:moveTo>
                <a:lnTo>
                  <a:pt x="275844" y="9144"/>
                </a:lnTo>
                <a:lnTo>
                  <a:pt x="273193" y="9151"/>
                </a:lnTo>
                <a:lnTo>
                  <a:pt x="275844" y="12653"/>
                </a:lnTo>
                <a:close/>
              </a:path>
              <a:path w="428625" h="204470">
                <a:moveTo>
                  <a:pt x="422910" y="194310"/>
                </a:moveTo>
                <a:lnTo>
                  <a:pt x="413332" y="194310"/>
                </a:lnTo>
                <a:lnTo>
                  <a:pt x="419100" y="201930"/>
                </a:lnTo>
                <a:lnTo>
                  <a:pt x="422910" y="19431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3" name="object 105"/>
          <p:cNvSpPr/>
          <p:nvPr/>
        </p:nvSpPr>
        <p:spPr>
          <a:xfrm>
            <a:off x="5040600" y="1437609"/>
            <a:ext cx="214423" cy="113993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4" name="object 106"/>
          <p:cNvSpPr/>
          <p:nvPr/>
        </p:nvSpPr>
        <p:spPr>
          <a:xfrm>
            <a:off x="5037077" y="1434787"/>
            <a:ext cx="221051" cy="119355"/>
          </a:xfrm>
          <a:custGeom>
            <a:avLst/>
            <a:gdLst/>
            <a:ahLst/>
            <a:cxnLst/>
            <a:rect l="l" t="t" r="r" b="b"/>
            <a:pathLst>
              <a:path w="334645" h="268604">
                <a:moveTo>
                  <a:pt x="277844" y="243575"/>
                </a:moveTo>
                <a:lnTo>
                  <a:pt x="101346" y="2285"/>
                </a:lnTo>
                <a:lnTo>
                  <a:pt x="100584" y="761"/>
                </a:lnTo>
                <a:lnTo>
                  <a:pt x="99060" y="0"/>
                </a:lnTo>
                <a:lnTo>
                  <a:pt x="17526" y="720"/>
                </a:lnTo>
                <a:lnTo>
                  <a:pt x="10668" y="761"/>
                </a:lnTo>
                <a:lnTo>
                  <a:pt x="9144" y="2285"/>
                </a:lnTo>
                <a:lnTo>
                  <a:pt x="8382" y="4571"/>
                </a:lnTo>
                <a:lnTo>
                  <a:pt x="0" y="31241"/>
                </a:lnTo>
                <a:lnTo>
                  <a:pt x="0" y="34289"/>
                </a:lnTo>
                <a:lnTo>
                  <a:pt x="762" y="35051"/>
                </a:lnTo>
                <a:lnTo>
                  <a:pt x="1524" y="36575"/>
                </a:lnTo>
                <a:lnTo>
                  <a:pt x="3048" y="37337"/>
                </a:lnTo>
                <a:lnTo>
                  <a:pt x="4572" y="37337"/>
                </a:lnTo>
                <a:lnTo>
                  <a:pt x="4572" y="27431"/>
                </a:lnTo>
                <a:lnTo>
                  <a:pt x="11239" y="27431"/>
                </a:lnTo>
                <a:lnTo>
                  <a:pt x="12954" y="21820"/>
                </a:lnTo>
                <a:lnTo>
                  <a:pt x="12954" y="10667"/>
                </a:lnTo>
                <a:lnTo>
                  <a:pt x="17526" y="6857"/>
                </a:lnTo>
                <a:lnTo>
                  <a:pt x="17526" y="10626"/>
                </a:lnTo>
                <a:lnTo>
                  <a:pt x="45146" y="10377"/>
                </a:lnTo>
                <a:lnTo>
                  <a:pt x="46482" y="5333"/>
                </a:lnTo>
                <a:lnTo>
                  <a:pt x="46482" y="3047"/>
                </a:lnTo>
                <a:lnTo>
                  <a:pt x="48006" y="1523"/>
                </a:lnTo>
                <a:lnTo>
                  <a:pt x="54102" y="1523"/>
                </a:lnTo>
                <a:lnTo>
                  <a:pt x="54864" y="3047"/>
                </a:lnTo>
                <a:lnTo>
                  <a:pt x="60079" y="10243"/>
                </a:lnTo>
                <a:lnTo>
                  <a:pt x="93726" y="9940"/>
                </a:lnTo>
                <a:lnTo>
                  <a:pt x="93726" y="7619"/>
                </a:lnTo>
                <a:lnTo>
                  <a:pt x="97536" y="9905"/>
                </a:lnTo>
                <a:lnTo>
                  <a:pt x="97536" y="12828"/>
                </a:lnTo>
                <a:lnTo>
                  <a:pt x="274320" y="254508"/>
                </a:lnTo>
                <a:lnTo>
                  <a:pt x="274320" y="249173"/>
                </a:lnTo>
                <a:lnTo>
                  <a:pt x="277844" y="243575"/>
                </a:lnTo>
                <a:close/>
              </a:path>
              <a:path w="334645" h="268604">
                <a:moveTo>
                  <a:pt x="11239" y="27431"/>
                </a:moveTo>
                <a:lnTo>
                  <a:pt x="4572" y="27431"/>
                </a:lnTo>
                <a:lnTo>
                  <a:pt x="9144" y="34289"/>
                </a:lnTo>
                <a:lnTo>
                  <a:pt x="11239" y="27431"/>
                </a:lnTo>
                <a:close/>
              </a:path>
              <a:path w="334645" h="268604">
                <a:moveTo>
                  <a:pt x="40632" y="27431"/>
                </a:moveTo>
                <a:lnTo>
                  <a:pt x="11239" y="27431"/>
                </a:lnTo>
                <a:lnTo>
                  <a:pt x="9144" y="34289"/>
                </a:lnTo>
                <a:lnTo>
                  <a:pt x="4572" y="27431"/>
                </a:lnTo>
                <a:lnTo>
                  <a:pt x="4572" y="37337"/>
                </a:lnTo>
                <a:lnTo>
                  <a:pt x="39624" y="37337"/>
                </a:lnTo>
                <a:lnTo>
                  <a:pt x="39624" y="31241"/>
                </a:lnTo>
                <a:lnTo>
                  <a:pt x="40632" y="27431"/>
                </a:lnTo>
                <a:close/>
              </a:path>
              <a:path w="334645" h="268604">
                <a:moveTo>
                  <a:pt x="17526" y="6857"/>
                </a:moveTo>
                <a:lnTo>
                  <a:pt x="12954" y="10667"/>
                </a:lnTo>
                <a:lnTo>
                  <a:pt x="16371" y="10637"/>
                </a:lnTo>
                <a:lnTo>
                  <a:pt x="17526" y="6857"/>
                </a:lnTo>
                <a:close/>
              </a:path>
              <a:path w="334645" h="268604">
                <a:moveTo>
                  <a:pt x="16371" y="10637"/>
                </a:moveTo>
                <a:lnTo>
                  <a:pt x="12954" y="10667"/>
                </a:lnTo>
                <a:lnTo>
                  <a:pt x="12954" y="21820"/>
                </a:lnTo>
                <a:lnTo>
                  <a:pt x="16371" y="10637"/>
                </a:lnTo>
                <a:close/>
              </a:path>
              <a:path w="334645" h="268604">
                <a:moveTo>
                  <a:pt x="17526" y="10626"/>
                </a:moveTo>
                <a:lnTo>
                  <a:pt x="17526" y="6857"/>
                </a:lnTo>
                <a:lnTo>
                  <a:pt x="16371" y="10637"/>
                </a:lnTo>
                <a:lnTo>
                  <a:pt x="17526" y="10626"/>
                </a:lnTo>
                <a:close/>
              </a:path>
              <a:path w="334645" h="268604">
                <a:moveTo>
                  <a:pt x="44958" y="27431"/>
                </a:moveTo>
                <a:lnTo>
                  <a:pt x="40632" y="27431"/>
                </a:lnTo>
                <a:lnTo>
                  <a:pt x="39624" y="31241"/>
                </a:lnTo>
                <a:lnTo>
                  <a:pt x="44958" y="27431"/>
                </a:lnTo>
                <a:close/>
              </a:path>
              <a:path w="334645" h="268604">
                <a:moveTo>
                  <a:pt x="44958" y="37337"/>
                </a:moveTo>
                <a:lnTo>
                  <a:pt x="44958" y="27431"/>
                </a:lnTo>
                <a:lnTo>
                  <a:pt x="39624" y="31241"/>
                </a:lnTo>
                <a:lnTo>
                  <a:pt x="39624" y="37337"/>
                </a:lnTo>
                <a:lnTo>
                  <a:pt x="44958" y="37337"/>
                </a:lnTo>
                <a:close/>
              </a:path>
              <a:path w="334645" h="268604">
                <a:moveTo>
                  <a:pt x="53305" y="17481"/>
                </a:moveTo>
                <a:lnTo>
                  <a:pt x="48121" y="10351"/>
                </a:lnTo>
                <a:lnTo>
                  <a:pt x="45146" y="10377"/>
                </a:lnTo>
                <a:lnTo>
                  <a:pt x="40632" y="27431"/>
                </a:lnTo>
                <a:lnTo>
                  <a:pt x="44958" y="27431"/>
                </a:lnTo>
                <a:lnTo>
                  <a:pt x="44958" y="37337"/>
                </a:lnTo>
                <a:lnTo>
                  <a:pt x="46482" y="37337"/>
                </a:lnTo>
                <a:lnTo>
                  <a:pt x="48768" y="35813"/>
                </a:lnTo>
                <a:lnTo>
                  <a:pt x="49530" y="33527"/>
                </a:lnTo>
                <a:lnTo>
                  <a:pt x="53305" y="17481"/>
                </a:lnTo>
                <a:close/>
              </a:path>
              <a:path w="334645" h="268604">
                <a:moveTo>
                  <a:pt x="60079" y="10243"/>
                </a:moveTo>
                <a:lnTo>
                  <a:pt x="54864" y="3047"/>
                </a:lnTo>
                <a:lnTo>
                  <a:pt x="54102" y="1523"/>
                </a:lnTo>
                <a:lnTo>
                  <a:pt x="48006" y="1523"/>
                </a:lnTo>
                <a:lnTo>
                  <a:pt x="46482" y="3047"/>
                </a:lnTo>
                <a:lnTo>
                  <a:pt x="46482" y="5333"/>
                </a:lnTo>
                <a:lnTo>
                  <a:pt x="45146" y="10377"/>
                </a:lnTo>
                <a:lnTo>
                  <a:pt x="47244" y="10359"/>
                </a:lnTo>
                <a:lnTo>
                  <a:pt x="47244" y="9143"/>
                </a:lnTo>
                <a:lnTo>
                  <a:pt x="55626" y="7619"/>
                </a:lnTo>
                <a:lnTo>
                  <a:pt x="55626" y="10283"/>
                </a:lnTo>
                <a:lnTo>
                  <a:pt x="60079" y="10243"/>
                </a:lnTo>
                <a:close/>
              </a:path>
              <a:path w="334645" h="268604">
                <a:moveTo>
                  <a:pt x="55626" y="7619"/>
                </a:moveTo>
                <a:lnTo>
                  <a:pt x="47244" y="9143"/>
                </a:lnTo>
                <a:lnTo>
                  <a:pt x="48121" y="10351"/>
                </a:lnTo>
                <a:lnTo>
                  <a:pt x="54997" y="10289"/>
                </a:lnTo>
                <a:lnTo>
                  <a:pt x="55626" y="7619"/>
                </a:lnTo>
                <a:close/>
              </a:path>
              <a:path w="334645" h="268604">
                <a:moveTo>
                  <a:pt x="48121" y="10351"/>
                </a:moveTo>
                <a:lnTo>
                  <a:pt x="47244" y="9143"/>
                </a:lnTo>
                <a:lnTo>
                  <a:pt x="47244" y="10359"/>
                </a:lnTo>
                <a:lnTo>
                  <a:pt x="48121" y="10351"/>
                </a:lnTo>
                <a:close/>
              </a:path>
              <a:path w="334645" h="268604">
                <a:moveTo>
                  <a:pt x="54997" y="10289"/>
                </a:moveTo>
                <a:lnTo>
                  <a:pt x="48121" y="10351"/>
                </a:lnTo>
                <a:lnTo>
                  <a:pt x="53305" y="17481"/>
                </a:lnTo>
                <a:lnTo>
                  <a:pt x="54997" y="10289"/>
                </a:lnTo>
                <a:close/>
              </a:path>
              <a:path w="334645" h="268604">
                <a:moveTo>
                  <a:pt x="239866" y="258275"/>
                </a:moveTo>
                <a:lnTo>
                  <a:pt x="60079" y="10243"/>
                </a:lnTo>
                <a:lnTo>
                  <a:pt x="54997" y="10289"/>
                </a:lnTo>
                <a:lnTo>
                  <a:pt x="53305" y="17481"/>
                </a:lnTo>
                <a:lnTo>
                  <a:pt x="233934" y="265938"/>
                </a:lnTo>
                <a:lnTo>
                  <a:pt x="234696" y="267462"/>
                </a:lnTo>
                <a:lnTo>
                  <a:pt x="236220" y="268223"/>
                </a:lnTo>
                <a:lnTo>
                  <a:pt x="237744" y="268223"/>
                </a:lnTo>
                <a:lnTo>
                  <a:pt x="237744" y="258317"/>
                </a:lnTo>
                <a:lnTo>
                  <a:pt x="239866" y="258275"/>
                </a:lnTo>
                <a:close/>
              </a:path>
              <a:path w="334645" h="268604">
                <a:moveTo>
                  <a:pt x="55626" y="10283"/>
                </a:moveTo>
                <a:lnTo>
                  <a:pt x="55626" y="7619"/>
                </a:lnTo>
                <a:lnTo>
                  <a:pt x="54997" y="10289"/>
                </a:lnTo>
                <a:lnTo>
                  <a:pt x="55626" y="10283"/>
                </a:lnTo>
                <a:close/>
              </a:path>
              <a:path w="334645" h="268604">
                <a:moveTo>
                  <a:pt x="97536" y="9905"/>
                </a:moveTo>
                <a:lnTo>
                  <a:pt x="93726" y="7619"/>
                </a:lnTo>
                <a:lnTo>
                  <a:pt x="95412" y="9925"/>
                </a:lnTo>
                <a:lnTo>
                  <a:pt x="97536" y="9905"/>
                </a:lnTo>
                <a:close/>
              </a:path>
              <a:path w="334645" h="268604">
                <a:moveTo>
                  <a:pt x="95412" y="9925"/>
                </a:moveTo>
                <a:lnTo>
                  <a:pt x="93726" y="7619"/>
                </a:lnTo>
                <a:lnTo>
                  <a:pt x="93726" y="9940"/>
                </a:lnTo>
                <a:lnTo>
                  <a:pt x="95412" y="9925"/>
                </a:lnTo>
                <a:close/>
              </a:path>
              <a:path w="334645" h="268604">
                <a:moveTo>
                  <a:pt x="97536" y="12828"/>
                </a:moveTo>
                <a:lnTo>
                  <a:pt x="97536" y="9905"/>
                </a:lnTo>
                <a:lnTo>
                  <a:pt x="95412" y="9925"/>
                </a:lnTo>
                <a:lnTo>
                  <a:pt x="97536" y="12828"/>
                </a:lnTo>
                <a:close/>
              </a:path>
              <a:path w="334645" h="268604">
                <a:moveTo>
                  <a:pt x="241554" y="260603"/>
                </a:moveTo>
                <a:lnTo>
                  <a:pt x="239866" y="258275"/>
                </a:lnTo>
                <a:lnTo>
                  <a:pt x="237744" y="258317"/>
                </a:lnTo>
                <a:lnTo>
                  <a:pt x="241554" y="260603"/>
                </a:lnTo>
                <a:close/>
              </a:path>
              <a:path w="334645" h="268604">
                <a:moveTo>
                  <a:pt x="241554" y="268148"/>
                </a:moveTo>
                <a:lnTo>
                  <a:pt x="241554" y="260603"/>
                </a:lnTo>
                <a:lnTo>
                  <a:pt x="237744" y="258317"/>
                </a:lnTo>
                <a:lnTo>
                  <a:pt x="237744" y="268223"/>
                </a:lnTo>
                <a:lnTo>
                  <a:pt x="241554" y="268148"/>
                </a:lnTo>
                <a:close/>
              </a:path>
              <a:path w="334645" h="268604">
                <a:moveTo>
                  <a:pt x="313944" y="266715"/>
                </a:moveTo>
                <a:lnTo>
                  <a:pt x="313944" y="256794"/>
                </a:lnTo>
                <a:lnTo>
                  <a:pt x="310134" y="259841"/>
                </a:lnTo>
                <a:lnTo>
                  <a:pt x="310134" y="256870"/>
                </a:lnTo>
                <a:lnTo>
                  <a:pt x="239866" y="258275"/>
                </a:lnTo>
                <a:lnTo>
                  <a:pt x="241554" y="260603"/>
                </a:lnTo>
                <a:lnTo>
                  <a:pt x="241554" y="268148"/>
                </a:lnTo>
                <a:lnTo>
                  <a:pt x="310134" y="266790"/>
                </a:lnTo>
                <a:lnTo>
                  <a:pt x="310134" y="259841"/>
                </a:lnTo>
                <a:lnTo>
                  <a:pt x="311634" y="256840"/>
                </a:lnTo>
                <a:lnTo>
                  <a:pt x="311634" y="266760"/>
                </a:lnTo>
                <a:lnTo>
                  <a:pt x="313944" y="266715"/>
                </a:lnTo>
                <a:close/>
              </a:path>
              <a:path w="334645" h="268604">
                <a:moveTo>
                  <a:pt x="281940" y="249173"/>
                </a:moveTo>
                <a:lnTo>
                  <a:pt x="277844" y="243575"/>
                </a:lnTo>
                <a:lnTo>
                  <a:pt x="274320" y="249173"/>
                </a:lnTo>
                <a:lnTo>
                  <a:pt x="281940" y="249173"/>
                </a:lnTo>
                <a:close/>
              </a:path>
              <a:path w="334645" h="268604">
                <a:moveTo>
                  <a:pt x="281940" y="254508"/>
                </a:moveTo>
                <a:lnTo>
                  <a:pt x="281940" y="249173"/>
                </a:lnTo>
                <a:lnTo>
                  <a:pt x="274320" y="249173"/>
                </a:lnTo>
                <a:lnTo>
                  <a:pt x="274320" y="254508"/>
                </a:lnTo>
                <a:lnTo>
                  <a:pt x="275082" y="256031"/>
                </a:lnTo>
                <a:lnTo>
                  <a:pt x="276606" y="256794"/>
                </a:lnTo>
                <a:lnTo>
                  <a:pt x="279654" y="256794"/>
                </a:lnTo>
                <a:lnTo>
                  <a:pt x="281178" y="256031"/>
                </a:lnTo>
                <a:lnTo>
                  <a:pt x="281940" y="254508"/>
                </a:lnTo>
                <a:close/>
              </a:path>
              <a:path w="334645" h="268604">
                <a:moveTo>
                  <a:pt x="334518" y="231647"/>
                </a:moveTo>
                <a:lnTo>
                  <a:pt x="334518" y="230123"/>
                </a:lnTo>
                <a:lnTo>
                  <a:pt x="332994" y="227075"/>
                </a:lnTo>
                <a:lnTo>
                  <a:pt x="331470" y="226313"/>
                </a:lnTo>
                <a:lnTo>
                  <a:pt x="289560" y="226313"/>
                </a:lnTo>
                <a:lnTo>
                  <a:pt x="288036" y="227075"/>
                </a:lnTo>
                <a:lnTo>
                  <a:pt x="287274" y="228599"/>
                </a:lnTo>
                <a:lnTo>
                  <a:pt x="277844" y="243575"/>
                </a:lnTo>
                <a:lnTo>
                  <a:pt x="281940" y="249173"/>
                </a:lnTo>
                <a:lnTo>
                  <a:pt x="281940" y="254508"/>
                </a:lnTo>
                <a:lnTo>
                  <a:pt x="291084" y="239985"/>
                </a:lnTo>
                <a:lnTo>
                  <a:pt x="291084" y="236219"/>
                </a:lnTo>
                <a:lnTo>
                  <a:pt x="294894" y="233933"/>
                </a:lnTo>
                <a:lnTo>
                  <a:pt x="294894" y="236219"/>
                </a:lnTo>
                <a:lnTo>
                  <a:pt x="321945" y="236219"/>
                </a:lnTo>
                <a:lnTo>
                  <a:pt x="325374" y="229361"/>
                </a:lnTo>
                <a:lnTo>
                  <a:pt x="329946" y="236219"/>
                </a:lnTo>
                <a:lnTo>
                  <a:pt x="329946" y="240791"/>
                </a:lnTo>
                <a:lnTo>
                  <a:pt x="334518" y="231647"/>
                </a:lnTo>
                <a:close/>
              </a:path>
              <a:path w="334645" h="268604">
                <a:moveTo>
                  <a:pt x="294894" y="233933"/>
                </a:moveTo>
                <a:lnTo>
                  <a:pt x="291084" y="236219"/>
                </a:lnTo>
                <a:lnTo>
                  <a:pt x="293454" y="236219"/>
                </a:lnTo>
                <a:lnTo>
                  <a:pt x="294894" y="233933"/>
                </a:lnTo>
                <a:close/>
              </a:path>
              <a:path w="334645" h="268604">
                <a:moveTo>
                  <a:pt x="293454" y="236219"/>
                </a:moveTo>
                <a:lnTo>
                  <a:pt x="291084" y="236219"/>
                </a:lnTo>
                <a:lnTo>
                  <a:pt x="291084" y="239985"/>
                </a:lnTo>
                <a:lnTo>
                  <a:pt x="293454" y="236219"/>
                </a:lnTo>
                <a:close/>
              </a:path>
              <a:path w="334645" h="268604">
                <a:moveTo>
                  <a:pt x="294894" y="236219"/>
                </a:moveTo>
                <a:lnTo>
                  <a:pt x="294894" y="233933"/>
                </a:lnTo>
                <a:lnTo>
                  <a:pt x="293454" y="236219"/>
                </a:lnTo>
                <a:lnTo>
                  <a:pt x="294894" y="236219"/>
                </a:lnTo>
                <a:close/>
              </a:path>
              <a:path w="334645" h="268604">
                <a:moveTo>
                  <a:pt x="313944" y="256794"/>
                </a:moveTo>
                <a:lnTo>
                  <a:pt x="311634" y="256840"/>
                </a:lnTo>
                <a:lnTo>
                  <a:pt x="310134" y="259841"/>
                </a:lnTo>
                <a:lnTo>
                  <a:pt x="313944" y="256794"/>
                </a:lnTo>
                <a:close/>
              </a:path>
              <a:path w="334645" h="268604">
                <a:moveTo>
                  <a:pt x="329946" y="240791"/>
                </a:moveTo>
                <a:lnTo>
                  <a:pt x="329946" y="236219"/>
                </a:lnTo>
                <a:lnTo>
                  <a:pt x="321945" y="236219"/>
                </a:lnTo>
                <a:lnTo>
                  <a:pt x="311634" y="256840"/>
                </a:lnTo>
                <a:lnTo>
                  <a:pt x="313944" y="256794"/>
                </a:lnTo>
                <a:lnTo>
                  <a:pt x="313944" y="266715"/>
                </a:lnTo>
                <a:lnTo>
                  <a:pt x="316230" y="266699"/>
                </a:lnTo>
                <a:lnTo>
                  <a:pt x="317754" y="265176"/>
                </a:lnTo>
                <a:lnTo>
                  <a:pt x="329946" y="240791"/>
                </a:lnTo>
                <a:close/>
              </a:path>
              <a:path w="334645" h="268604">
                <a:moveTo>
                  <a:pt x="329946" y="236219"/>
                </a:moveTo>
                <a:lnTo>
                  <a:pt x="325374" y="229361"/>
                </a:lnTo>
                <a:lnTo>
                  <a:pt x="321945" y="236219"/>
                </a:lnTo>
                <a:lnTo>
                  <a:pt x="329946" y="2362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5" name="object 107"/>
          <p:cNvSpPr/>
          <p:nvPr/>
        </p:nvSpPr>
        <p:spPr>
          <a:xfrm>
            <a:off x="4902683" y="1451378"/>
            <a:ext cx="276336" cy="86342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6" name="object 108"/>
          <p:cNvSpPr/>
          <p:nvPr/>
        </p:nvSpPr>
        <p:spPr>
          <a:xfrm>
            <a:off x="4899161" y="1449007"/>
            <a:ext cx="283130" cy="90856"/>
          </a:xfrm>
          <a:custGeom>
            <a:avLst/>
            <a:gdLst/>
            <a:ahLst/>
            <a:cxnLst/>
            <a:rect l="l" t="t" r="r" b="b"/>
            <a:pathLst>
              <a:path w="428625" h="204470">
                <a:moveTo>
                  <a:pt x="428243" y="199644"/>
                </a:moveTo>
                <a:lnTo>
                  <a:pt x="428243" y="198120"/>
                </a:lnTo>
                <a:lnTo>
                  <a:pt x="427481" y="196596"/>
                </a:lnTo>
                <a:lnTo>
                  <a:pt x="279653" y="1524"/>
                </a:lnTo>
                <a:lnTo>
                  <a:pt x="278891" y="762"/>
                </a:lnTo>
                <a:lnTo>
                  <a:pt x="277367" y="0"/>
                </a:lnTo>
                <a:lnTo>
                  <a:pt x="3047" y="0"/>
                </a:lnTo>
                <a:lnTo>
                  <a:pt x="1523" y="1524"/>
                </a:lnTo>
                <a:lnTo>
                  <a:pt x="0" y="4572"/>
                </a:lnTo>
                <a:lnTo>
                  <a:pt x="0" y="6096"/>
                </a:lnTo>
                <a:lnTo>
                  <a:pt x="1523" y="7620"/>
                </a:lnTo>
                <a:lnTo>
                  <a:pt x="5333" y="12900"/>
                </a:lnTo>
                <a:lnTo>
                  <a:pt x="5333" y="9906"/>
                </a:lnTo>
                <a:lnTo>
                  <a:pt x="9143" y="2286"/>
                </a:lnTo>
                <a:lnTo>
                  <a:pt x="14653" y="9879"/>
                </a:lnTo>
                <a:lnTo>
                  <a:pt x="272795" y="9154"/>
                </a:lnTo>
                <a:lnTo>
                  <a:pt x="272795" y="7620"/>
                </a:lnTo>
                <a:lnTo>
                  <a:pt x="276605" y="9144"/>
                </a:lnTo>
                <a:lnTo>
                  <a:pt x="276605" y="12653"/>
                </a:lnTo>
                <a:lnTo>
                  <a:pt x="414094" y="194310"/>
                </a:lnTo>
                <a:lnTo>
                  <a:pt x="423671" y="194310"/>
                </a:lnTo>
                <a:lnTo>
                  <a:pt x="423671" y="204216"/>
                </a:lnTo>
                <a:lnTo>
                  <a:pt x="425195" y="204216"/>
                </a:lnTo>
                <a:lnTo>
                  <a:pt x="426719" y="202692"/>
                </a:lnTo>
                <a:lnTo>
                  <a:pt x="428243" y="199644"/>
                </a:lnTo>
                <a:close/>
              </a:path>
              <a:path w="428625" h="204470">
                <a:moveTo>
                  <a:pt x="14653" y="9879"/>
                </a:moveTo>
                <a:lnTo>
                  <a:pt x="9143" y="2286"/>
                </a:lnTo>
                <a:lnTo>
                  <a:pt x="5333" y="9906"/>
                </a:lnTo>
                <a:lnTo>
                  <a:pt x="14653" y="9879"/>
                </a:lnTo>
                <a:close/>
              </a:path>
              <a:path w="428625" h="204470">
                <a:moveTo>
                  <a:pt x="148455" y="194310"/>
                </a:moveTo>
                <a:lnTo>
                  <a:pt x="14653" y="9879"/>
                </a:lnTo>
                <a:lnTo>
                  <a:pt x="5333" y="9906"/>
                </a:lnTo>
                <a:lnTo>
                  <a:pt x="5333" y="12900"/>
                </a:lnTo>
                <a:lnTo>
                  <a:pt x="141731" y="201930"/>
                </a:lnTo>
                <a:lnTo>
                  <a:pt x="143255" y="203454"/>
                </a:lnTo>
                <a:lnTo>
                  <a:pt x="144779" y="204216"/>
                </a:lnTo>
                <a:lnTo>
                  <a:pt x="146303" y="204216"/>
                </a:lnTo>
                <a:lnTo>
                  <a:pt x="146303" y="194310"/>
                </a:lnTo>
                <a:lnTo>
                  <a:pt x="148455" y="194310"/>
                </a:lnTo>
                <a:close/>
              </a:path>
              <a:path w="428625" h="204470">
                <a:moveTo>
                  <a:pt x="150113" y="196596"/>
                </a:moveTo>
                <a:lnTo>
                  <a:pt x="148455" y="194310"/>
                </a:lnTo>
                <a:lnTo>
                  <a:pt x="146303" y="194310"/>
                </a:lnTo>
                <a:lnTo>
                  <a:pt x="150113" y="196596"/>
                </a:lnTo>
                <a:close/>
              </a:path>
              <a:path w="428625" h="204470">
                <a:moveTo>
                  <a:pt x="150113" y="204216"/>
                </a:moveTo>
                <a:lnTo>
                  <a:pt x="150113" y="196596"/>
                </a:lnTo>
                <a:lnTo>
                  <a:pt x="146303" y="194310"/>
                </a:lnTo>
                <a:lnTo>
                  <a:pt x="146303" y="204216"/>
                </a:lnTo>
                <a:lnTo>
                  <a:pt x="150113" y="204216"/>
                </a:lnTo>
                <a:close/>
              </a:path>
              <a:path w="428625" h="204470">
                <a:moveTo>
                  <a:pt x="423671" y="204216"/>
                </a:moveTo>
                <a:lnTo>
                  <a:pt x="423671" y="194310"/>
                </a:lnTo>
                <a:lnTo>
                  <a:pt x="419861" y="201930"/>
                </a:lnTo>
                <a:lnTo>
                  <a:pt x="414094" y="194310"/>
                </a:lnTo>
                <a:lnTo>
                  <a:pt x="148455" y="194310"/>
                </a:lnTo>
                <a:lnTo>
                  <a:pt x="150113" y="196596"/>
                </a:lnTo>
                <a:lnTo>
                  <a:pt x="150113" y="204216"/>
                </a:lnTo>
                <a:lnTo>
                  <a:pt x="423671" y="204216"/>
                </a:lnTo>
                <a:close/>
              </a:path>
              <a:path w="428625" h="204470">
                <a:moveTo>
                  <a:pt x="276605" y="9144"/>
                </a:moveTo>
                <a:lnTo>
                  <a:pt x="272795" y="7620"/>
                </a:lnTo>
                <a:lnTo>
                  <a:pt x="273955" y="9151"/>
                </a:lnTo>
                <a:lnTo>
                  <a:pt x="276605" y="9144"/>
                </a:lnTo>
                <a:close/>
              </a:path>
              <a:path w="428625" h="204470">
                <a:moveTo>
                  <a:pt x="273955" y="9151"/>
                </a:moveTo>
                <a:lnTo>
                  <a:pt x="272795" y="7620"/>
                </a:lnTo>
                <a:lnTo>
                  <a:pt x="272795" y="9154"/>
                </a:lnTo>
                <a:lnTo>
                  <a:pt x="273955" y="9151"/>
                </a:lnTo>
                <a:close/>
              </a:path>
              <a:path w="428625" h="204470">
                <a:moveTo>
                  <a:pt x="276605" y="12653"/>
                </a:moveTo>
                <a:lnTo>
                  <a:pt x="276605" y="9144"/>
                </a:lnTo>
                <a:lnTo>
                  <a:pt x="273955" y="9151"/>
                </a:lnTo>
                <a:lnTo>
                  <a:pt x="276605" y="12653"/>
                </a:lnTo>
                <a:close/>
              </a:path>
              <a:path w="428625" h="204470">
                <a:moveTo>
                  <a:pt x="423671" y="194310"/>
                </a:moveTo>
                <a:lnTo>
                  <a:pt x="414094" y="194310"/>
                </a:lnTo>
                <a:lnTo>
                  <a:pt x="419861" y="201930"/>
                </a:lnTo>
                <a:lnTo>
                  <a:pt x="423671" y="19431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7" name="object 109"/>
          <p:cNvSpPr/>
          <p:nvPr/>
        </p:nvSpPr>
        <p:spPr>
          <a:xfrm>
            <a:off x="5255024" y="1437609"/>
            <a:ext cx="213920" cy="113993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8" name="object 110"/>
          <p:cNvSpPr/>
          <p:nvPr/>
        </p:nvSpPr>
        <p:spPr>
          <a:xfrm>
            <a:off x="5250997" y="1434787"/>
            <a:ext cx="221471" cy="119355"/>
          </a:xfrm>
          <a:custGeom>
            <a:avLst/>
            <a:gdLst/>
            <a:ahLst/>
            <a:cxnLst/>
            <a:rect l="l" t="t" r="r" b="b"/>
            <a:pathLst>
              <a:path w="335279" h="268604">
                <a:moveTo>
                  <a:pt x="277844" y="243575"/>
                </a:moveTo>
                <a:lnTo>
                  <a:pt x="101345" y="2285"/>
                </a:lnTo>
                <a:lnTo>
                  <a:pt x="100583" y="761"/>
                </a:lnTo>
                <a:lnTo>
                  <a:pt x="99059" y="0"/>
                </a:lnTo>
                <a:lnTo>
                  <a:pt x="11429" y="761"/>
                </a:lnTo>
                <a:lnTo>
                  <a:pt x="9143" y="2285"/>
                </a:lnTo>
                <a:lnTo>
                  <a:pt x="8381" y="4571"/>
                </a:lnTo>
                <a:lnTo>
                  <a:pt x="761" y="31241"/>
                </a:lnTo>
                <a:lnTo>
                  <a:pt x="0" y="32765"/>
                </a:lnTo>
                <a:lnTo>
                  <a:pt x="0" y="34289"/>
                </a:lnTo>
                <a:lnTo>
                  <a:pt x="1523" y="35051"/>
                </a:lnTo>
                <a:lnTo>
                  <a:pt x="2285" y="36575"/>
                </a:lnTo>
                <a:lnTo>
                  <a:pt x="3809" y="37337"/>
                </a:lnTo>
                <a:lnTo>
                  <a:pt x="5333" y="37337"/>
                </a:lnTo>
                <a:lnTo>
                  <a:pt x="5333" y="27431"/>
                </a:lnTo>
                <a:lnTo>
                  <a:pt x="11810" y="27431"/>
                </a:lnTo>
                <a:lnTo>
                  <a:pt x="12953" y="23317"/>
                </a:lnTo>
                <a:lnTo>
                  <a:pt x="12953" y="10667"/>
                </a:lnTo>
                <a:lnTo>
                  <a:pt x="17525" y="6857"/>
                </a:lnTo>
                <a:lnTo>
                  <a:pt x="17525" y="10626"/>
                </a:lnTo>
                <a:lnTo>
                  <a:pt x="45295" y="10376"/>
                </a:lnTo>
                <a:lnTo>
                  <a:pt x="46481" y="5333"/>
                </a:lnTo>
                <a:lnTo>
                  <a:pt x="47243" y="3047"/>
                </a:lnTo>
                <a:lnTo>
                  <a:pt x="48767" y="1523"/>
                </a:lnTo>
                <a:lnTo>
                  <a:pt x="54101" y="1523"/>
                </a:lnTo>
                <a:lnTo>
                  <a:pt x="54863" y="3047"/>
                </a:lnTo>
                <a:lnTo>
                  <a:pt x="60100" y="10243"/>
                </a:lnTo>
                <a:lnTo>
                  <a:pt x="93725" y="9940"/>
                </a:lnTo>
                <a:lnTo>
                  <a:pt x="93725" y="7619"/>
                </a:lnTo>
                <a:lnTo>
                  <a:pt x="97535" y="9905"/>
                </a:lnTo>
                <a:lnTo>
                  <a:pt x="97535" y="12828"/>
                </a:lnTo>
                <a:lnTo>
                  <a:pt x="274319" y="254508"/>
                </a:lnTo>
                <a:lnTo>
                  <a:pt x="274319" y="249173"/>
                </a:lnTo>
                <a:lnTo>
                  <a:pt x="277844" y="243575"/>
                </a:lnTo>
                <a:close/>
              </a:path>
              <a:path w="335279" h="268604">
                <a:moveTo>
                  <a:pt x="11810" y="27431"/>
                </a:moveTo>
                <a:lnTo>
                  <a:pt x="5333" y="27431"/>
                </a:lnTo>
                <a:lnTo>
                  <a:pt x="9905" y="34289"/>
                </a:lnTo>
                <a:lnTo>
                  <a:pt x="11810" y="27431"/>
                </a:lnTo>
                <a:close/>
              </a:path>
              <a:path w="335279" h="268604">
                <a:moveTo>
                  <a:pt x="41282" y="27431"/>
                </a:moveTo>
                <a:lnTo>
                  <a:pt x="11810" y="27431"/>
                </a:lnTo>
                <a:lnTo>
                  <a:pt x="9905" y="34289"/>
                </a:lnTo>
                <a:lnTo>
                  <a:pt x="5333" y="27431"/>
                </a:lnTo>
                <a:lnTo>
                  <a:pt x="5333" y="37337"/>
                </a:lnTo>
                <a:lnTo>
                  <a:pt x="40385" y="37337"/>
                </a:lnTo>
                <a:lnTo>
                  <a:pt x="40385" y="31241"/>
                </a:lnTo>
                <a:lnTo>
                  <a:pt x="41282" y="27431"/>
                </a:lnTo>
                <a:close/>
              </a:path>
              <a:path w="335279" h="268604">
                <a:moveTo>
                  <a:pt x="17525" y="6857"/>
                </a:moveTo>
                <a:lnTo>
                  <a:pt x="12953" y="10667"/>
                </a:lnTo>
                <a:lnTo>
                  <a:pt x="16476" y="10636"/>
                </a:lnTo>
                <a:lnTo>
                  <a:pt x="17525" y="6857"/>
                </a:lnTo>
                <a:close/>
              </a:path>
              <a:path w="335279" h="268604">
                <a:moveTo>
                  <a:pt x="16476" y="10636"/>
                </a:moveTo>
                <a:lnTo>
                  <a:pt x="12953" y="10667"/>
                </a:lnTo>
                <a:lnTo>
                  <a:pt x="12953" y="23317"/>
                </a:lnTo>
                <a:lnTo>
                  <a:pt x="16476" y="10636"/>
                </a:lnTo>
                <a:close/>
              </a:path>
              <a:path w="335279" h="268604">
                <a:moveTo>
                  <a:pt x="17525" y="10626"/>
                </a:moveTo>
                <a:lnTo>
                  <a:pt x="17525" y="6857"/>
                </a:lnTo>
                <a:lnTo>
                  <a:pt x="16476" y="10636"/>
                </a:lnTo>
                <a:lnTo>
                  <a:pt x="17525" y="10626"/>
                </a:lnTo>
                <a:close/>
              </a:path>
              <a:path w="335279" h="268604">
                <a:moveTo>
                  <a:pt x="44957" y="27431"/>
                </a:moveTo>
                <a:lnTo>
                  <a:pt x="41282" y="27431"/>
                </a:lnTo>
                <a:lnTo>
                  <a:pt x="40385" y="31241"/>
                </a:lnTo>
                <a:lnTo>
                  <a:pt x="44957" y="27431"/>
                </a:lnTo>
                <a:close/>
              </a:path>
              <a:path w="335279" h="268604">
                <a:moveTo>
                  <a:pt x="44957" y="37337"/>
                </a:moveTo>
                <a:lnTo>
                  <a:pt x="44957" y="27431"/>
                </a:lnTo>
                <a:lnTo>
                  <a:pt x="40385" y="31241"/>
                </a:lnTo>
                <a:lnTo>
                  <a:pt x="40385" y="37337"/>
                </a:lnTo>
                <a:lnTo>
                  <a:pt x="44957" y="37337"/>
                </a:lnTo>
                <a:close/>
              </a:path>
              <a:path w="335279" h="268604">
                <a:moveTo>
                  <a:pt x="53311" y="17456"/>
                </a:moveTo>
                <a:lnTo>
                  <a:pt x="48125" y="10351"/>
                </a:lnTo>
                <a:lnTo>
                  <a:pt x="45295" y="10376"/>
                </a:lnTo>
                <a:lnTo>
                  <a:pt x="41282" y="27431"/>
                </a:lnTo>
                <a:lnTo>
                  <a:pt x="44957" y="27431"/>
                </a:lnTo>
                <a:lnTo>
                  <a:pt x="44957" y="37337"/>
                </a:lnTo>
                <a:lnTo>
                  <a:pt x="47243" y="37337"/>
                </a:lnTo>
                <a:lnTo>
                  <a:pt x="48767" y="35813"/>
                </a:lnTo>
                <a:lnTo>
                  <a:pt x="49529" y="33527"/>
                </a:lnTo>
                <a:lnTo>
                  <a:pt x="53311" y="17456"/>
                </a:lnTo>
                <a:close/>
              </a:path>
              <a:path w="335279" h="268604">
                <a:moveTo>
                  <a:pt x="60100" y="10243"/>
                </a:moveTo>
                <a:lnTo>
                  <a:pt x="54863" y="3047"/>
                </a:lnTo>
                <a:lnTo>
                  <a:pt x="54101" y="1523"/>
                </a:lnTo>
                <a:lnTo>
                  <a:pt x="48767" y="1523"/>
                </a:lnTo>
                <a:lnTo>
                  <a:pt x="47243" y="3047"/>
                </a:lnTo>
                <a:lnTo>
                  <a:pt x="46481" y="5333"/>
                </a:lnTo>
                <a:lnTo>
                  <a:pt x="45295" y="10376"/>
                </a:lnTo>
                <a:lnTo>
                  <a:pt x="47243" y="10359"/>
                </a:lnTo>
                <a:lnTo>
                  <a:pt x="47243" y="9143"/>
                </a:lnTo>
                <a:lnTo>
                  <a:pt x="55625" y="7619"/>
                </a:lnTo>
                <a:lnTo>
                  <a:pt x="55625" y="10283"/>
                </a:lnTo>
                <a:lnTo>
                  <a:pt x="60100" y="10243"/>
                </a:lnTo>
                <a:close/>
              </a:path>
              <a:path w="335279" h="268604">
                <a:moveTo>
                  <a:pt x="55625" y="7619"/>
                </a:moveTo>
                <a:lnTo>
                  <a:pt x="47243" y="9143"/>
                </a:lnTo>
                <a:lnTo>
                  <a:pt x="48125" y="10351"/>
                </a:lnTo>
                <a:lnTo>
                  <a:pt x="54997" y="10289"/>
                </a:lnTo>
                <a:lnTo>
                  <a:pt x="55625" y="7619"/>
                </a:lnTo>
                <a:close/>
              </a:path>
              <a:path w="335279" h="268604">
                <a:moveTo>
                  <a:pt x="48125" y="10351"/>
                </a:moveTo>
                <a:lnTo>
                  <a:pt x="47243" y="9143"/>
                </a:lnTo>
                <a:lnTo>
                  <a:pt x="47243" y="10359"/>
                </a:lnTo>
                <a:lnTo>
                  <a:pt x="48125" y="10351"/>
                </a:lnTo>
                <a:close/>
              </a:path>
              <a:path w="335279" h="268604">
                <a:moveTo>
                  <a:pt x="54997" y="10289"/>
                </a:moveTo>
                <a:lnTo>
                  <a:pt x="48125" y="10351"/>
                </a:lnTo>
                <a:lnTo>
                  <a:pt x="53311" y="17456"/>
                </a:lnTo>
                <a:lnTo>
                  <a:pt x="54997" y="10289"/>
                </a:lnTo>
                <a:close/>
              </a:path>
              <a:path w="335279" h="268604">
                <a:moveTo>
                  <a:pt x="240610" y="258261"/>
                </a:moveTo>
                <a:lnTo>
                  <a:pt x="60100" y="10243"/>
                </a:lnTo>
                <a:lnTo>
                  <a:pt x="54997" y="10289"/>
                </a:lnTo>
                <a:lnTo>
                  <a:pt x="53311" y="17456"/>
                </a:lnTo>
                <a:lnTo>
                  <a:pt x="234695" y="265938"/>
                </a:lnTo>
                <a:lnTo>
                  <a:pt x="235457" y="267462"/>
                </a:lnTo>
                <a:lnTo>
                  <a:pt x="236981" y="268223"/>
                </a:lnTo>
                <a:lnTo>
                  <a:pt x="237743" y="268223"/>
                </a:lnTo>
                <a:lnTo>
                  <a:pt x="237743" y="258317"/>
                </a:lnTo>
                <a:lnTo>
                  <a:pt x="240610" y="258261"/>
                </a:lnTo>
                <a:close/>
              </a:path>
              <a:path w="335279" h="268604">
                <a:moveTo>
                  <a:pt x="55625" y="10283"/>
                </a:moveTo>
                <a:lnTo>
                  <a:pt x="55625" y="7619"/>
                </a:lnTo>
                <a:lnTo>
                  <a:pt x="54997" y="10289"/>
                </a:lnTo>
                <a:lnTo>
                  <a:pt x="55625" y="10283"/>
                </a:lnTo>
                <a:close/>
              </a:path>
              <a:path w="335279" h="268604">
                <a:moveTo>
                  <a:pt x="97535" y="9905"/>
                </a:moveTo>
                <a:lnTo>
                  <a:pt x="93725" y="7619"/>
                </a:lnTo>
                <a:lnTo>
                  <a:pt x="95412" y="9925"/>
                </a:lnTo>
                <a:lnTo>
                  <a:pt x="97535" y="9905"/>
                </a:lnTo>
                <a:close/>
              </a:path>
              <a:path w="335279" h="268604">
                <a:moveTo>
                  <a:pt x="95412" y="9925"/>
                </a:moveTo>
                <a:lnTo>
                  <a:pt x="93725" y="7619"/>
                </a:lnTo>
                <a:lnTo>
                  <a:pt x="93725" y="9940"/>
                </a:lnTo>
                <a:lnTo>
                  <a:pt x="95412" y="9925"/>
                </a:lnTo>
                <a:close/>
              </a:path>
              <a:path w="335279" h="268604">
                <a:moveTo>
                  <a:pt x="97535" y="12828"/>
                </a:moveTo>
                <a:lnTo>
                  <a:pt x="97535" y="9905"/>
                </a:lnTo>
                <a:lnTo>
                  <a:pt x="95412" y="9925"/>
                </a:lnTo>
                <a:lnTo>
                  <a:pt x="97535" y="12828"/>
                </a:lnTo>
                <a:close/>
              </a:path>
              <a:path w="335279" h="268604">
                <a:moveTo>
                  <a:pt x="242315" y="260603"/>
                </a:moveTo>
                <a:lnTo>
                  <a:pt x="240610" y="258261"/>
                </a:lnTo>
                <a:lnTo>
                  <a:pt x="237743" y="258317"/>
                </a:lnTo>
                <a:lnTo>
                  <a:pt x="242315" y="260603"/>
                </a:lnTo>
                <a:close/>
              </a:path>
              <a:path w="335279" h="268604">
                <a:moveTo>
                  <a:pt x="242315" y="268147"/>
                </a:moveTo>
                <a:lnTo>
                  <a:pt x="242315" y="260603"/>
                </a:lnTo>
                <a:lnTo>
                  <a:pt x="237743" y="258317"/>
                </a:lnTo>
                <a:lnTo>
                  <a:pt x="237743" y="268223"/>
                </a:lnTo>
                <a:lnTo>
                  <a:pt x="242315" y="268147"/>
                </a:lnTo>
                <a:close/>
              </a:path>
              <a:path w="335279" h="268604">
                <a:moveTo>
                  <a:pt x="314705" y="266699"/>
                </a:moveTo>
                <a:lnTo>
                  <a:pt x="314705" y="256794"/>
                </a:lnTo>
                <a:lnTo>
                  <a:pt x="310133" y="259841"/>
                </a:lnTo>
                <a:lnTo>
                  <a:pt x="310133" y="256884"/>
                </a:lnTo>
                <a:lnTo>
                  <a:pt x="240610" y="258261"/>
                </a:lnTo>
                <a:lnTo>
                  <a:pt x="242315" y="260603"/>
                </a:lnTo>
                <a:lnTo>
                  <a:pt x="242315" y="268147"/>
                </a:lnTo>
                <a:lnTo>
                  <a:pt x="310133" y="266791"/>
                </a:lnTo>
                <a:lnTo>
                  <a:pt x="310133" y="259841"/>
                </a:lnTo>
                <a:lnTo>
                  <a:pt x="311702" y="256853"/>
                </a:lnTo>
                <a:lnTo>
                  <a:pt x="311702" y="266760"/>
                </a:lnTo>
                <a:lnTo>
                  <a:pt x="314705" y="266699"/>
                </a:lnTo>
                <a:close/>
              </a:path>
              <a:path w="335279" h="268604">
                <a:moveTo>
                  <a:pt x="281939" y="249173"/>
                </a:moveTo>
                <a:lnTo>
                  <a:pt x="277844" y="243575"/>
                </a:lnTo>
                <a:lnTo>
                  <a:pt x="274319" y="249173"/>
                </a:lnTo>
                <a:lnTo>
                  <a:pt x="281939" y="249173"/>
                </a:lnTo>
                <a:close/>
              </a:path>
              <a:path w="335279" h="268604">
                <a:moveTo>
                  <a:pt x="281939" y="256031"/>
                </a:moveTo>
                <a:lnTo>
                  <a:pt x="281939" y="249173"/>
                </a:lnTo>
                <a:lnTo>
                  <a:pt x="274319" y="249173"/>
                </a:lnTo>
                <a:lnTo>
                  <a:pt x="274319" y="254508"/>
                </a:lnTo>
                <a:lnTo>
                  <a:pt x="275843" y="256031"/>
                </a:lnTo>
                <a:lnTo>
                  <a:pt x="277367" y="256794"/>
                </a:lnTo>
                <a:lnTo>
                  <a:pt x="280415" y="256794"/>
                </a:lnTo>
                <a:lnTo>
                  <a:pt x="281939" y="256031"/>
                </a:lnTo>
                <a:close/>
              </a:path>
              <a:path w="335279" h="268604">
                <a:moveTo>
                  <a:pt x="335279" y="231647"/>
                </a:moveTo>
                <a:lnTo>
                  <a:pt x="335279" y="230123"/>
                </a:lnTo>
                <a:lnTo>
                  <a:pt x="333755" y="228599"/>
                </a:lnTo>
                <a:lnTo>
                  <a:pt x="332993" y="227075"/>
                </a:lnTo>
                <a:lnTo>
                  <a:pt x="331469" y="226313"/>
                </a:lnTo>
                <a:lnTo>
                  <a:pt x="289559" y="226313"/>
                </a:lnTo>
                <a:lnTo>
                  <a:pt x="288035" y="227075"/>
                </a:lnTo>
                <a:lnTo>
                  <a:pt x="287273" y="228599"/>
                </a:lnTo>
                <a:lnTo>
                  <a:pt x="277844" y="243575"/>
                </a:lnTo>
                <a:lnTo>
                  <a:pt x="281939" y="249173"/>
                </a:lnTo>
                <a:lnTo>
                  <a:pt x="281939" y="256031"/>
                </a:lnTo>
                <a:lnTo>
                  <a:pt x="282701" y="254508"/>
                </a:lnTo>
                <a:lnTo>
                  <a:pt x="291083" y="240363"/>
                </a:lnTo>
                <a:lnTo>
                  <a:pt x="291083" y="236219"/>
                </a:lnTo>
                <a:lnTo>
                  <a:pt x="294893" y="233933"/>
                </a:lnTo>
                <a:lnTo>
                  <a:pt x="294893" y="236219"/>
                </a:lnTo>
                <a:lnTo>
                  <a:pt x="322535" y="236219"/>
                </a:lnTo>
                <a:lnTo>
                  <a:pt x="326135" y="229361"/>
                </a:lnTo>
                <a:lnTo>
                  <a:pt x="329945" y="236219"/>
                </a:lnTo>
                <a:lnTo>
                  <a:pt x="329945" y="241880"/>
                </a:lnTo>
                <a:lnTo>
                  <a:pt x="334517" y="233171"/>
                </a:lnTo>
                <a:lnTo>
                  <a:pt x="335279" y="231647"/>
                </a:lnTo>
                <a:close/>
              </a:path>
              <a:path w="335279" h="268604">
                <a:moveTo>
                  <a:pt x="294893" y="233933"/>
                </a:moveTo>
                <a:lnTo>
                  <a:pt x="291083" y="236219"/>
                </a:lnTo>
                <a:lnTo>
                  <a:pt x="293539" y="236219"/>
                </a:lnTo>
                <a:lnTo>
                  <a:pt x="294893" y="233933"/>
                </a:lnTo>
                <a:close/>
              </a:path>
              <a:path w="335279" h="268604">
                <a:moveTo>
                  <a:pt x="293539" y="236219"/>
                </a:moveTo>
                <a:lnTo>
                  <a:pt x="291083" y="236219"/>
                </a:lnTo>
                <a:lnTo>
                  <a:pt x="291083" y="240363"/>
                </a:lnTo>
                <a:lnTo>
                  <a:pt x="293539" y="236219"/>
                </a:lnTo>
                <a:close/>
              </a:path>
              <a:path w="335279" h="268604">
                <a:moveTo>
                  <a:pt x="294893" y="236219"/>
                </a:moveTo>
                <a:lnTo>
                  <a:pt x="294893" y="233933"/>
                </a:lnTo>
                <a:lnTo>
                  <a:pt x="293539" y="236219"/>
                </a:lnTo>
                <a:lnTo>
                  <a:pt x="294893" y="236219"/>
                </a:lnTo>
                <a:close/>
              </a:path>
              <a:path w="335279" h="268604">
                <a:moveTo>
                  <a:pt x="314705" y="256794"/>
                </a:moveTo>
                <a:lnTo>
                  <a:pt x="311702" y="256853"/>
                </a:lnTo>
                <a:lnTo>
                  <a:pt x="310133" y="259841"/>
                </a:lnTo>
                <a:lnTo>
                  <a:pt x="314705" y="256794"/>
                </a:lnTo>
                <a:close/>
              </a:path>
              <a:path w="335279" h="268604">
                <a:moveTo>
                  <a:pt x="329945" y="241880"/>
                </a:moveTo>
                <a:lnTo>
                  <a:pt x="329945" y="236219"/>
                </a:lnTo>
                <a:lnTo>
                  <a:pt x="322535" y="236219"/>
                </a:lnTo>
                <a:lnTo>
                  <a:pt x="311702" y="256853"/>
                </a:lnTo>
                <a:lnTo>
                  <a:pt x="314705" y="256794"/>
                </a:lnTo>
                <a:lnTo>
                  <a:pt x="314705" y="266699"/>
                </a:lnTo>
                <a:lnTo>
                  <a:pt x="316229" y="266699"/>
                </a:lnTo>
                <a:lnTo>
                  <a:pt x="317753" y="265176"/>
                </a:lnTo>
                <a:lnTo>
                  <a:pt x="318515" y="263652"/>
                </a:lnTo>
                <a:lnTo>
                  <a:pt x="329945" y="241880"/>
                </a:lnTo>
                <a:close/>
              </a:path>
              <a:path w="335279" h="268604">
                <a:moveTo>
                  <a:pt x="329945" y="236219"/>
                </a:moveTo>
                <a:lnTo>
                  <a:pt x="326135" y="229361"/>
                </a:lnTo>
                <a:lnTo>
                  <a:pt x="322535" y="236219"/>
                </a:lnTo>
                <a:lnTo>
                  <a:pt x="329945" y="2362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9" name="object 111"/>
          <p:cNvSpPr/>
          <p:nvPr/>
        </p:nvSpPr>
        <p:spPr>
          <a:xfrm>
            <a:off x="5117109" y="1451039"/>
            <a:ext cx="276335" cy="86342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0" name="object 112"/>
          <p:cNvSpPr/>
          <p:nvPr/>
        </p:nvSpPr>
        <p:spPr>
          <a:xfrm>
            <a:off x="5114087" y="1448670"/>
            <a:ext cx="283130" cy="90856"/>
          </a:xfrm>
          <a:custGeom>
            <a:avLst/>
            <a:gdLst/>
            <a:ahLst/>
            <a:cxnLst/>
            <a:rect l="l" t="t" r="r" b="b"/>
            <a:pathLst>
              <a:path w="428625" h="204470">
                <a:moveTo>
                  <a:pt x="428244" y="200405"/>
                </a:moveTo>
                <a:lnTo>
                  <a:pt x="428244" y="198119"/>
                </a:lnTo>
                <a:lnTo>
                  <a:pt x="426720" y="196595"/>
                </a:lnTo>
                <a:lnTo>
                  <a:pt x="279654" y="2285"/>
                </a:lnTo>
                <a:lnTo>
                  <a:pt x="278892" y="761"/>
                </a:lnTo>
                <a:lnTo>
                  <a:pt x="277368" y="0"/>
                </a:lnTo>
                <a:lnTo>
                  <a:pt x="3048" y="761"/>
                </a:lnTo>
                <a:lnTo>
                  <a:pt x="1524" y="1523"/>
                </a:lnTo>
                <a:lnTo>
                  <a:pt x="0" y="4571"/>
                </a:lnTo>
                <a:lnTo>
                  <a:pt x="0" y="6857"/>
                </a:lnTo>
                <a:lnTo>
                  <a:pt x="762" y="8381"/>
                </a:lnTo>
                <a:lnTo>
                  <a:pt x="4572" y="13633"/>
                </a:lnTo>
                <a:lnTo>
                  <a:pt x="4572" y="9905"/>
                </a:lnTo>
                <a:lnTo>
                  <a:pt x="8382" y="2285"/>
                </a:lnTo>
                <a:lnTo>
                  <a:pt x="13910" y="9905"/>
                </a:lnTo>
                <a:lnTo>
                  <a:pt x="272034" y="9905"/>
                </a:lnTo>
                <a:lnTo>
                  <a:pt x="272034" y="7619"/>
                </a:lnTo>
                <a:lnTo>
                  <a:pt x="275844" y="9905"/>
                </a:lnTo>
                <a:lnTo>
                  <a:pt x="275844" y="12673"/>
                </a:lnTo>
                <a:lnTo>
                  <a:pt x="413355" y="195071"/>
                </a:lnTo>
                <a:lnTo>
                  <a:pt x="422910" y="195071"/>
                </a:lnTo>
                <a:lnTo>
                  <a:pt x="422910" y="204215"/>
                </a:lnTo>
                <a:lnTo>
                  <a:pt x="425196" y="204215"/>
                </a:lnTo>
                <a:lnTo>
                  <a:pt x="426720" y="203453"/>
                </a:lnTo>
                <a:lnTo>
                  <a:pt x="428244" y="200405"/>
                </a:lnTo>
                <a:close/>
              </a:path>
              <a:path w="428625" h="204470">
                <a:moveTo>
                  <a:pt x="13910" y="9905"/>
                </a:moveTo>
                <a:lnTo>
                  <a:pt x="8382" y="2285"/>
                </a:lnTo>
                <a:lnTo>
                  <a:pt x="4572" y="9905"/>
                </a:lnTo>
                <a:lnTo>
                  <a:pt x="13910" y="9905"/>
                </a:lnTo>
                <a:close/>
              </a:path>
              <a:path w="428625" h="204470">
                <a:moveTo>
                  <a:pt x="148246" y="195071"/>
                </a:moveTo>
                <a:lnTo>
                  <a:pt x="13910" y="9905"/>
                </a:lnTo>
                <a:lnTo>
                  <a:pt x="4572" y="9905"/>
                </a:lnTo>
                <a:lnTo>
                  <a:pt x="4572" y="13633"/>
                </a:lnTo>
                <a:lnTo>
                  <a:pt x="141732" y="202691"/>
                </a:lnTo>
                <a:lnTo>
                  <a:pt x="142494" y="203453"/>
                </a:lnTo>
                <a:lnTo>
                  <a:pt x="144018" y="204215"/>
                </a:lnTo>
                <a:lnTo>
                  <a:pt x="145542" y="204215"/>
                </a:lnTo>
                <a:lnTo>
                  <a:pt x="145542" y="195071"/>
                </a:lnTo>
                <a:lnTo>
                  <a:pt x="148246" y="195071"/>
                </a:lnTo>
                <a:close/>
              </a:path>
              <a:path w="428625" h="204470">
                <a:moveTo>
                  <a:pt x="149352" y="196595"/>
                </a:moveTo>
                <a:lnTo>
                  <a:pt x="148246" y="195071"/>
                </a:lnTo>
                <a:lnTo>
                  <a:pt x="145542" y="195071"/>
                </a:lnTo>
                <a:lnTo>
                  <a:pt x="149352" y="196595"/>
                </a:lnTo>
                <a:close/>
              </a:path>
              <a:path w="428625" h="204470">
                <a:moveTo>
                  <a:pt x="149352" y="204215"/>
                </a:moveTo>
                <a:lnTo>
                  <a:pt x="149352" y="196595"/>
                </a:lnTo>
                <a:lnTo>
                  <a:pt x="145542" y="195071"/>
                </a:lnTo>
                <a:lnTo>
                  <a:pt x="145542" y="204215"/>
                </a:lnTo>
                <a:lnTo>
                  <a:pt x="149352" y="204215"/>
                </a:lnTo>
                <a:close/>
              </a:path>
              <a:path w="428625" h="204470">
                <a:moveTo>
                  <a:pt x="422910" y="204215"/>
                </a:moveTo>
                <a:lnTo>
                  <a:pt x="422910" y="195071"/>
                </a:lnTo>
                <a:lnTo>
                  <a:pt x="419100" y="202691"/>
                </a:lnTo>
                <a:lnTo>
                  <a:pt x="413355" y="195071"/>
                </a:lnTo>
                <a:lnTo>
                  <a:pt x="148246" y="195071"/>
                </a:lnTo>
                <a:lnTo>
                  <a:pt x="149352" y="196595"/>
                </a:lnTo>
                <a:lnTo>
                  <a:pt x="149352" y="204215"/>
                </a:lnTo>
                <a:lnTo>
                  <a:pt x="422910" y="204215"/>
                </a:lnTo>
                <a:close/>
              </a:path>
              <a:path w="428625" h="204470">
                <a:moveTo>
                  <a:pt x="275844" y="9905"/>
                </a:moveTo>
                <a:lnTo>
                  <a:pt x="272034" y="7619"/>
                </a:lnTo>
                <a:lnTo>
                  <a:pt x="273757" y="9905"/>
                </a:lnTo>
                <a:lnTo>
                  <a:pt x="275844" y="9905"/>
                </a:lnTo>
                <a:close/>
              </a:path>
              <a:path w="428625" h="204470">
                <a:moveTo>
                  <a:pt x="273757" y="9905"/>
                </a:moveTo>
                <a:lnTo>
                  <a:pt x="272034" y="7619"/>
                </a:lnTo>
                <a:lnTo>
                  <a:pt x="272034" y="9905"/>
                </a:lnTo>
                <a:lnTo>
                  <a:pt x="273757" y="9905"/>
                </a:lnTo>
                <a:close/>
              </a:path>
              <a:path w="428625" h="204470">
                <a:moveTo>
                  <a:pt x="275844" y="12673"/>
                </a:moveTo>
                <a:lnTo>
                  <a:pt x="275844" y="9905"/>
                </a:lnTo>
                <a:lnTo>
                  <a:pt x="273757" y="9905"/>
                </a:lnTo>
                <a:lnTo>
                  <a:pt x="275844" y="12673"/>
                </a:lnTo>
                <a:close/>
              </a:path>
              <a:path w="428625" h="204470">
                <a:moveTo>
                  <a:pt x="422910" y="195071"/>
                </a:moveTo>
                <a:lnTo>
                  <a:pt x="413355" y="195071"/>
                </a:lnTo>
                <a:lnTo>
                  <a:pt x="419100" y="202691"/>
                </a:lnTo>
                <a:lnTo>
                  <a:pt x="422910" y="1950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1" name="object 113"/>
          <p:cNvSpPr/>
          <p:nvPr/>
        </p:nvSpPr>
        <p:spPr>
          <a:xfrm>
            <a:off x="5470454" y="1437609"/>
            <a:ext cx="213920" cy="113993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2" name="object 114"/>
          <p:cNvSpPr/>
          <p:nvPr/>
        </p:nvSpPr>
        <p:spPr>
          <a:xfrm>
            <a:off x="5466428" y="1434788"/>
            <a:ext cx="221471" cy="119073"/>
          </a:xfrm>
          <a:custGeom>
            <a:avLst/>
            <a:gdLst/>
            <a:ahLst/>
            <a:cxnLst/>
            <a:rect l="l" t="t" r="r" b="b"/>
            <a:pathLst>
              <a:path w="335279" h="267970">
                <a:moveTo>
                  <a:pt x="278269" y="242371"/>
                </a:moveTo>
                <a:lnTo>
                  <a:pt x="102107" y="2285"/>
                </a:lnTo>
                <a:lnTo>
                  <a:pt x="99821" y="0"/>
                </a:lnTo>
                <a:lnTo>
                  <a:pt x="18287" y="720"/>
                </a:lnTo>
                <a:lnTo>
                  <a:pt x="11429" y="761"/>
                </a:lnTo>
                <a:lnTo>
                  <a:pt x="9143" y="2285"/>
                </a:lnTo>
                <a:lnTo>
                  <a:pt x="9143" y="4571"/>
                </a:lnTo>
                <a:lnTo>
                  <a:pt x="761" y="31241"/>
                </a:lnTo>
                <a:lnTo>
                  <a:pt x="0" y="32765"/>
                </a:lnTo>
                <a:lnTo>
                  <a:pt x="761" y="34289"/>
                </a:lnTo>
                <a:lnTo>
                  <a:pt x="1523" y="35051"/>
                </a:lnTo>
                <a:lnTo>
                  <a:pt x="2285" y="36575"/>
                </a:lnTo>
                <a:lnTo>
                  <a:pt x="3809" y="37337"/>
                </a:lnTo>
                <a:lnTo>
                  <a:pt x="5333" y="37337"/>
                </a:lnTo>
                <a:lnTo>
                  <a:pt x="5333" y="27431"/>
                </a:lnTo>
                <a:lnTo>
                  <a:pt x="11821" y="27431"/>
                </a:lnTo>
                <a:lnTo>
                  <a:pt x="13715" y="21405"/>
                </a:lnTo>
                <a:lnTo>
                  <a:pt x="13715" y="10667"/>
                </a:lnTo>
                <a:lnTo>
                  <a:pt x="18287" y="6857"/>
                </a:lnTo>
                <a:lnTo>
                  <a:pt x="18287" y="10626"/>
                </a:lnTo>
                <a:lnTo>
                  <a:pt x="45293" y="10383"/>
                </a:lnTo>
                <a:lnTo>
                  <a:pt x="46481" y="5333"/>
                </a:lnTo>
                <a:lnTo>
                  <a:pt x="47243" y="3047"/>
                </a:lnTo>
                <a:lnTo>
                  <a:pt x="48767" y="1523"/>
                </a:lnTo>
                <a:lnTo>
                  <a:pt x="54101" y="1523"/>
                </a:lnTo>
                <a:lnTo>
                  <a:pt x="54863" y="3047"/>
                </a:lnTo>
                <a:lnTo>
                  <a:pt x="60121" y="10249"/>
                </a:lnTo>
                <a:lnTo>
                  <a:pt x="94487" y="9940"/>
                </a:lnTo>
                <a:lnTo>
                  <a:pt x="94487" y="7619"/>
                </a:lnTo>
                <a:lnTo>
                  <a:pt x="98297" y="9905"/>
                </a:lnTo>
                <a:lnTo>
                  <a:pt x="98297" y="12812"/>
                </a:lnTo>
                <a:lnTo>
                  <a:pt x="274319" y="252707"/>
                </a:lnTo>
                <a:lnTo>
                  <a:pt x="274319" y="248411"/>
                </a:lnTo>
                <a:lnTo>
                  <a:pt x="278269" y="242371"/>
                </a:lnTo>
                <a:close/>
              </a:path>
              <a:path w="335279" h="267970">
                <a:moveTo>
                  <a:pt x="11821" y="27431"/>
                </a:moveTo>
                <a:lnTo>
                  <a:pt x="5333" y="27431"/>
                </a:lnTo>
                <a:lnTo>
                  <a:pt x="9905" y="33527"/>
                </a:lnTo>
                <a:lnTo>
                  <a:pt x="11821" y="27431"/>
                </a:lnTo>
                <a:close/>
              </a:path>
              <a:path w="335279" h="267970">
                <a:moveTo>
                  <a:pt x="41282" y="27431"/>
                </a:moveTo>
                <a:lnTo>
                  <a:pt x="11821" y="27431"/>
                </a:lnTo>
                <a:lnTo>
                  <a:pt x="9905" y="33527"/>
                </a:lnTo>
                <a:lnTo>
                  <a:pt x="5333" y="27431"/>
                </a:lnTo>
                <a:lnTo>
                  <a:pt x="5333" y="37337"/>
                </a:lnTo>
                <a:lnTo>
                  <a:pt x="40385" y="37337"/>
                </a:lnTo>
                <a:lnTo>
                  <a:pt x="40385" y="31241"/>
                </a:lnTo>
                <a:lnTo>
                  <a:pt x="41282" y="27431"/>
                </a:lnTo>
                <a:close/>
              </a:path>
              <a:path w="335279" h="267970">
                <a:moveTo>
                  <a:pt x="18287" y="6857"/>
                </a:moveTo>
                <a:lnTo>
                  <a:pt x="13715" y="10667"/>
                </a:lnTo>
                <a:lnTo>
                  <a:pt x="17100" y="10637"/>
                </a:lnTo>
                <a:lnTo>
                  <a:pt x="18287" y="6857"/>
                </a:lnTo>
                <a:close/>
              </a:path>
              <a:path w="335279" h="267970">
                <a:moveTo>
                  <a:pt x="17100" y="10637"/>
                </a:moveTo>
                <a:lnTo>
                  <a:pt x="13715" y="10667"/>
                </a:lnTo>
                <a:lnTo>
                  <a:pt x="13715" y="21405"/>
                </a:lnTo>
                <a:lnTo>
                  <a:pt x="17100" y="10637"/>
                </a:lnTo>
                <a:close/>
              </a:path>
              <a:path w="335279" h="267970">
                <a:moveTo>
                  <a:pt x="18287" y="10626"/>
                </a:moveTo>
                <a:lnTo>
                  <a:pt x="18287" y="6857"/>
                </a:lnTo>
                <a:lnTo>
                  <a:pt x="17100" y="10637"/>
                </a:lnTo>
                <a:lnTo>
                  <a:pt x="18287" y="10626"/>
                </a:lnTo>
                <a:close/>
              </a:path>
              <a:path w="335279" h="267970">
                <a:moveTo>
                  <a:pt x="44957" y="27431"/>
                </a:moveTo>
                <a:lnTo>
                  <a:pt x="41282" y="27431"/>
                </a:lnTo>
                <a:lnTo>
                  <a:pt x="40385" y="31241"/>
                </a:lnTo>
                <a:lnTo>
                  <a:pt x="44957" y="27431"/>
                </a:lnTo>
                <a:close/>
              </a:path>
              <a:path w="335279" h="267970">
                <a:moveTo>
                  <a:pt x="44957" y="37337"/>
                </a:moveTo>
                <a:lnTo>
                  <a:pt x="44957" y="27431"/>
                </a:lnTo>
                <a:lnTo>
                  <a:pt x="40385" y="31241"/>
                </a:lnTo>
                <a:lnTo>
                  <a:pt x="40385" y="37337"/>
                </a:lnTo>
                <a:lnTo>
                  <a:pt x="44957" y="37337"/>
                </a:lnTo>
                <a:close/>
              </a:path>
              <a:path w="335279" h="267970">
                <a:moveTo>
                  <a:pt x="53663" y="17912"/>
                </a:moveTo>
                <a:lnTo>
                  <a:pt x="48132" y="10357"/>
                </a:lnTo>
                <a:lnTo>
                  <a:pt x="45293" y="10383"/>
                </a:lnTo>
                <a:lnTo>
                  <a:pt x="41282" y="27431"/>
                </a:lnTo>
                <a:lnTo>
                  <a:pt x="44957" y="27431"/>
                </a:lnTo>
                <a:lnTo>
                  <a:pt x="44957" y="37337"/>
                </a:lnTo>
                <a:lnTo>
                  <a:pt x="47243" y="37337"/>
                </a:lnTo>
                <a:lnTo>
                  <a:pt x="48767" y="35813"/>
                </a:lnTo>
                <a:lnTo>
                  <a:pt x="49529" y="33527"/>
                </a:lnTo>
                <a:lnTo>
                  <a:pt x="53663" y="17912"/>
                </a:lnTo>
                <a:close/>
              </a:path>
              <a:path w="335279" h="267970">
                <a:moveTo>
                  <a:pt x="60121" y="10249"/>
                </a:moveTo>
                <a:lnTo>
                  <a:pt x="54863" y="3047"/>
                </a:lnTo>
                <a:lnTo>
                  <a:pt x="54101" y="1523"/>
                </a:lnTo>
                <a:lnTo>
                  <a:pt x="48767" y="1523"/>
                </a:lnTo>
                <a:lnTo>
                  <a:pt x="47243" y="3047"/>
                </a:lnTo>
                <a:lnTo>
                  <a:pt x="46481" y="5333"/>
                </a:lnTo>
                <a:lnTo>
                  <a:pt x="45293" y="10383"/>
                </a:lnTo>
                <a:lnTo>
                  <a:pt x="47243" y="10365"/>
                </a:lnTo>
                <a:lnTo>
                  <a:pt x="47243" y="9143"/>
                </a:lnTo>
                <a:lnTo>
                  <a:pt x="56387" y="7619"/>
                </a:lnTo>
                <a:lnTo>
                  <a:pt x="56387" y="10283"/>
                </a:lnTo>
                <a:lnTo>
                  <a:pt x="60121" y="10249"/>
                </a:lnTo>
                <a:close/>
              </a:path>
              <a:path w="335279" h="267970">
                <a:moveTo>
                  <a:pt x="56387" y="7619"/>
                </a:moveTo>
                <a:lnTo>
                  <a:pt x="47243" y="9143"/>
                </a:lnTo>
                <a:lnTo>
                  <a:pt x="48132" y="10357"/>
                </a:lnTo>
                <a:lnTo>
                  <a:pt x="55681" y="10289"/>
                </a:lnTo>
                <a:lnTo>
                  <a:pt x="56387" y="7619"/>
                </a:lnTo>
                <a:close/>
              </a:path>
              <a:path w="335279" h="267970">
                <a:moveTo>
                  <a:pt x="48132" y="10357"/>
                </a:moveTo>
                <a:lnTo>
                  <a:pt x="47243" y="9143"/>
                </a:lnTo>
                <a:lnTo>
                  <a:pt x="47243" y="10365"/>
                </a:lnTo>
                <a:lnTo>
                  <a:pt x="48132" y="10357"/>
                </a:lnTo>
                <a:close/>
              </a:path>
              <a:path w="335279" h="267970">
                <a:moveTo>
                  <a:pt x="55681" y="10289"/>
                </a:moveTo>
                <a:lnTo>
                  <a:pt x="48132" y="10357"/>
                </a:lnTo>
                <a:lnTo>
                  <a:pt x="53663" y="17912"/>
                </a:lnTo>
                <a:lnTo>
                  <a:pt x="55681" y="10289"/>
                </a:lnTo>
                <a:close/>
              </a:path>
              <a:path w="335279" h="267970">
                <a:moveTo>
                  <a:pt x="240616" y="257513"/>
                </a:moveTo>
                <a:lnTo>
                  <a:pt x="60121" y="10249"/>
                </a:lnTo>
                <a:lnTo>
                  <a:pt x="55681" y="10289"/>
                </a:lnTo>
                <a:lnTo>
                  <a:pt x="53663" y="17912"/>
                </a:lnTo>
                <a:lnTo>
                  <a:pt x="234695" y="265176"/>
                </a:lnTo>
                <a:lnTo>
                  <a:pt x="235457" y="266699"/>
                </a:lnTo>
                <a:lnTo>
                  <a:pt x="236981" y="267462"/>
                </a:lnTo>
                <a:lnTo>
                  <a:pt x="238505" y="267462"/>
                </a:lnTo>
                <a:lnTo>
                  <a:pt x="238505" y="257555"/>
                </a:lnTo>
                <a:lnTo>
                  <a:pt x="240616" y="257513"/>
                </a:lnTo>
                <a:close/>
              </a:path>
              <a:path w="335279" h="267970">
                <a:moveTo>
                  <a:pt x="56387" y="10283"/>
                </a:moveTo>
                <a:lnTo>
                  <a:pt x="56387" y="7619"/>
                </a:lnTo>
                <a:lnTo>
                  <a:pt x="55681" y="10289"/>
                </a:lnTo>
                <a:lnTo>
                  <a:pt x="56387" y="10283"/>
                </a:lnTo>
                <a:close/>
              </a:path>
              <a:path w="335279" h="267970">
                <a:moveTo>
                  <a:pt x="98297" y="9905"/>
                </a:moveTo>
                <a:lnTo>
                  <a:pt x="94487" y="7619"/>
                </a:lnTo>
                <a:lnTo>
                  <a:pt x="96179" y="9925"/>
                </a:lnTo>
                <a:lnTo>
                  <a:pt x="98297" y="9905"/>
                </a:lnTo>
                <a:close/>
              </a:path>
              <a:path w="335279" h="267970">
                <a:moveTo>
                  <a:pt x="96179" y="9925"/>
                </a:moveTo>
                <a:lnTo>
                  <a:pt x="94487" y="7619"/>
                </a:lnTo>
                <a:lnTo>
                  <a:pt x="94487" y="9940"/>
                </a:lnTo>
                <a:lnTo>
                  <a:pt x="96179" y="9925"/>
                </a:lnTo>
                <a:close/>
              </a:path>
              <a:path w="335279" h="267970">
                <a:moveTo>
                  <a:pt x="98297" y="12812"/>
                </a:moveTo>
                <a:lnTo>
                  <a:pt x="98297" y="9905"/>
                </a:lnTo>
                <a:lnTo>
                  <a:pt x="96179" y="9925"/>
                </a:lnTo>
                <a:lnTo>
                  <a:pt x="98297" y="12812"/>
                </a:lnTo>
                <a:close/>
              </a:path>
              <a:path w="335279" h="267970">
                <a:moveTo>
                  <a:pt x="242315" y="259841"/>
                </a:moveTo>
                <a:lnTo>
                  <a:pt x="240616" y="257513"/>
                </a:lnTo>
                <a:lnTo>
                  <a:pt x="238505" y="257555"/>
                </a:lnTo>
                <a:lnTo>
                  <a:pt x="242315" y="259841"/>
                </a:lnTo>
                <a:close/>
              </a:path>
              <a:path w="335279" h="267970">
                <a:moveTo>
                  <a:pt x="242315" y="267385"/>
                </a:moveTo>
                <a:lnTo>
                  <a:pt x="242315" y="259841"/>
                </a:lnTo>
                <a:lnTo>
                  <a:pt x="238505" y="257555"/>
                </a:lnTo>
                <a:lnTo>
                  <a:pt x="238505" y="267462"/>
                </a:lnTo>
                <a:lnTo>
                  <a:pt x="242315" y="267385"/>
                </a:lnTo>
                <a:close/>
              </a:path>
              <a:path w="335279" h="267970">
                <a:moveTo>
                  <a:pt x="314705" y="265938"/>
                </a:moveTo>
                <a:lnTo>
                  <a:pt x="314705" y="256031"/>
                </a:lnTo>
                <a:lnTo>
                  <a:pt x="310895" y="259079"/>
                </a:lnTo>
                <a:lnTo>
                  <a:pt x="310895" y="256108"/>
                </a:lnTo>
                <a:lnTo>
                  <a:pt x="240616" y="257513"/>
                </a:lnTo>
                <a:lnTo>
                  <a:pt x="242315" y="259841"/>
                </a:lnTo>
                <a:lnTo>
                  <a:pt x="242315" y="267385"/>
                </a:lnTo>
                <a:lnTo>
                  <a:pt x="310895" y="266014"/>
                </a:lnTo>
                <a:lnTo>
                  <a:pt x="310895" y="259079"/>
                </a:lnTo>
                <a:lnTo>
                  <a:pt x="312396" y="256078"/>
                </a:lnTo>
                <a:lnTo>
                  <a:pt x="312396" y="265984"/>
                </a:lnTo>
                <a:lnTo>
                  <a:pt x="314705" y="265938"/>
                </a:lnTo>
                <a:close/>
              </a:path>
              <a:path w="335279" h="267970">
                <a:moveTo>
                  <a:pt x="282701" y="248411"/>
                </a:moveTo>
                <a:lnTo>
                  <a:pt x="278269" y="242371"/>
                </a:lnTo>
                <a:lnTo>
                  <a:pt x="274319" y="248411"/>
                </a:lnTo>
                <a:lnTo>
                  <a:pt x="282701" y="248411"/>
                </a:lnTo>
                <a:close/>
              </a:path>
              <a:path w="335279" h="267970">
                <a:moveTo>
                  <a:pt x="282701" y="253745"/>
                </a:moveTo>
                <a:lnTo>
                  <a:pt x="282701" y="248411"/>
                </a:lnTo>
                <a:lnTo>
                  <a:pt x="274319" y="248411"/>
                </a:lnTo>
                <a:lnTo>
                  <a:pt x="274319" y="252707"/>
                </a:lnTo>
                <a:lnTo>
                  <a:pt x="275081" y="253745"/>
                </a:lnTo>
                <a:lnTo>
                  <a:pt x="275843" y="255269"/>
                </a:lnTo>
                <a:lnTo>
                  <a:pt x="277367" y="256031"/>
                </a:lnTo>
                <a:lnTo>
                  <a:pt x="280415" y="256031"/>
                </a:lnTo>
                <a:lnTo>
                  <a:pt x="281939" y="255269"/>
                </a:lnTo>
                <a:lnTo>
                  <a:pt x="282701" y="253745"/>
                </a:lnTo>
                <a:close/>
              </a:path>
              <a:path w="335279" h="267970">
                <a:moveTo>
                  <a:pt x="335279" y="231647"/>
                </a:moveTo>
                <a:lnTo>
                  <a:pt x="335279" y="230123"/>
                </a:lnTo>
                <a:lnTo>
                  <a:pt x="333755" y="227075"/>
                </a:lnTo>
                <a:lnTo>
                  <a:pt x="332231" y="226313"/>
                </a:lnTo>
                <a:lnTo>
                  <a:pt x="289559" y="226313"/>
                </a:lnTo>
                <a:lnTo>
                  <a:pt x="288035" y="227075"/>
                </a:lnTo>
                <a:lnTo>
                  <a:pt x="287273" y="228599"/>
                </a:lnTo>
                <a:lnTo>
                  <a:pt x="278269" y="242371"/>
                </a:lnTo>
                <a:lnTo>
                  <a:pt x="282701" y="248411"/>
                </a:lnTo>
                <a:lnTo>
                  <a:pt x="282701" y="253745"/>
                </a:lnTo>
                <a:lnTo>
                  <a:pt x="291083" y="240433"/>
                </a:lnTo>
                <a:lnTo>
                  <a:pt x="291083" y="235457"/>
                </a:lnTo>
                <a:lnTo>
                  <a:pt x="295655" y="233171"/>
                </a:lnTo>
                <a:lnTo>
                  <a:pt x="295655" y="235457"/>
                </a:lnTo>
                <a:lnTo>
                  <a:pt x="322706" y="235457"/>
                </a:lnTo>
                <a:lnTo>
                  <a:pt x="326135" y="228599"/>
                </a:lnTo>
                <a:lnTo>
                  <a:pt x="329945" y="235457"/>
                </a:lnTo>
                <a:lnTo>
                  <a:pt x="329945" y="242316"/>
                </a:lnTo>
                <a:lnTo>
                  <a:pt x="335279" y="231647"/>
                </a:lnTo>
                <a:close/>
              </a:path>
              <a:path w="335279" h="267970">
                <a:moveTo>
                  <a:pt x="295655" y="233171"/>
                </a:moveTo>
                <a:lnTo>
                  <a:pt x="291083" y="235457"/>
                </a:lnTo>
                <a:lnTo>
                  <a:pt x="294216" y="235457"/>
                </a:lnTo>
                <a:lnTo>
                  <a:pt x="295655" y="233171"/>
                </a:lnTo>
                <a:close/>
              </a:path>
              <a:path w="335279" h="267970">
                <a:moveTo>
                  <a:pt x="294216" y="235457"/>
                </a:moveTo>
                <a:lnTo>
                  <a:pt x="291083" y="235457"/>
                </a:lnTo>
                <a:lnTo>
                  <a:pt x="291083" y="240433"/>
                </a:lnTo>
                <a:lnTo>
                  <a:pt x="294216" y="235457"/>
                </a:lnTo>
                <a:close/>
              </a:path>
              <a:path w="335279" h="267970">
                <a:moveTo>
                  <a:pt x="295655" y="235457"/>
                </a:moveTo>
                <a:lnTo>
                  <a:pt x="295655" y="233171"/>
                </a:lnTo>
                <a:lnTo>
                  <a:pt x="294216" y="235457"/>
                </a:lnTo>
                <a:lnTo>
                  <a:pt x="295655" y="235457"/>
                </a:lnTo>
                <a:close/>
              </a:path>
              <a:path w="335279" h="267970">
                <a:moveTo>
                  <a:pt x="314705" y="256031"/>
                </a:moveTo>
                <a:lnTo>
                  <a:pt x="312396" y="256078"/>
                </a:lnTo>
                <a:lnTo>
                  <a:pt x="310895" y="259079"/>
                </a:lnTo>
                <a:lnTo>
                  <a:pt x="314705" y="256031"/>
                </a:lnTo>
                <a:close/>
              </a:path>
              <a:path w="335279" h="267970">
                <a:moveTo>
                  <a:pt x="329945" y="242316"/>
                </a:moveTo>
                <a:lnTo>
                  <a:pt x="329945" y="235457"/>
                </a:lnTo>
                <a:lnTo>
                  <a:pt x="322706" y="235457"/>
                </a:lnTo>
                <a:lnTo>
                  <a:pt x="312396" y="256078"/>
                </a:lnTo>
                <a:lnTo>
                  <a:pt x="314705" y="256031"/>
                </a:lnTo>
                <a:lnTo>
                  <a:pt x="314705" y="265938"/>
                </a:lnTo>
                <a:lnTo>
                  <a:pt x="316229" y="265938"/>
                </a:lnTo>
                <a:lnTo>
                  <a:pt x="318515" y="265176"/>
                </a:lnTo>
                <a:lnTo>
                  <a:pt x="329945" y="242316"/>
                </a:lnTo>
                <a:close/>
              </a:path>
              <a:path w="335279" h="267970">
                <a:moveTo>
                  <a:pt x="329945" y="235457"/>
                </a:moveTo>
                <a:lnTo>
                  <a:pt x="326135" y="228599"/>
                </a:lnTo>
                <a:lnTo>
                  <a:pt x="322706" y="235457"/>
                </a:lnTo>
                <a:lnTo>
                  <a:pt x="329945" y="2354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3" name="object 115"/>
          <p:cNvSpPr/>
          <p:nvPr/>
        </p:nvSpPr>
        <p:spPr>
          <a:xfrm>
            <a:off x="5332034" y="1451039"/>
            <a:ext cx="276336" cy="86342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4" name="object 116"/>
          <p:cNvSpPr/>
          <p:nvPr/>
        </p:nvSpPr>
        <p:spPr>
          <a:xfrm>
            <a:off x="5329016" y="1449008"/>
            <a:ext cx="283130" cy="90574"/>
          </a:xfrm>
          <a:custGeom>
            <a:avLst/>
            <a:gdLst/>
            <a:ahLst/>
            <a:cxnLst/>
            <a:rect l="l" t="t" r="r" b="b"/>
            <a:pathLst>
              <a:path w="428625" h="203835">
                <a:moveTo>
                  <a:pt x="428244" y="199644"/>
                </a:moveTo>
                <a:lnTo>
                  <a:pt x="428244" y="197358"/>
                </a:lnTo>
                <a:lnTo>
                  <a:pt x="426720" y="195834"/>
                </a:lnTo>
                <a:lnTo>
                  <a:pt x="279654" y="1524"/>
                </a:lnTo>
                <a:lnTo>
                  <a:pt x="278892" y="762"/>
                </a:lnTo>
                <a:lnTo>
                  <a:pt x="277368" y="0"/>
                </a:lnTo>
                <a:lnTo>
                  <a:pt x="3048" y="0"/>
                </a:lnTo>
                <a:lnTo>
                  <a:pt x="1524" y="762"/>
                </a:lnTo>
                <a:lnTo>
                  <a:pt x="762" y="3048"/>
                </a:lnTo>
                <a:lnTo>
                  <a:pt x="0" y="4572"/>
                </a:lnTo>
                <a:lnTo>
                  <a:pt x="0" y="6096"/>
                </a:lnTo>
                <a:lnTo>
                  <a:pt x="762" y="7620"/>
                </a:lnTo>
                <a:lnTo>
                  <a:pt x="4572" y="12871"/>
                </a:lnTo>
                <a:lnTo>
                  <a:pt x="4572" y="9906"/>
                </a:lnTo>
                <a:lnTo>
                  <a:pt x="8382" y="2286"/>
                </a:lnTo>
                <a:lnTo>
                  <a:pt x="13912" y="9879"/>
                </a:lnTo>
                <a:lnTo>
                  <a:pt x="272034" y="9154"/>
                </a:lnTo>
                <a:lnTo>
                  <a:pt x="272034" y="7620"/>
                </a:lnTo>
                <a:lnTo>
                  <a:pt x="275844" y="9144"/>
                </a:lnTo>
                <a:lnTo>
                  <a:pt x="275844" y="12653"/>
                </a:lnTo>
                <a:lnTo>
                  <a:pt x="413332" y="194310"/>
                </a:lnTo>
                <a:lnTo>
                  <a:pt x="422910" y="194310"/>
                </a:lnTo>
                <a:lnTo>
                  <a:pt x="422910" y="203454"/>
                </a:lnTo>
                <a:lnTo>
                  <a:pt x="425196" y="203454"/>
                </a:lnTo>
                <a:lnTo>
                  <a:pt x="426720" y="202692"/>
                </a:lnTo>
                <a:lnTo>
                  <a:pt x="428244" y="199644"/>
                </a:lnTo>
                <a:close/>
              </a:path>
              <a:path w="428625" h="203835">
                <a:moveTo>
                  <a:pt x="13912" y="9879"/>
                </a:moveTo>
                <a:lnTo>
                  <a:pt x="8382" y="2286"/>
                </a:lnTo>
                <a:lnTo>
                  <a:pt x="4572" y="9906"/>
                </a:lnTo>
                <a:lnTo>
                  <a:pt x="13912" y="9879"/>
                </a:lnTo>
                <a:close/>
              </a:path>
              <a:path w="428625" h="203835">
                <a:moveTo>
                  <a:pt x="148242" y="194310"/>
                </a:moveTo>
                <a:lnTo>
                  <a:pt x="13912" y="9879"/>
                </a:lnTo>
                <a:lnTo>
                  <a:pt x="4572" y="9906"/>
                </a:lnTo>
                <a:lnTo>
                  <a:pt x="4572" y="12871"/>
                </a:lnTo>
                <a:lnTo>
                  <a:pt x="141732" y="201930"/>
                </a:lnTo>
                <a:lnTo>
                  <a:pt x="142494" y="202692"/>
                </a:lnTo>
                <a:lnTo>
                  <a:pt x="144018" y="203454"/>
                </a:lnTo>
                <a:lnTo>
                  <a:pt x="145542" y="203454"/>
                </a:lnTo>
                <a:lnTo>
                  <a:pt x="145542" y="194310"/>
                </a:lnTo>
                <a:lnTo>
                  <a:pt x="148242" y="194310"/>
                </a:lnTo>
                <a:close/>
              </a:path>
              <a:path w="428625" h="203835">
                <a:moveTo>
                  <a:pt x="149352" y="195834"/>
                </a:moveTo>
                <a:lnTo>
                  <a:pt x="148242" y="194310"/>
                </a:lnTo>
                <a:lnTo>
                  <a:pt x="145542" y="194310"/>
                </a:lnTo>
                <a:lnTo>
                  <a:pt x="149352" y="195834"/>
                </a:lnTo>
                <a:close/>
              </a:path>
              <a:path w="428625" h="203835">
                <a:moveTo>
                  <a:pt x="149352" y="203454"/>
                </a:moveTo>
                <a:lnTo>
                  <a:pt x="149352" y="195834"/>
                </a:lnTo>
                <a:lnTo>
                  <a:pt x="145542" y="194310"/>
                </a:lnTo>
                <a:lnTo>
                  <a:pt x="145542" y="203454"/>
                </a:lnTo>
                <a:lnTo>
                  <a:pt x="149352" y="203454"/>
                </a:lnTo>
                <a:close/>
              </a:path>
              <a:path w="428625" h="203835">
                <a:moveTo>
                  <a:pt x="422910" y="203454"/>
                </a:moveTo>
                <a:lnTo>
                  <a:pt x="422910" y="194310"/>
                </a:lnTo>
                <a:lnTo>
                  <a:pt x="419100" y="201930"/>
                </a:lnTo>
                <a:lnTo>
                  <a:pt x="413332" y="194310"/>
                </a:lnTo>
                <a:lnTo>
                  <a:pt x="148242" y="194310"/>
                </a:lnTo>
                <a:lnTo>
                  <a:pt x="149352" y="195834"/>
                </a:lnTo>
                <a:lnTo>
                  <a:pt x="149352" y="203454"/>
                </a:lnTo>
                <a:lnTo>
                  <a:pt x="422910" y="203454"/>
                </a:lnTo>
                <a:close/>
              </a:path>
              <a:path w="428625" h="203835">
                <a:moveTo>
                  <a:pt x="275844" y="9144"/>
                </a:moveTo>
                <a:lnTo>
                  <a:pt x="272034" y="7620"/>
                </a:lnTo>
                <a:lnTo>
                  <a:pt x="273193" y="9151"/>
                </a:lnTo>
                <a:lnTo>
                  <a:pt x="275844" y="9144"/>
                </a:lnTo>
                <a:close/>
              </a:path>
              <a:path w="428625" h="203835">
                <a:moveTo>
                  <a:pt x="273193" y="9151"/>
                </a:moveTo>
                <a:lnTo>
                  <a:pt x="272034" y="7620"/>
                </a:lnTo>
                <a:lnTo>
                  <a:pt x="272034" y="9154"/>
                </a:lnTo>
                <a:lnTo>
                  <a:pt x="273193" y="9151"/>
                </a:lnTo>
                <a:close/>
              </a:path>
              <a:path w="428625" h="203835">
                <a:moveTo>
                  <a:pt x="275844" y="12653"/>
                </a:moveTo>
                <a:lnTo>
                  <a:pt x="275844" y="9144"/>
                </a:lnTo>
                <a:lnTo>
                  <a:pt x="273193" y="9151"/>
                </a:lnTo>
                <a:lnTo>
                  <a:pt x="275844" y="12653"/>
                </a:lnTo>
                <a:close/>
              </a:path>
              <a:path w="428625" h="203835">
                <a:moveTo>
                  <a:pt x="422910" y="194310"/>
                </a:moveTo>
                <a:lnTo>
                  <a:pt x="413332" y="194310"/>
                </a:lnTo>
                <a:lnTo>
                  <a:pt x="419100" y="201930"/>
                </a:lnTo>
                <a:lnTo>
                  <a:pt x="422910" y="19431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5" name="object 117"/>
          <p:cNvSpPr/>
          <p:nvPr/>
        </p:nvSpPr>
        <p:spPr>
          <a:xfrm>
            <a:off x="5684375" y="1437609"/>
            <a:ext cx="214424" cy="113993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6" name="object 118"/>
          <p:cNvSpPr/>
          <p:nvPr/>
        </p:nvSpPr>
        <p:spPr>
          <a:xfrm>
            <a:off x="5680853" y="1434788"/>
            <a:ext cx="221051" cy="119073"/>
          </a:xfrm>
          <a:custGeom>
            <a:avLst/>
            <a:gdLst/>
            <a:ahLst/>
            <a:cxnLst/>
            <a:rect l="l" t="t" r="r" b="b"/>
            <a:pathLst>
              <a:path w="334645" h="267970">
                <a:moveTo>
                  <a:pt x="277910" y="242920"/>
                </a:moveTo>
                <a:lnTo>
                  <a:pt x="101346" y="2285"/>
                </a:lnTo>
                <a:lnTo>
                  <a:pt x="100584" y="761"/>
                </a:lnTo>
                <a:lnTo>
                  <a:pt x="99060" y="0"/>
                </a:lnTo>
                <a:lnTo>
                  <a:pt x="17526" y="720"/>
                </a:lnTo>
                <a:lnTo>
                  <a:pt x="10668" y="761"/>
                </a:lnTo>
                <a:lnTo>
                  <a:pt x="9144" y="2285"/>
                </a:lnTo>
                <a:lnTo>
                  <a:pt x="8382" y="4571"/>
                </a:lnTo>
                <a:lnTo>
                  <a:pt x="0" y="31241"/>
                </a:lnTo>
                <a:lnTo>
                  <a:pt x="0" y="34289"/>
                </a:lnTo>
                <a:lnTo>
                  <a:pt x="762" y="35051"/>
                </a:lnTo>
                <a:lnTo>
                  <a:pt x="1524" y="36575"/>
                </a:lnTo>
                <a:lnTo>
                  <a:pt x="3048" y="37337"/>
                </a:lnTo>
                <a:lnTo>
                  <a:pt x="4572" y="37337"/>
                </a:lnTo>
                <a:lnTo>
                  <a:pt x="4572" y="27431"/>
                </a:lnTo>
                <a:lnTo>
                  <a:pt x="11059" y="27431"/>
                </a:lnTo>
                <a:lnTo>
                  <a:pt x="12954" y="21405"/>
                </a:lnTo>
                <a:lnTo>
                  <a:pt x="12954" y="10667"/>
                </a:lnTo>
                <a:lnTo>
                  <a:pt x="17526" y="6857"/>
                </a:lnTo>
                <a:lnTo>
                  <a:pt x="17526" y="10626"/>
                </a:lnTo>
                <a:lnTo>
                  <a:pt x="45146" y="10377"/>
                </a:lnTo>
                <a:lnTo>
                  <a:pt x="46482" y="5333"/>
                </a:lnTo>
                <a:lnTo>
                  <a:pt x="46482" y="3047"/>
                </a:lnTo>
                <a:lnTo>
                  <a:pt x="48006" y="1523"/>
                </a:lnTo>
                <a:lnTo>
                  <a:pt x="53340" y="1523"/>
                </a:lnTo>
                <a:lnTo>
                  <a:pt x="54864" y="3047"/>
                </a:lnTo>
                <a:lnTo>
                  <a:pt x="60095" y="10243"/>
                </a:lnTo>
                <a:lnTo>
                  <a:pt x="93726" y="9940"/>
                </a:lnTo>
                <a:lnTo>
                  <a:pt x="93726" y="7619"/>
                </a:lnTo>
                <a:lnTo>
                  <a:pt x="97536" y="9905"/>
                </a:lnTo>
                <a:lnTo>
                  <a:pt x="97536" y="12812"/>
                </a:lnTo>
                <a:lnTo>
                  <a:pt x="274320" y="253745"/>
                </a:lnTo>
                <a:lnTo>
                  <a:pt x="274320" y="248411"/>
                </a:lnTo>
                <a:lnTo>
                  <a:pt x="277910" y="242920"/>
                </a:lnTo>
                <a:close/>
              </a:path>
              <a:path w="334645" h="267970">
                <a:moveTo>
                  <a:pt x="11059" y="27431"/>
                </a:moveTo>
                <a:lnTo>
                  <a:pt x="4572" y="27431"/>
                </a:lnTo>
                <a:lnTo>
                  <a:pt x="9144" y="33527"/>
                </a:lnTo>
                <a:lnTo>
                  <a:pt x="11059" y="27431"/>
                </a:lnTo>
                <a:close/>
              </a:path>
              <a:path w="334645" h="267970">
                <a:moveTo>
                  <a:pt x="40632" y="27431"/>
                </a:moveTo>
                <a:lnTo>
                  <a:pt x="11059" y="27431"/>
                </a:lnTo>
                <a:lnTo>
                  <a:pt x="9144" y="33527"/>
                </a:lnTo>
                <a:lnTo>
                  <a:pt x="4572" y="27431"/>
                </a:lnTo>
                <a:lnTo>
                  <a:pt x="4572" y="37337"/>
                </a:lnTo>
                <a:lnTo>
                  <a:pt x="39624" y="37337"/>
                </a:lnTo>
                <a:lnTo>
                  <a:pt x="39624" y="31241"/>
                </a:lnTo>
                <a:lnTo>
                  <a:pt x="40632" y="27431"/>
                </a:lnTo>
                <a:close/>
              </a:path>
              <a:path w="334645" h="267970">
                <a:moveTo>
                  <a:pt x="17526" y="6857"/>
                </a:moveTo>
                <a:lnTo>
                  <a:pt x="12954" y="10667"/>
                </a:lnTo>
                <a:lnTo>
                  <a:pt x="16338" y="10637"/>
                </a:lnTo>
                <a:lnTo>
                  <a:pt x="17526" y="6857"/>
                </a:lnTo>
                <a:close/>
              </a:path>
              <a:path w="334645" h="267970">
                <a:moveTo>
                  <a:pt x="16338" y="10637"/>
                </a:moveTo>
                <a:lnTo>
                  <a:pt x="12954" y="10667"/>
                </a:lnTo>
                <a:lnTo>
                  <a:pt x="12954" y="21405"/>
                </a:lnTo>
                <a:lnTo>
                  <a:pt x="16338" y="10637"/>
                </a:lnTo>
                <a:close/>
              </a:path>
              <a:path w="334645" h="267970">
                <a:moveTo>
                  <a:pt x="17526" y="10626"/>
                </a:moveTo>
                <a:lnTo>
                  <a:pt x="17526" y="6857"/>
                </a:lnTo>
                <a:lnTo>
                  <a:pt x="16338" y="10637"/>
                </a:lnTo>
                <a:lnTo>
                  <a:pt x="17526" y="10626"/>
                </a:lnTo>
                <a:close/>
              </a:path>
              <a:path w="334645" h="267970">
                <a:moveTo>
                  <a:pt x="44196" y="27431"/>
                </a:moveTo>
                <a:lnTo>
                  <a:pt x="40632" y="27431"/>
                </a:lnTo>
                <a:lnTo>
                  <a:pt x="39624" y="31241"/>
                </a:lnTo>
                <a:lnTo>
                  <a:pt x="44196" y="27431"/>
                </a:lnTo>
                <a:close/>
              </a:path>
              <a:path w="334645" h="267970">
                <a:moveTo>
                  <a:pt x="44196" y="37337"/>
                </a:moveTo>
                <a:lnTo>
                  <a:pt x="44196" y="27431"/>
                </a:lnTo>
                <a:lnTo>
                  <a:pt x="39624" y="31241"/>
                </a:lnTo>
                <a:lnTo>
                  <a:pt x="39624" y="37337"/>
                </a:lnTo>
                <a:lnTo>
                  <a:pt x="44196" y="37337"/>
                </a:lnTo>
                <a:close/>
              </a:path>
              <a:path w="334645" h="267970">
                <a:moveTo>
                  <a:pt x="53309" y="17463"/>
                </a:moveTo>
                <a:lnTo>
                  <a:pt x="48124" y="10351"/>
                </a:lnTo>
                <a:lnTo>
                  <a:pt x="45146" y="10377"/>
                </a:lnTo>
                <a:lnTo>
                  <a:pt x="40632" y="27431"/>
                </a:lnTo>
                <a:lnTo>
                  <a:pt x="44196" y="27431"/>
                </a:lnTo>
                <a:lnTo>
                  <a:pt x="44196" y="37337"/>
                </a:lnTo>
                <a:lnTo>
                  <a:pt x="46482" y="37337"/>
                </a:lnTo>
                <a:lnTo>
                  <a:pt x="48768" y="35813"/>
                </a:lnTo>
                <a:lnTo>
                  <a:pt x="49530" y="33527"/>
                </a:lnTo>
                <a:lnTo>
                  <a:pt x="53309" y="17463"/>
                </a:lnTo>
                <a:close/>
              </a:path>
              <a:path w="334645" h="267970">
                <a:moveTo>
                  <a:pt x="60095" y="10243"/>
                </a:moveTo>
                <a:lnTo>
                  <a:pt x="54864" y="3047"/>
                </a:lnTo>
                <a:lnTo>
                  <a:pt x="53340" y="1523"/>
                </a:lnTo>
                <a:lnTo>
                  <a:pt x="48006" y="1523"/>
                </a:lnTo>
                <a:lnTo>
                  <a:pt x="46482" y="3047"/>
                </a:lnTo>
                <a:lnTo>
                  <a:pt x="46482" y="5333"/>
                </a:lnTo>
                <a:lnTo>
                  <a:pt x="45146" y="10377"/>
                </a:lnTo>
                <a:lnTo>
                  <a:pt x="47244" y="10359"/>
                </a:lnTo>
                <a:lnTo>
                  <a:pt x="47244" y="9143"/>
                </a:lnTo>
                <a:lnTo>
                  <a:pt x="55626" y="7619"/>
                </a:lnTo>
                <a:lnTo>
                  <a:pt x="55626" y="10283"/>
                </a:lnTo>
                <a:lnTo>
                  <a:pt x="60095" y="10243"/>
                </a:lnTo>
                <a:close/>
              </a:path>
              <a:path w="334645" h="267970">
                <a:moveTo>
                  <a:pt x="55626" y="7619"/>
                </a:moveTo>
                <a:lnTo>
                  <a:pt x="47244" y="9143"/>
                </a:lnTo>
                <a:lnTo>
                  <a:pt x="48124" y="10351"/>
                </a:lnTo>
                <a:lnTo>
                  <a:pt x="54997" y="10289"/>
                </a:lnTo>
                <a:lnTo>
                  <a:pt x="55626" y="7619"/>
                </a:lnTo>
                <a:close/>
              </a:path>
              <a:path w="334645" h="267970">
                <a:moveTo>
                  <a:pt x="48124" y="10351"/>
                </a:moveTo>
                <a:lnTo>
                  <a:pt x="47244" y="9143"/>
                </a:lnTo>
                <a:lnTo>
                  <a:pt x="47244" y="10359"/>
                </a:lnTo>
                <a:lnTo>
                  <a:pt x="48124" y="10351"/>
                </a:lnTo>
                <a:close/>
              </a:path>
              <a:path w="334645" h="267970">
                <a:moveTo>
                  <a:pt x="54997" y="10289"/>
                </a:moveTo>
                <a:lnTo>
                  <a:pt x="48124" y="10351"/>
                </a:lnTo>
                <a:lnTo>
                  <a:pt x="53309" y="17463"/>
                </a:lnTo>
                <a:lnTo>
                  <a:pt x="54997" y="10289"/>
                </a:lnTo>
                <a:close/>
              </a:path>
              <a:path w="334645" h="267970">
                <a:moveTo>
                  <a:pt x="239861" y="257513"/>
                </a:moveTo>
                <a:lnTo>
                  <a:pt x="60095" y="10243"/>
                </a:lnTo>
                <a:lnTo>
                  <a:pt x="54997" y="10289"/>
                </a:lnTo>
                <a:lnTo>
                  <a:pt x="53309" y="17463"/>
                </a:lnTo>
                <a:lnTo>
                  <a:pt x="233934" y="265176"/>
                </a:lnTo>
                <a:lnTo>
                  <a:pt x="234696" y="266699"/>
                </a:lnTo>
                <a:lnTo>
                  <a:pt x="236220" y="267462"/>
                </a:lnTo>
                <a:lnTo>
                  <a:pt x="237744" y="267462"/>
                </a:lnTo>
                <a:lnTo>
                  <a:pt x="237744" y="257555"/>
                </a:lnTo>
                <a:lnTo>
                  <a:pt x="239861" y="257513"/>
                </a:lnTo>
                <a:close/>
              </a:path>
              <a:path w="334645" h="267970">
                <a:moveTo>
                  <a:pt x="55626" y="10283"/>
                </a:moveTo>
                <a:lnTo>
                  <a:pt x="55626" y="7619"/>
                </a:lnTo>
                <a:lnTo>
                  <a:pt x="54997" y="10289"/>
                </a:lnTo>
                <a:lnTo>
                  <a:pt x="55626" y="10283"/>
                </a:lnTo>
                <a:close/>
              </a:path>
              <a:path w="334645" h="267970">
                <a:moveTo>
                  <a:pt x="97536" y="9905"/>
                </a:moveTo>
                <a:lnTo>
                  <a:pt x="93726" y="7619"/>
                </a:lnTo>
                <a:lnTo>
                  <a:pt x="95417" y="9925"/>
                </a:lnTo>
                <a:lnTo>
                  <a:pt x="97536" y="9905"/>
                </a:lnTo>
                <a:close/>
              </a:path>
              <a:path w="334645" h="267970">
                <a:moveTo>
                  <a:pt x="95417" y="9925"/>
                </a:moveTo>
                <a:lnTo>
                  <a:pt x="93726" y="7619"/>
                </a:lnTo>
                <a:lnTo>
                  <a:pt x="93726" y="9940"/>
                </a:lnTo>
                <a:lnTo>
                  <a:pt x="95417" y="9925"/>
                </a:lnTo>
                <a:close/>
              </a:path>
              <a:path w="334645" h="267970">
                <a:moveTo>
                  <a:pt x="97536" y="12812"/>
                </a:moveTo>
                <a:lnTo>
                  <a:pt x="97536" y="9905"/>
                </a:lnTo>
                <a:lnTo>
                  <a:pt x="95417" y="9925"/>
                </a:lnTo>
                <a:lnTo>
                  <a:pt x="97536" y="12812"/>
                </a:lnTo>
                <a:close/>
              </a:path>
              <a:path w="334645" h="267970">
                <a:moveTo>
                  <a:pt x="241554" y="259841"/>
                </a:moveTo>
                <a:lnTo>
                  <a:pt x="239861" y="257513"/>
                </a:lnTo>
                <a:lnTo>
                  <a:pt x="237744" y="257555"/>
                </a:lnTo>
                <a:lnTo>
                  <a:pt x="241554" y="259841"/>
                </a:lnTo>
                <a:close/>
              </a:path>
              <a:path w="334645" h="267970">
                <a:moveTo>
                  <a:pt x="241554" y="267386"/>
                </a:moveTo>
                <a:lnTo>
                  <a:pt x="241554" y="259841"/>
                </a:lnTo>
                <a:lnTo>
                  <a:pt x="237744" y="257555"/>
                </a:lnTo>
                <a:lnTo>
                  <a:pt x="237744" y="267462"/>
                </a:lnTo>
                <a:lnTo>
                  <a:pt x="241554" y="267386"/>
                </a:lnTo>
                <a:close/>
              </a:path>
              <a:path w="334645" h="267970">
                <a:moveTo>
                  <a:pt x="313944" y="265953"/>
                </a:moveTo>
                <a:lnTo>
                  <a:pt x="313944" y="256031"/>
                </a:lnTo>
                <a:lnTo>
                  <a:pt x="310134" y="259079"/>
                </a:lnTo>
                <a:lnTo>
                  <a:pt x="310134" y="256108"/>
                </a:lnTo>
                <a:lnTo>
                  <a:pt x="239861" y="257513"/>
                </a:lnTo>
                <a:lnTo>
                  <a:pt x="241554" y="259841"/>
                </a:lnTo>
                <a:lnTo>
                  <a:pt x="241554" y="267386"/>
                </a:lnTo>
                <a:lnTo>
                  <a:pt x="310134" y="266028"/>
                </a:lnTo>
                <a:lnTo>
                  <a:pt x="310134" y="259079"/>
                </a:lnTo>
                <a:lnTo>
                  <a:pt x="311634" y="256078"/>
                </a:lnTo>
                <a:lnTo>
                  <a:pt x="311634" y="265998"/>
                </a:lnTo>
                <a:lnTo>
                  <a:pt x="313944" y="265953"/>
                </a:lnTo>
                <a:close/>
              </a:path>
              <a:path w="334645" h="267970">
                <a:moveTo>
                  <a:pt x="281940" y="248411"/>
                </a:moveTo>
                <a:lnTo>
                  <a:pt x="277910" y="242920"/>
                </a:lnTo>
                <a:lnTo>
                  <a:pt x="274320" y="248411"/>
                </a:lnTo>
                <a:lnTo>
                  <a:pt x="281940" y="248411"/>
                </a:lnTo>
                <a:close/>
              </a:path>
              <a:path w="334645" h="267970">
                <a:moveTo>
                  <a:pt x="281940" y="253745"/>
                </a:moveTo>
                <a:lnTo>
                  <a:pt x="281940" y="248411"/>
                </a:lnTo>
                <a:lnTo>
                  <a:pt x="274320" y="248411"/>
                </a:lnTo>
                <a:lnTo>
                  <a:pt x="274320" y="253745"/>
                </a:lnTo>
                <a:lnTo>
                  <a:pt x="275082" y="255269"/>
                </a:lnTo>
                <a:lnTo>
                  <a:pt x="276606" y="256031"/>
                </a:lnTo>
                <a:lnTo>
                  <a:pt x="279654" y="256031"/>
                </a:lnTo>
                <a:lnTo>
                  <a:pt x="281178" y="255269"/>
                </a:lnTo>
                <a:lnTo>
                  <a:pt x="281940" y="253745"/>
                </a:lnTo>
                <a:close/>
              </a:path>
              <a:path w="334645" h="267970">
                <a:moveTo>
                  <a:pt x="334518" y="231647"/>
                </a:moveTo>
                <a:lnTo>
                  <a:pt x="334518" y="230123"/>
                </a:lnTo>
                <a:lnTo>
                  <a:pt x="332994" y="227075"/>
                </a:lnTo>
                <a:lnTo>
                  <a:pt x="331470" y="226313"/>
                </a:lnTo>
                <a:lnTo>
                  <a:pt x="289560" y="226313"/>
                </a:lnTo>
                <a:lnTo>
                  <a:pt x="288036" y="227075"/>
                </a:lnTo>
                <a:lnTo>
                  <a:pt x="287274" y="228599"/>
                </a:lnTo>
                <a:lnTo>
                  <a:pt x="277910" y="242920"/>
                </a:lnTo>
                <a:lnTo>
                  <a:pt x="281940" y="248411"/>
                </a:lnTo>
                <a:lnTo>
                  <a:pt x="281940" y="253745"/>
                </a:lnTo>
                <a:lnTo>
                  <a:pt x="291084" y="239223"/>
                </a:lnTo>
                <a:lnTo>
                  <a:pt x="291084" y="235457"/>
                </a:lnTo>
                <a:lnTo>
                  <a:pt x="294894" y="233171"/>
                </a:lnTo>
                <a:lnTo>
                  <a:pt x="294894" y="235457"/>
                </a:lnTo>
                <a:lnTo>
                  <a:pt x="321945" y="235457"/>
                </a:lnTo>
                <a:lnTo>
                  <a:pt x="325374" y="228599"/>
                </a:lnTo>
                <a:lnTo>
                  <a:pt x="329946" y="235457"/>
                </a:lnTo>
                <a:lnTo>
                  <a:pt x="329946" y="240791"/>
                </a:lnTo>
                <a:lnTo>
                  <a:pt x="334518" y="231647"/>
                </a:lnTo>
                <a:close/>
              </a:path>
              <a:path w="334645" h="267970">
                <a:moveTo>
                  <a:pt x="294894" y="233171"/>
                </a:moveTo>
                <a:lnTo>
                  <a:pt x="291084" y="235457"/>
                </a:lnTo>
                <a:lnTo>
                  <a:pt x="293454" y="235457"/>
                </a:lnTo>
                <a:lnTo>
                  <a:pt x="294894" y="233171"/>
                </a:lnTo>
                <a:close/>
              </a:path>
              <a:path w="334645" h="267970">
                <a:moveTo>
                  <a:pt x="293454" y="235457"/>
                </a:moveTo>
                <a:lnTo>
                  <a:pt x="291084" y="235457"/>
                </a:lnTo>
                <a:lnTo>
                  <a:pt x="291084" y="239223"/>
                </a:lnTo>
                <a:lnTo>
                  <a:pt x="293454" y="235457"/>
                </a:lnTo>
                <a:close/>
              </a:path>
              <a:path w="334645" h="267970">
                <a:moveTo>
                  <a:pt x="294894" y="235457"/>
                </a:moveTo>
                <a:lnTo>
                  <a:pt x="294894" y="233171"/>
                </a:lnTo>
                <a:lnTo>
                  <a:pt x="293454" y="235457"/>
                </a:lnTo>
                <a:lnTo>
                  <a:pt x="294894" y="235457"/>
                </a:lnTo>
                <a:close/>
              </a:path>
              <a:path w="334645" h="267970">
                <a:moveTo>
                  <a:pt x="313944" y="256031"/>
                </a:moveTo>
                <a:lnTo>
                  <a:pt x="311634" y="256078"/>
                </a:lnTo>
                <a:lnTo>
                  <a:pt x="310134" y="259079"/>
                </a:lnTo>
                <a:lnTo>
                  <a:pt x="313944" y="256031"/>
                </a:lnTo>
                <a:close/>
              </a:path>
              <a:path w="334645" h="267970">
                <a:moveTo>
                  <a:pt x="329946" y="240791"/>
                </a:moveTo>
                <a:lnTo>
                  <a:pt x="329946" y="235457"/>
                </a:lnTo>
                <a:lnTo>
                  <a:pt x="321945" y="235457"/>
                </a:lnTo>
                <a:lnTo>
                  <a:pt x="311634" y="256078"/>
                </a:lnTo>
                <a:lnTo>
                  <a:pt x="313944" y="256031"/>
                </a:lnTo>
                <a:lnTo>
                  <a:pt x="313944" y="265953"/>
                </a:lnTo>
                <a:lnTo>
                  <a:pt x="316230" y="265938"/>
                </a:lnTo>
                <a:lnTo>
                  <a:pt x="317754" y="265176"/>
                </a:lnTo>
                <a:lnTo>
                  <a:pt x="329946" y="240791"/>
                </a:lnTo>
                <a:close/>
              </a:path>
              <a:path w="334645" h="267970">
                <a:moveTo>
                  <a:pt x="329946" y="235457"/>
                </a:moveTo>
                <a:lnTo>
                  <a:pt x="325374" y="228599"/>
                </a:lnTo>
                <a:lnTo>
                  <a:pt x="321945" y="235457"/>
                </a:lnTo>
                <a:lnTo>
                  <a:pt x="329946" y="2354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7" name="object 119"/>
          <p:cNvSpPr/>
          <p:nvPr/>
        </p:nvSpPr>
        <p:spPr>
          <a:xfrm>
            <a:off x="5546973" y="1451265"/>
            <a:ext cx="276327" cy="85778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8" name="object 120"/>
          <p:cNvSpPr/>
          <p:nvPr/>
        </p:nvSpPr>
        <p:spPr>
          <a:xfrm>
            <a:off x="5543447" y="1448670"/>
            <a:ext cx="283549" cy="90856"/>
          </a:xfrm>
          <a:custGeom>
            <a:avLst/>
            <a:gdLst/>
            <a:ahLst/>
            <a:cxnLst/>
            <a:rect l="l" t="t" r="r" b="b"/>
            <a:pathLst>
              <a:path w="429259" h="204470">
                <a:moveTo>
                  <a:pt x="429005" y="199643"/>
                </a:moveTo>
                <a:lnTo>
                  <a:pt x="427481" y="196595"/>
                </a:lnTo>
                <a:lnTo>
                  <a:pt x="280415" y="2285"/>
                </a:lnTo>
                <a:lnTo>
                  <a:pt x="278129" y="0"/>
                </a:lnTo>
                <a:lnTo>
                  <a:pt x="3047" y="761"/>
                </a:lnTo>
                <a:lnTo>
                  <a:pt x="1523" y="1523"/>
                </a:lnTo>
                <a:lnTo>
                  <a:pt x="0" y="4571"/>
                </a:lnTo>
                <a:lnTo>
                  <a:pt x="0" y="6857"/>
                </a:lnTo>
                <a:lnTo>
                  <a:pt x="1523" y="8381"/>
                </a:lnTo>
                <a:lnTo>
                  <a:pt x="5333" y="13613"/>
                </a:lnTo>
                <a:lnTo>
                  <a:pt x="5333" y="9905"/>
                </a:lnTo>
                <a:lnTo>
                  <a:pt x="9143" y="2285"/>
                </a:lnTo>
                <a:lnTo>
                  <a:pt x="14672" y="9905"/>
                </a:lnTo>
                <a:lnTo>
                  <a:pt x="272795" y="9905"/>
                </a:lnTo>
                <a:lnTo>
                  <a:pt x="272795" y="7619"/>
                </a:lnTo>
                <a:lnTo>
                  <a:pt x="276605" y="9905"/>
                </a:lnTo>
                <a:lnTo>
                  <a:pt x="276605" y="12653"/>
                </a:lnTo>
                <a:lnTo>
                  <a:pt x="414094" y="194309"/>
                </a:lnTo>
                <a:lnTo>
                  <a:pt x="423671" y="194309"/>
                </a:lnTo>
                <a:lnTo>
                  <a:pt x="423671" y="204215"/>
                </a:lnTo>
                <a:lnTo>
                  <a:pt x="425195" y="204215"/>
                </a:lnTo>
                <a:lnTo>
                  <a:pt x="428243" y="201167"/>
                </a:lnTo>
                <a:lnTo>
                  <a:pt x="429005" y="199643"/>
                </a:lnTo>
                <a:close/>
              </a:path>
              <a:path w="429259" h="204470">
                <a:moveTo>
                  <a:pt x="14672" y="9905"/>
                </a:moveTo>
                <a:lnTo>
                  <a:pt x="9143" y="2285"/>
                </a:lnTo>
                <a:lnTo>
                  <a:pt x="5333" y="9905"/>
                </a:lnTo>
                <a:lnTo>
                  <a:pt x="14672" y="9905"/>
                </a:lnTo>
                <a:close/>
              </a:path>
              <a:path w="429259" h="204470">
                <a:moveTo>
                  <a:pt x="148455" y="194309"/>
                </a:moveTo>
                <a:lnTo>
                  <a:pt x="14672" y="9905"/>
                </a:lnTo>
                <a:lnTo>
                  <a:pt x="5333" y="9905"/>
                </a:lnTo>
                <a:lnTo>
                  <a:pt x="5333" y="13613"/>
                </a:lnTo>
                <a:lnTo>
                  <a:pt x="142493" y="201929"/>
                </a:lnTo>
                <a:lnTo>
                  <a:pt x="143255" y="203453"/>
                </a:lnTo>
                <a:lnTo>
                  <a:pt x="144779" y="204215"/>
                </a:lnTo>
                <a:lnTo>
                  <a:pt x="146303" y="204215"/>
                </a:lnTo>
                <a:lnTo>
                  <a:pt x="146303" y="194309"/>
                </a:lnTo>
                <a:lnTo>
                  <a:pt x="148455" y="194309"/>
                </a:lnTo>
                <a:close/>
              </a:path>
              <a:path w="429259" h="204470">
                <a:moveTo>
                  <a:pt x="150113" y="196595"/>
                </a:moveTo>
                <a:lnTo>
                  <a:pt x="148455" y="194309"/>
                </a:lnTo>
                <a:lnTo>
                  <a:pt x="146303" y="194309"/>
                </a:lnTo>
                <a:lnTo>
                  <a:pt x="150113" y="196595"/>
                </a:lnTo>
                <a:close/>
              </a:path>
              <a:path w="429259" h="204470">
                <a:moveTo>
                  <a:pt x="150113" y="204215"/>
                </a:moveTo>
                <a:lnTo>
                  <a:pt x="150113" y="196595"/>
                </a:lnTo>
                <a:lnTo>
                  <a:pt x="146303" y="194309"/>
                </a:lnTo>
                <a:lnTo>
                  <a:pt x="146303" y="204215"/>
                </a:lnTo>
                <a:lnTo>
                  <a:pt x="150113" y="204215"/>
                </a:lnTo>
                <a:close/>
              </a:path>
              <a:path w="429259" h="204470">
                <a:moveTo>
                  <a:pt x="423671" y="204215"/>
                </a:moveTo>
                <a:lnTo>
                  <a:pt x="423671" y="194309"/>
                </a:lnTo>
                <a:lnTo>
                  <a:pt x="419861" y="201929"/>
                </a:lnTo>
                <a:lnTo>
                  <a:pt x="414094" y="194309"/>
                </a:lnTo>
                <a:lnTo>
                  <a:pt x="148455" y="194309"/>
                </a:lnTo>
                <a:lnTo>
                  <a:pt x="150113" y="196595"/>
                </a:lnTo>
                <a:lnTo>
                  <a:pt x="150113" y="204215"/>
                </a:lnTo>
                <a:lnTo>
                  <a:pt x="423671" y="204215"/>
                </a:lnTo>
                <a:close/>
              </a:path>
              <a:path w="429259" h="204470">
                <a:moveTo>
                  <a:pt x="276605" y="9905"/>
                </a:moveTo>
                <a:lnTo>
                  <a:pt x="272795" y="7619"/>
                </a:lnTo>
                <a:lnTo>
                  <a:pt x="274526" y="9905"/>
                </a:lnTo>
                <a:lnTo>
                  <a:pt x="276605" y="9905"/>
                </a:lnTo>
                <a:close/>
              </a:path>
              <a:path w="429259" h="204470">
                <a:moveTo>
                  <a:pt x="274526" y="9905"/>
                </a:moveTo>
                <a:lnTo>
                  <a:pt x="272795" y="7619"/>
                </a:lnTo>
                <a:lnTo>
                  <a:pt x="272795" y="9905"/>
                </a:lnTo>
                <a:lnTo>
                  <a:pt x="274526" y="9905"/>
                </a:lnTo>
                <a:close/>
              </a:path>
              <a:path w="429259" h="204470">
                <a:moveTo>
                  <a:pt x="276605" y="12653"/>
                </a:moveTo>
                <a:lnTo>
                  <a:pt x="276605" y="9905"/>
                </a:lnTo>
                <a:lnTo>
                  <a:pt x="274526" y="9905"/>
                </a:lnTo>
                <a:lnTo>
                  <a:pt x="276605" y="12653"/>
                </a:lnTo>
                <a:close/>
              </a:path>
              <a:path w="429259" h="204470">
                <a:moveTo>
                  <a:pt x="423671" y="194309"/>
                </a:moveTo>
                <a:lnTo>
                  <a:pt x="414094" y="194309"/>
                </a:lnTo>
                <a:lnTo>
                  <a:pt x="419861" y="201929"/>
                </a:lnTo>
                <a:lnTo>
                  <a:pt x="423671" y="1943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9" name="object 121"/>
          <p:cNvSpPr/>
          <p:nvPr/>
        </p:nvSpPr>
        <p:spPr>
          <a:xfrm>
            <a:off x="6189741" y="1449346"/>
            <a:ext cx="203351" cy="86681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0" name="object 122"/>
          <p:cNvSpPr/>
          <p:nvPr/>
        </p:nvSpPr>
        <p:spPr>
          <a:xfrm>
            <a:off x="6185714" y="1446976"/>
            <a:ext cx="210565" cy="91421"/>
          </a:xfrm>
          <a:custGeom>
            <a:avLst/>
            <a:gdLst/>
            <a:ahLst/>
            <a:cxnLst/>
            <a:rect l="l" t="t" r="r" b="b"/>
            <a:pathLst>
              <a:path w="318770" h="205739">
                <a:moveTo>
                  <a:pt x="318515" y="6096"/>
                </a:moveTo>
                <a:lnTo>
                  <a:pt x="318515" y="3810"/>
                </a:lnTo>
                <a:lnTo>
                  <a:pt x="315467" y="762"/>
                </a:lnTo>
                <a:lnTo>
                  <a:pt x="3047" y="0"/>
                </a:lnTo>
                <a:lnTo>
                  <a:pt x="1523" y="762"/>
                </a:lnTo>
                <a:lnTo>
                  <a:pt x="0" y="3810"/>
                </a:lnTo>
                <a:lnTo>
                  <a:pt x="0" y="6096"/>
                </a:lnTo>
                <a:lnTo>
                  <a:pt x="1523" y="7620"/>
                </a:lnTo>
                <a:lnTo>
                  <a:pt x="5333" y="12941"/>
                </a:lnTo>
                <a:lnTo>
                  <a:pt x="5333" y="9144"/>
                </a:lnTo>
                <a:lnTo>
                  <a:pt x="9143" y="1524"/>
                </a:lnTo>
                <a:lnTo>
                  <a:pt x="14611" y="9189"/>
                </a:lnTo>
                <a:lnTo>
                  <a:pt x="309336" y="10645"/>
                </a:lnTo>
                <a:lnTo>
                  <a:pt x="309371" y="6096"/>
                </a:lnTo>
                <a:lnTo>
                  <a:pt x="313943" y="10668"/>
                </a:lnTo>
                <a:lnTo>
                  <a:pt x="313943" y="205740"/>
                </a:lnTo>
                <a:lnTo>
                  <a:pt x="314705" y="205740"/>
                </a:lnTo>
                <a:lnTo>
                  <a:pt x="316991" y="203454"/>
                </a:lnTo>
                <a:lnTo>
                  <a:pt x="316991" y="200406"/>
                </a:lnTo>
                <a:lnTo>
                  <a:pt x="318515" y="6096"/>
                </a:lnTo>
                <a:close/>
              </a:path>
              <a:path w="318770" h="205739">
                <a:moveTo>
                  <a:pt x="14611" y="9189"/>
                </a:moveTo>
                <a:lnTo>
                  <a:pt x="9143" y="1524"/>
                </a:lnTo>
                <a:lnTo>
                  <a:pt x="5333" y="9144"/>
                </a:lnTo>
                <a:lnTo>
                  <a:pt x="14611" y="9189"/>
                </a:lnTo>
                <a:close/>
              </a:path>
              <a:path w="318770" h="205739">
                <a:moveTo>
                  <a:pt x="147721" y="195834"/>
                </a:moveTo>
                <a:lnTo>
                  <a:pt x="14611" y="9189"/>
                </a:lnTo>
                <a:lnTo>
                  <a:pt x="5333" y="9144"/>
                </a:lnTo>
                <a:lnTo>
                  <a:pt x="5333" y="12941"/>
                </a:lnTo>
                <a:lnTo>
                  <a:pt x="141731" y="203454"/>
                </a:lnTo>
                <a:lnTo>
                  <a:pt x="142493" y="204978"/>
                </a:lnTo>
                <a:lnTo>
                  <a:pt x="144017" y="205740"/>
                </a:lnTo>
                <a:lnTo>
                  <a:pt x="145541" y="205740"/>
                </a:lnTo>
                <a:lnTo>
                  <a:pt x="145541" y="195834"/>
                </a:lnTo>
                <a:lnTo>
                  <a:pt x="147721" y="195834"/>
                </a:lnTo>
                <a:close/>
              </a:path>
              <a:path w="318770" h="205739">
                <a:moveTo>
                  <a:pt x="149351" y="198120"/>
                </a:moveTo>
                <a:lnTo>
                  <a:pt x="147721" y="195834"/>
                </a:lnTo>
                <a:lnTo>
                  <a:pt x="145541" y="195834"/>
                </a:lnTo>
                <a:lnTo>
                  <a:pt x="149351" y="198120"/>
                </a:lnTo>
                <a:close/>
              </a:path>
              <a:path w="318770" h="205739">
                <a:moveTo>
                  <a:pt x="149351" y="205740"/>
                </a:moveTo>
                <a:lnTo>
                  <a:pt x="149351" y="198120"/>
                </a:lnTo>
                <a:lnTo>
                  <a:pt x="145541" y="195834"/>
                </a:lnTo>
                <a:lnTo>
                  <a:pt x="145541" y="205740"/>
                </a:lnTo>
                <a:lnTo>
                  <a:pt x="149351" y="205740"/>
                </a:lnTo>
                <a:close/>
              </a:path>
              <a:path w="318770" h="205739">
                <a:moveTo>
                  <a:pt x="307883" y="195834"/>
                </a:moveTo>
                <a:lnTo>
                  <a:pt x="147721" y="195834"/>
                </a:lnTo>
                <a:lnTo>
                  <a:pt x="149351" y="198120"/>
                </a:lnTo>
                <a:lnTo>
                  <a:pt x="149351" y="205740"/>
                </a:lnTo>
                <a:lnTo>
                  <a:pt x="307847" y="205740"/>
                </a:lnTo>
                <a:lnTo>
                  <a:pt x="307847" y="200406"/>
                </a:lnTo>
                <a:lnTo>
                  <a:pt x="307883" y="195834"/>
                </a:lnTo>
                <a:close/>
              </a:path>
              <a:path w="318770" h="205739">
                <a:moveTo>
                  <a:pt x="312419" y="195834"/>
                </a:moveTo>
                <a:lnTo>
                  <a:pt x="307883" y="195834"/>
                </a:lnTo>
                <a:lnTo>
                  <a:pt x="307847" y="200406"/>
                </a:lnTo>
                <a:lnTo>
                  <a:pt x="312419" y="195834"/>
                </a:lnTo>
                <a:close/>
              </a:path>
              <a:path w="318770" h="205739">
                <a:moveTo>
                  <a:pt x="312419" y="205740"/>
                </a:moveTo>
                <a:lnTo>
                  <a:pt x="312419" y="195834"/>
                </a:lnTo>
                <a:lnTo>
                  <a:pt x="307847" y="200406"/>
                </a:lnTo>
                <a:lnTo>
                  <a:pt x="307847" y="205740"/>
                </a:lnTo>
                <a:lnTo>
                  <a:pt x="312419" y="205740"/>
                </a:lnTo>
                <a:close/>
              </a:path>
              <a:path w="318770" h="205739">
                <a:moveTo>
                  <a:pt x="313943" y="205740"/>
                </a:moveTo>
                <a:lnTo>
                  <a:pt x="313943" y="10668"/>
                </a:lnTo>
                <a:lnTo>
                  <a:pt x="309336" y="10645"/>
                </a:lnTo>
                <a:lnTo>
                  <a:pt x="307883" y="195834"/>
                </a:lnTo>
                <a:lnTo>
                  <a:pt x="312419" y="195834"/>
                </a:lnTo>
                <a:lnTo>
                  <a:pt x="312419" y="205740"/>
                </a:lnTo>
                <a:lnTo>
                  <a:pt x="313943" y="205740"/>
                </a:lnTo>
                <a:close/>
              </a:path>
              <a:path w="318770" h="205739">
                <a:moveTo>
                  <a:pt x="313943" y="10668"/>
                </a:moveTo>
                <a:lnTo>
                  <a:pt x="309371" y="6096"/>
                </a:lnTo>
                <a:lnTo>
                  <a:pt x="309336" y="10645"/>
                </a:lnTo>
                <a:lnTo>
                  <a:pt x="313943" y="1066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1" name="object 123"/>
          <p:cNvSpPr/>
          <p:nvPr/>
        </p:nvSpPr>
        <p:spPr>
          <a:xfrm>
            <a:off x="5674820" y="1196190"/>
            <a:ext cx="500818" cy="242661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2" name="object 124"/>
          <p:cNvSpPr/>
          <p:nvPr/>
        </p:nvSpPr>
        <p:spPr>
          <a:xfrm>
            <a:off x="5602843" y="1117861"/>
            <a:ext cx="651410" cy="325052"/>
          </a:xfrm>
          <a:custGeom>
            <a:avLst/>
            <a:gdLst/>
            <a:ahLst/>
            <a:cxnLst/>
            <a:rect l="l" t="t" r="r" b="b"/>
            <a:pathLst>
              <a:path w="986154" h="731520">
                <a:moveTo>
                  <a:pt x="986028" y="7620"/>
                </a:moveTo>
                <a:lnTo>
                  <a:pt x="983742" y="4572"/>
                </a:lnTo>
                <a:lnTo>
                  <a:pt x="982218" y="1524"/>
                </a:lnTo>
                <a:lnTo>
                  <a:pt x="979170" y="0"/>
                </a:lnTo>
                <a:lnTo>
                  <a:pt x="6096" y="0"/>
                </a:lnTo>
                <a:lnTo>
                  <a:pt x="3048" y="1524"/>
                </a:lnTo>
                <a:lnTo>
                  <a:pt x="0" y="7620"/>
                </a:lnTo>
                <a:lnTo>
                  <a:pt x="0" y="11430"/>
                </a:lnTo>
                <a:lnTo>
                  <a:pt x="1524" y="14478"/>
                </a:lnTo>
                <a:lnTo>
                  <a:pt x="9906" y="28618"/>
                </a:lnTo>
                <a:lnTo>
                  <a:pt x="9906" y="19050"/>
                </a:lnTo>
                <a:lnTo>
                  <a:pt x="18288" y="4572"/>
                </a:lnTo>
                <a:lnTo>
                  <a:pt x="26853" y="19050"/>
                </a:lnTo>
                <a:lnTo>
                  <a:pt x="957828" y="19050"/>
                </a:lnTo>
                <a:lnTo>
                  <a:pt x="967740" y="3810"/>
                </a:lnTo>
                <a:lnTo>
                  <a:pt x="975360" y="19050"/>
                </a:lnTo>
                <a:lnTo>
                  <a:pt x="975360" y="27351"/>
                </a:lnTo>
                <a:lnTo>
                  <a:pt x="983742" y="14478"/>
                </a:lnTo>
                <a:lnTo>
                  <a:pt x="985266" y="11430"/>
                </a:lnTo>
                <a:lnTo>
                  <a:pt x="986028" y="7620"/>
                </a:lnTo>
                <a:close/>
              </a:path>
              <a:path w="986154" h="731520">
                <a:moveTo>
                  <a:pt x="26853" y="19050"/>
                </a:moveTo>
                <a:lnTo>
                  <a:pt x="18288" y="4572"/>
                </a:lnTo>
                <a:lnTo>
                  <a:pt x="9906" y="19050"/>
                </a:lnTo>
                <a:lnTo>
                  <a:pt x="26853" y="19050"/>
                </a:lnTo>
                <a:close/>
              </a:path>
              <a:path w="986154" h="731520">
                <a:moveTo>
                  <a:pt x="406146" y="712470"/>
                </a:moveTo>
                <a:lnTo>
                  <a:pt x="406146" y="660654"/>
                </a:lnTo>
                <a:lnTo>
                  <a:pt x="404622" y="657606"/>
                </a:lnTo>
                <a:lnTo>
                  <a:pt x="26853" y="19050"/>
                </a:lnTo>
                <a:lnTo>
                  <a:pt x="9906" y="19050"/>
                </a:lnTo>
                <a:lnTo>
                  <a:pt x="9906" y="28618"/>
                </a:lnTo>
                <a:lnTo>
                  <a:pt x="387096" y="664941"/>
                </a:lnTo>
                <a:lnTo>
                  <a:pt x="387096" y="662940"/>
                </a:lnTo>
                <a:lnTo>
                  <a:pt x="388620" y="667512"/>
                </a:lnTo>
                <a:lnTo>
                  <a:pt x="388620" y="729234"/>
                </a:lnTo>
                <a:lnTo>
                  <a:pt x="390906" y="731520"/>
                </a:lnTo>
                <a:lnTo>
                  <a:pt x="396240" y="731520"/>
                </a:lnTo>
                <a:lnTo>
                  <a:pt x="396240" y="712470"/>
                </a:lnTo>
                <a:lnTo>
                  <a:pt x="406146" y="712470"/>
                </a:lnTo>
                <a:close/>
              </a:path>
              <a:path w="986154" h="731520">
                <a:moveTo>
                  <a:pt x="388620" y="667512"/>
                </a:moveTo>
                <a:lnTo>
                  <a:pt x="387096" y="662940"/>
                </a:lnTo>
                <a:lnTo>
                  <a:pt x="387096" y="664941"/>
                </a:lnTo>
                <a:lnTo>
                  <a:pt x="388620" y="667512"/>
                </a:lnTo>
                <a:close/>
              </a:path>
              <a:path w="986154" h="731520">
                <a:moveTo>
                  <a:pt x="388620" y="729234"/>
                </a:moveTo>
                <a:lnTo>
                  <a:pt x="388620" y="667512"/>
                </a:lnTo>
                <a:lnTo>
                  <a:pt x="387096" y="664941"/>
                </a:lnTo>
                <a:lnTo>
                  <a:pt x="387096" y="727710"/>
                </a:lnTo>
                <a:lnTo>
                  <a:pt x="388620" y="729234"/>
                </a:lnTo>
                <a:close/>
              </a:path>
              <a:path w="986154" h="731520">
                <a:moveTo>
                  <a:pt x="550926" y="712470"/>
                </a:moveTo>
                <a:lnTo>
                  <a:pt x="396240" y="712470"/>
                </a:lnTo>
                <a:lnTo>
                  <a:pt x="406146" y="722376"/>
                </a:lnTo>
                <a:lnTo>
                  <a:pt x="406146" y="731520"/>
                </a:lnTo>
                <a:lnTo>
                  <a:pt x="541020" y="731520"/>
                </a:lnTo>
                <a:lnTo>
                  <a:pt x="541020" y="722376"/>
                </a:lnTo>
                <a:lnTo>
                  <a:pt x="550926" y="712470"/>
                </a:lnTo>
                <a:close/>
              </a:path>
              <a:path w="986154" h="731520">
                <a:moveTo>
                  <a:pt x="406146" y="731520"/>
                </a:moveTo>
                <a:lnTo>
                  <a:pt x="406146" y="722376"/>
                </a:lnTo>
                <a:lnTo>
                  <a:pt x="396240" y="712470"/>
                </a:lnTo>
                <a:lnTo>
                  <a:pt x="396240" y="731520"/>
                </a:lnTo>
                <a:lnTo>
                  <a:pt x="406146" y="731520"/>
                </a:lnTo>
                <a:close/>
              </a:path>
              <a:path w="986154" h="731520">
                <a:moveTo>
                  <a:pt x="975360" y="27351"/>
                </a:moveTo>
                <a:lnTo>
                  <a:pt x="975360" y="19050"/>
                </a:lnTo>
                <a:lnTo>
                  <a:pt x="957828" y="19050"/>
                </a:lnTo>
                <a:lnTo>
                  <a:pt x="542544" y="657606"/>
                </a:lnTo>
                <a:lnTo>
                  <a:pt x="541020" y="660654"/>
                </a:lnTo>
                <a:lnTo>
                  <a:pt x="541020" y="712470"/>
                </a:lnTo>
                <a:lnTo>
                  <a:pt x="550926" y="712470"/>
                </a:lnTo>
                <a:lnTo>
                  <a:pt x="550926" y="731520"/>
                </a:lnTo>
                <a:lnTo>
                  <a:pt x="556260" y="731520"/>
                </a:lnTo>
                <a:lnTo>
                  <a:pt x="558546" y="729234"/>
                </a:lnTo>
                <a:lnTo>
                  <a:pt x="558546" y="667512"/>
                </a:lnTo>
                <a:lnTo>
                  <a:pt x="560070" y="662940"/>
                </a:lnTo>
                <a:lnTo>
                  <a:pt x="560070" y="665171"/>
                </a:lnTo>
                <a:lnTo>
                  <a:pt x="975360" y="27351"/>
                </a:lnTo>
                <a:close/>
              </a:path>
              <a:path w="986154" h="731520">
                <a:moveTo>
                  <a:pt x="550926" y="731520"/>
                </a:moveTo>
                <a:lnTo>
                  <a:pt x="550926" y="712470"/>
                </a:lnTo>
                <a:lnTo>
                  <a:pt x="541020" y="722376"/>
                </a:lnTo>
                <a:lnTo>
                  <a:pt x="541020" y="731520"/>
                </a:lnTo>
                <a:lnTo>
                  <a:pt x="550926" y="731520"/>
                </a:lnTo>
                <a:close/>
              </a:path>
              <a:path w="986154" h="731520">
                <a:moveTo>
                  <a:pt x="560070" y="665171"/>
                </a:moveTo>
                <a:lnTo>
                  <a:pt x="560070" y="662940"/>
                </a:lnTo>
                <a:lnTo>
                  <a:pt x="558546" y="667512"/>
                </a:lnTo>
                <a:lnTo>
                  <a:pt x="560070" y="665171"/>
                </a:lnTo>
                <a:close/>
              </a:path>
              <a:path w="986154" h="731520">
                <a:moveTo>
                  <a:pt x="560070" y="727710"/>
                </a:moveTo>
                <a:lnTo>
                  <a:pt x="560070" y="665171"/>
                </a:lnTo>
                <a:lnTo>
                  <a:pt x="558546" y="667512"/>
                </a:lnTo>
                <a:lnTo>
                  <a:pt x="558546" y="729234"/>
                </a:lnTo>
                <a:lnTo>
                  <a:pt x="560070" y="727710"/>
                </a:lnTo>
                <a:close/>
              </a:path>
              <a:path w="986154" h="731520">
                <a:moveTo>
                  <a:pt x="975360" y="19050"/>
                </a:moveTo>
                <a:lnTo>
                  <a:pt x="967740" y="3810"/>
                </a:lnTo>
                <a:lnTo>
                  <a:pt x="957828" y="19050"/>
                </a:lnTo>
                <a:lnTo>
                  <a:pt x="975360" y="19050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3" name="object 125"/>
          <p:cNvSpPr/>
          <p:nvPr/>
        </p:nvSpPr>
        <p:spPr>
          <a:xfrm>
            <a:off x="5609386" y="1082308"/>
            <a:ext cx="637736" cy="39615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4" name="object 126"/>
          <p:cNvSpPr/>
          <p:nvPr/>
        </p:nvSpPr>
        <p:spPr>
          <a:xfrm>
            <a:off x="5602843" y="1078246"/>
            <a:ext cx="650990" cy="43736"/>
          </a:xfrm>
          <a:custGeom>
            <a:avLst/>
            <a:gdLst/>
            <a:ahLst/>
            <a:cxnLst/>
            <a:rect l="l" t="t" r="r" b="b"/>
            <a:pathLst>
              <a:path w="985520" h="98425">
                <a:moveTo>
                  <a:pt x="985266" y="98298"/>
                </a:moveTo>
                <a:lnTo>
                  <a:pt x="985266" y="3810"/>
                </a:lnTo>
                <a:lnTo>
                  <a:pt x="980694" y="0"/>
                </a:lnTo>
                <a:lnTo>
                  <a:pt x="4571" y="0"/>
                </a:lnTo>
                <a:lnTo>
                  <a:pt x="0" y="3810"/>
                </a:lnTo>
                <a:lnTo>
                  <a:pt x="0" y="98298"/>
                </a:lnTo>
                <a:lnTo>
                  <a:pt x="9906" y="98298"/>
                </a:lnTo>
                <a:lnTo>
                  <a:pt x="9905" y="19050"/>
                </a:lnTo>
                <a:lnTo>
                  <a:pt x="19049" y="9144"/>
                </a:lnTo>
                <a:lnTo>
                  <a:pt x="19049" y="19050"/>
                </a:lnTo>
                <a:lnTo>
                  <a:pt x="966216" y="19050"/>
                </a:lnTo>
                <a:lnTo>
                  <a:pt x="966216" y="9144"/>
                </a:lnTo>
                <a:lnTo>
                  <a:pt x="975360" y="19050"/>
                </a:lnTo>
                <a:lnTo>
                  <a:pt x="975360" y="98298"/>
                </a:lnTo>
                <a:lnTo>
                  <a:pt x="985266" y="98298"/>
                </a:lnTo>
                <a:close/>
              </a:path>
              <a:path w="985520" h="98425">
                <a:moveTo>
                  <a:pt x="19049" y="19050"/>
                </a:moveTo>
                <a:lnTo>
                  <a:pt x="19049" y="9144"/>
                </a:lnTo>
                <a:lnTo>
                  <a:pt x="9905" y="19050"/>
                </a:lnTo>
                <a:lnTo>
                  <a:pt x="19049" y="19050"/>
                </a:lnTo>
                <a:close/>
              </a:path>
              <a:path w="985520" h="98425">
                <a:moveTo>
                  <a:pt x="19050" y="98298"/>
                </a:moveTo>
                <a:lnTo>
                  <a:pt x="19049" y="19050"/>
                </a:lnTo>
                <a:lnTo>
                  <a:pt x="9905" y="19050"/>
                </a:lnTo>
                <a:lnTo>
                  <a:pt x="9906" y="98298"/>
                </a:lnTo>
                <a:lnTo>
                  <a:pt x="19050" y="98298"/>
                </a:lnTo>
                <a:close/>
              </a:path>
              <a:path w="985520" h="98425">
                <a:moveTo>
                  <a:pt x="975360" y="19050"/>
                </a:moveTo>
                <a:lnTo>
                  <a:pt x="966216" y="9144"/>
                </a:lnTo>
                <a:lnTo>
                  <a:pt x="966216" y="19050"/>
                </a:lnTo>
                <a:lnTo>
                  <a:pt x="975360" y="19050"/>
                </a:lnTo>
                <a:close/>
              </a:path>
              <a:path w="985520" h="98425">
                <a:moveTo>
                  <a:pt x="975360" y="98298"/>
                </a:moveTo>
                <a:lnTo>
                  <a:pt x="975360" y="19050"/>
                </a:lnTo>
                <a:lnTo>
                  <a:pt x="966216" y="19050"/>
                </a:lnTo>
                <a:lnTo>
                  <a:pt x="966216" y="98298"/>
                </a:lnTo>
                <a:lnTo>
                  <a:pt x="975360" y="98298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5" name="object 127"/>
          <p:cNvSpPr/>
          <p:nvPr/>
        </p:nvSpPr>
        <p:spPr>
          <a:xfrm>
            <a:off x="4065127" y="1410577"/>
            <a:ext cx="318785" cy="0"/>
          </a:xfrm>
          <a:custGeom>
            <a:avLst/>
            <a:gdLst/>
            <a:ahLst/>
            <a:cxnLst/>
            <a:rect l="l" t="t" r="r" b="b"/>
            <a:pathLst>
              <a:path w="482600">
                <a:moveTo>
                  <a:pt x="0" y="0"/>
                </a:moveTo>
                <a:lnTo>
                  <a:pt x="482345" y="0"/>
                </a:lnTo>
              </a:path>
            </a:pathLst>
          </a:custGeom>
          <a:ln w="37337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6" name="object 128"/>
          <p:cNvSpPr/>
          <p:nvPr/>
        </p:nvSpPr>
        <p:spPr>
          <a:xfrm>
            <a:off x="4061605" y="1400250"/>
            <a:ext cx="325914" cy="21162"/>
          </a:xfrm>
          <a:custGeom>
            <a:avLst/>
            <a:gdLst/>
            <a:ahLst/>
            <a:cxnLst/>
            <a:rect l="l" t="t" r="r" b="b"/>
            <a:pathLst>
              <a:path w="493395" h="47625">
                <a:moveTo>
                  <a:pt x="493014" y="47244"/>
                </a:moveTo>
                <a:lnTo>
                  <a:pt x="493014" y="0"/>
                </a:lnTo>
                <a:lnTo>
                  <a:pt x="0" y="0"/>
                </a:lnTo>
                <a:lnTo>
                  <a:pt x="0" y="47244"/>
                </a:lnTo>
                <a:lnTo>
                  <a:pt x="5334" y="47244"/>
                </a:lnTo>
                <a:lnTo>
                  <a:pt x="5334" y="9906"/>
                </a:lnTo>
                <a:lnTo>
                  <a:pt x="9906" y="4572"/>
                </a:lnTo>
                <a:lnTo>
                  <a:pt x="9906" y="9906"/>
                </a:lnTo>
                <a:lnTo>
                  <a:pt x="483107" y="9906"/>
                </a:lnTo>
                <a:lnTo>
                  <a:pt x="483107" y="4572"/>
                </a:lnTo>
                <a:lnTo>
                  <a:pt x="487679" y="9906"/>
                </a:lnTo>
                <a:lnTo>
                  <a:pt x="487679" y="47244"/>
                </a:lnTo>
                <a:lnTo>
                  <a:pt x="493014" y="47244"/>
                </a:lnTo>
                <a:close/>
              </a:path>
              <a:path w="493395" h="47625">
                <a:moveTo>
                  <a:pt x="9906" y="9906"/>
                </a:moveTo>
                <a:lnTo>
                  <a:pt x="9906" y="4572"/>
                </a:lnTo>
                <a:lnTo>
                  <a:pt x="5334" y="9906"/>
                </a:lnTo>
                <a:lnTo>
                  <a:pt x="9906" y="9906"/>
                </a:lnTo>
                <a:close/>
              </a:path>
              <a:path w="493395" h="47625">
                <a:moveTo>
                  <a:pt x="9906" y="37337"/>
                </a:moveTo>
                <a:lnTo>
                  <a:pt x="9906" y="9906"/>
                </a:lnTo>
                <a:lnTo>
                  <a:pt x="5334" y="9906"/>
                </a:lnTo>
                <a:lnTo>
                  <a:pt x="5334" y="37337"/>
                </a:lnTo>
                <a:lnTo>
                  <a:pt x="9906" y="37337"/>
                </a:lnTo>
                <a:close/>
              </a:path>
              <a:path w="493395" h="47625">
                <a:moveTo>
                  <a:pt x="487679" y="37337"/>
                </a:moveTo>
                <a:lnTo>
                  <a:pt x="5334" y="37337"/>
                </a:lnTo>
                <a:lnTo>
                  <a:pt x="9906" y="41910"/>
                </a:lnTo>
                <a:lnTo>
                  <a:pt x="9906" y="47244"/>
                </a:lnTo>
                <a:lnTo>
                  <a:pt x="483107" y="47244"/>
                </a:lnTo>
                <a:lnTo>
                  <a:pt x="483107" y="41910"/>
                </a:lnTo>
                <a:lnTo>
                  <a:pt x="487679" y="37337"/>
                </a:lnTo>
                <a:close/>
              </a:path>
              <a:path w="493395" h="47625">
                <a:moveTo>
                  <a:pt x="9906" y="47244"/>
                </a:moveTo>
                <a:lnTo>
                  <a:pt x="9906" y="41910"/>
                </a:lnTo>
                <a:lnTo>
                  <a:pt x="5334" y="37337"/>
                </a:lnTo>
                <a:lnTo>
                  <a:pt x="5334" y="47244"/>
                </a:lnTo>
                <a:lnTo>
                  <a:pt x="9906" y="47244"/>
                </a:lnTo>
                <a:close/>
              </a:path>
              <a:path w="493395" h="47625">
                <a:moveTo>
                  <a:pt x="487679" y="9906"/>
                </a:moveTo>
                <a:lnTo>
                  <a:pt x="483107" y="4572"/>
                </a:lnTo>
                <a:lnTo>
                  <a:pt x="483107" y="9906"/>
                </a:lnTo>
                <a:lnTo>
                  <a:pt x="487679" y="9906"/>
                </a:lnTo>
                <a:close/>
              </a:path>
              <a:path w="493395" h="47625">
                <a:moveTo>
                  <a:pt x="487679" y="37337"/>
                </a:moveTo>
                <a:lnTo>
                  <a:pt x="487679" y="9906"/>
                </a:lnTo>
                <a:lnTo>
                  <a:pt x="483107" y="9906"/>
                </a:lnTo>
                <a:lnTo>
                  <a:pt x="483107" y="37337"/>
                </a:lnTo>
                <a:lnTo>
                  <a:pt x="487679" y="37337"/>
                </a:lnTo>
                <a:close/>
              </a:path>
              <a:path w="493395" h="47625">
                <a:moveTo>
                  <a:pt x="487679" y="47244"/>
                </a:moveTo>
                <a:lnTo>
                  <a:pt x="487679" y="37337"/>
                </a:lnTo>
                <a:lnTo>
                  <a:pt x="483107" y="41910"/>
                </a:lnTo>
                <a:lnTo>
                  <a:pt x="483107" y="47244"/>
                </a:lnTo>
                <a:lnTo>
                  <a:pt x="487679" y="47244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7" name="object 129"/>
          <p:cNvSpPr/>
          <p:nvPr/>
        </p:nvSpPr>
        <p:spPr>
          <a:xfrm>
            <a:off x="3599535" y="1420227"/>
            <a:ext cx="2216809" cy="74209"/>
          </a:xfrm>
          <a:custGeom>
            <a:avLst/>
            <a:gdLst/>
            <a:ahLst/>
            <a:cxnLst/>
            <a:rect l="l" t="t" r="r" b="b"/>
            <a:pathLst>
              <a:path w="3355975" h="167004">
                <a:moveTo>
                  <a:pt x="3355848" y="37337"/>
                </a:moveTo>
                <a:lnTo>
                  <a:pt x="3355848" y="0"/>
                </a:lnTo>
                <a:lnTo>
                  <a:pt x="603504" y="0"/>
                </a:lnTo>
                <a:lnTo>
                  <a:pt x="0" y="166877"/>
                </a:lnTo>
                <a:lnTo>
                  <a:pt x="72390" y="166877"/>
                </a:lnTo>
                <a:lnTo>
                  <a:pt x="603504" y="37337"/>
                </a:lnTo>
                <a:lnTo>
                  <a:pt x="3355848" y="37337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8" name="object 130"/>
          <p:cNvSpPr/>
          <p:nvPr/>
        </p:nvSpPr>
        <p:spPr>
          <a:xfrm>
            <a:off x="3596515" y="1418195"/>
            <a:ext cx="2223101" cy="78441"/>
          </a:xfrm>
          <a:custGeom>
            <a:avLst/>
            <a:gdLst/>
            <a:ahLst/>
            <a:cxnLst/>
            <a:rect l="l" t="t" r="r" b="b"/>
            <a:pathLst>
              <a:path w="3365500" h="176529">
                <a:moveTo>
                  <a:pt x="3364992" y="44195"/>
                </a:moveTo>
                <a:lnTo>
                  <a:pt x="3364992" y="1523"/>
                </a:lnTo>
                <a:lnTo>
                  <a:pt x="3363468" y="0"/>
                </a:lnTo>
                <a:lnTo>
                  <a:pt x="606552" y="0"/>
                </a:lnTo>
                <a:lnTo>
                  <a:pt x="3048" y="166878"/>
                </a:lnTo>
                <a:lnTo>
                  <a:pt x="762" y="167640"/>
                </a:lnTo>
                <a:lnTo>
                  <a:pt x="0" y="169926"/>
                </a:lnTo>
                <a:lnTo>
                  <a:pt x="0" y="174498"/>
                </a:lnTo>
                <a:lnTo>
                  <a:pt x="2286" y="176022"/>
                </a:lnTo>
                <a:lnTo>
                  <a:pt x="4572" y="176022"/>
                </a:lnTo>
                <a:lnTo>
                  <a:pt x="4572" y="166878"/>
                </a:lnTo>
                <a:lnTo>
                  <a:pt x="39122" y="166878"/>
                </a:lnTo>
                <a:lnTo>
                  <a:pt x="608076" y="9354"/>
                </a:lnTo>
                <a:lnTo>
                  <a:pt x="608076" y="9144"/>
                </a:lnTo>
                <a:lnTo>
                  <a:pt x="3355848" y="9143"/>
                </a:lnTo>
                <a:lnTo>
                  <a:pt x="3355848" y="4571"/>
                </a:lnTo>
                <a:lnTo>
                  <a:pt x="3360420" y="9143"/>
                </a:lnTo>
                <a:lnTo>
                  <a:pt x="3360420" y="46481"/>
                </a:lnTo>
                <a:lnTo>
                  <a:pt x="3363468" y="46481"/>
                </a:lnTo>
                <a:lnTo>
                  <a:pt x="3364992" y="44195"/>
                </a:lnTo>
                <a:close/>
              </a:path>
              <a:path w="3365500" h="176529">
                <a:moveTo>
                  <a:pt x="39122" y="166878"/>
                </a:moveTo>
                <a:lnTo>
                  <a:pt x="4572" y="166878"/>
                </a:lnTo>
                <a:lnTo>
                  <a:pt x="6096" y="176022"/>
                </a:lnTo>
                <a:lnTo>
                  <a:pt x="39122" y="166878"/>
                </a:lnTo>
                <a:close/>
              </a:path>
              <a:path w="3365500" h="176529">
                <a:moveTo>
                  <a:pt x="6096" y="176022"/>
                </a:moveTo>
                <a:lnTo>
                  <a:pt x="4572" y="166878"/>
                </a:lnTo>
                <a:lnTo>
                  <a:pt x="4572" y="176022"/>
                </a:lnTo>
                <a:lnTo>
                  <a:pt x="6096" y="176022"/>
                </a:lnTo>
                <a:close/>
              </a:path>
              <a:path w="3365500" h="176529">
                <a:moveTo>
                  <a:pt x="76962" y="176022"/>
                </a:moveTo>
                <a:lnTo>
                  <a:pt x="76962" y="166878"/>
                </a:lnTo>
                <a:lnTo>
                  <a:pt x="39122" y="166878"/>
                </a:lnTo>
                <a:lnTo>
                  <a:pt x="6096" y="176022"/>
                </a:lnTo>
                <a:lnTo>
                  <a:pt x="76962" y="176022"/>
                </a:lnTo>
                <a:close/>
              </a:path>
              <a:path w="3365500" h="176529">
                <a:moveTo>
                  <a:pt x="3360420" y="37337"/>
                </a:moveTo>
                <a:lnTo>
                  <a:pt x="606552" y="37338"/>
                </a:lnTo>
                <a:lnTo>
                  <a:pt x="76200" y="166878"/>
                </a:lnTo>
                <a:lnTo>
                  <a:pt x="76962" y="166878"/>
                </a:lnTo>
                <a:lnTo>
                  <a:pt x="76962" y="176022"/>
                </a:lnTo>
                <a:lnTo>
                  <a:pt x="78486" y="176022"/>
                </a:lnTo>
                <a:lnTo>
                  <a:pt x="608076" y="46668"/>
                </a:lnTo>
                <a:lnTo>
                  <a:pt x="608076" y="46482"/>
                </a:lnTo>
                <a:lnTo>
                  <a:pt x="3355848" y="46481"/>
                </a:lnTo>
                <a:lnTo>
                  <a:pt x="3355848" y="41909"/>
                </a:lnTo>
                <a:lnTo>
                  <a:pt x="3360420" y="37337"/>
                </a:lnTo>
                <a:close/>
              </a:path>
              <a:path w="3365500" h="176529">
                <a:moveTo>
                  <a:pt x="608838" y="9144"/>
                </a:moveTo>
                <a:lnTo>
                  <a:pt x="608076" y="9144"/>
                </a:lnTo>
                <a:lnTo>
                  <a:pt x="608076" y="9354"/>
                </a:lnTo>
                <a:lnTo>
                  <a:pt x="608838" y="9144"/>
                </a:lnTo>
                <a:close/>
              </a:path>
              <a:path w="3365500" h="176529">
                <a:moveTo>
                  <a:pt x="608838" y="46482"/>
                </a:moveTo>
                <a:lnTo>
                  <a:pt x="608076" y="46482"/>
                </a:lnTo>
                <a:lnTo>
                  <a:pt x="608076" y="46668"/>
                </a:lnTo>
                <a:lnTo>
                  <a:pt x="608838" y="46482"/>
                </a:lnTo>
                <a:close/>
              </a:path>
              <a:path w="3365500" h="176529">
                <a:moveTo>
                  <a:pt x="3360420" y="9143"/>
                </a:moveTo>
                <a:lnTo>
                  <a:pt x="3355848" y="4571"/>
                </a:lnTo>
                <a:lnTo>
                  <a:pt x="3355848" y="9143"/>
                </a:lnTo>
                <a:lnTo>
                  <a:pt x="3360420" y="9143"/>
                </a:lnTo>
                <a:close/>
              </a:path>
              <a:path w="3365500" h="176529">
                <a:moveTo>
                  <a:pt x="3360420" y="37337"/>
                </a:moveTo>
                <a:lnTo>
                  <a:pt x="3360420" y="9143"/>
                </a:lnTo>
                <a:lnTo>
                  <a:pt x="3355848" y="9143"/>
                </a:lnTo>
                <a:lnTo>
                  <a:pt x="3355848" y="37337"/>
                </a:lnTo>
                <a:lnTo>
                  <a:pt x="3360420" y="37337"/>
                </a:lnTo>
                <a:close/>
              </a:path>
              <a:path w="3365500" h="176529">
                <a:moveTo>
                  <a:pt x="3360420" y="46481"/>
                </a:moveTo>
                <a:lnTo>
                  <a:pt x="3360420" y="37337"/>
                </a:lnTo>
                <a:lnTo>
                  <a:pt x="3355848" y="41909"/>
                </a:lnTo>
                <a:lnTo>
                  <a:pt x="3355848" y="46481"/>
                </a:lnTo>
                <a:lnTo>
                  <a:pt x="3360420" y="464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9" name="object 131"/>
          <p:cNvSpPr/>
          <p:nvPr/>
        </p:nvSpPr>
        <p:spPr>
          <a:xfrm>
            <a:off x="4463767" y="1410577"/>
            <a:ext cx="319203" cy="0"/>
          </a:xfrm>
          <a:custGeom>
            <a:avLst/>
            <a:gdLst/>
            <a:ahLst/>
            <a:cxnLst/>
            <a:rect l="l" t="t" r="r" b="b"/>
            <a:pathLst>
              <a:path w="483234">
                <a:moveTo>
                  <a:pt x="0" y="0"/>
                </a:moveTo>
                <a:lnTo>
                  <a:pt x="483107" y="0"/>
                </a:lnTo>
              </a:path>
            </a:pathLst>
          </a:custGeom>
          <a:ln w="37337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0" name="object 132"/>
          <p:cNvSpPr/>
          <p:nvPr/>
        </p:nvSpPr>
        <p:spPr>
          <a:xfrm>
            <a:off x="4460756" y="1399912"/>
            <a:ext cx="325495" cy="21162"/>
          </a:xfrm>
          <a:custGeom>
            <a:avLst/>
            <a:gdLst/>
            <a:ahLst/>
            <a:cxnLst/>
            <a:rect l="l" t="t" r="r" b="b"/>
            <a:pathLst>
              <a:path w="492759" h="47625">
                <a:moveTo>
                  <a:pt x="492251" y="47244"/>
                </a:moveTo>
                <a:lnTo>
                  <a:pt x="492251" y="0"/>
                </a:lnTo>
                <a:lnTo>
                  <a:pt x="0" y="0"/>
                </a:lnTo>
                <a:lnTo>
                  <a:pt x="0" y="47244"/>
                </a:lnTo>
                <a:lnTo>
                  <a:pt x="4559" y="47244"/>
                </a:lnTo>
                <a:lnTo>
                  <a:pt x="4559" y="9906"/>
                </a:lnTo>
                <a:lnTo>
                  <a:pt x="9144" y="5334"/>
                </a:lnTo>
                <a:lnTo>
                  <a:pt x="9144" y="9906"/>
                </a:lnTo>
                <a:lnTo>
                  <a:pt x="483095" y="9906"/>
                </a:lnTo>
                <a:lnTo>
                  <a:pt x="483095" y="5334"/>
                </a:lnTo>
                <a:lnTo>
                  <a:pt x="487679" y="9906"/>
                </a:lnTo>
                <a:lnTo>
                  <a:pt x="487679" y="47244"/>
                </a:lnTo>
                <a:lnTo>
                  <a:pt x="492251" y="47244"/>
                </a:lnTo>
                <a:close/>
              </a:path>
              <a:path w="492759" h="47625">
                <a:moveTo>
                  <a:pt x="9144" y="9906"/>
                </a:moveTo>
                <a:lnTo>
                  <a:pt x="9144" y="5334"/>
                </a:lnTo>
                <a:lnTo>
                  <a:pt x="4559" y="9906"/>
                </a:lnTo>
                <a:lnTo>
                  <a:pt x="9144" y="9906"/>
                </a:lnTo>
                <a:close/>
              </a:path>
              <a:path w="492759" h="47625">
                <a:moveTo>
                  <a:pt x="9144" y="37337"/>
                </a:moveTo>
                <a:lnTo>
                  <a:pt x="9144" y="9906"/>
                </a:lnTo>
                <a:lnTo>
                  <a:pt x="4559" y="9906"/>
                </a:lnTo>
                <a:lnTo>
                  <a:pt x="4559" y="37337"/>
                </a:lnTo>
                <a:lnTo>
                  <a:pt x="9144" y="37337"/>
                </a:lnTo>
                <a:close/>
              </a:path>
              <a:path w="492759" h="47625">
                <a:moveTo>
                  <a:pt x="487679" y="37337"/>
                </a:moveTo>
                <a:lnTo>
                  <a:pt x="4559" y="37337"/>
                </a:lnTo>
                <a:lnTo>
                  <a:pt x="9144" y="42672"/>
                </a:lnTo>
                <a:lnTo>
                  <a:pt x="9144" y="47244"/>
                </a:lnTo>
                <a:lnTo>
                  <a:pt x="483095" y="47244"/>
                </a:lnTo>
                <a:lnTo>
                  <a:pt x="483095" y="42672"/>
                </a:lnTo>
                <a:lnTo>
                  <a:pt x="487679" y="37337"/>
                </a:lnTo>
                <a:close/>
              </a:path>
              <a:path w="492759" h="47625">
                <a:moveTo>
                  <a:pt x="9144" y="47244"/>
                </a:moveTo>
                <a:lnTo>
                  <a:pt x="9144" y="42672"/>
                </a:lnTo>
                <a:lnTo>
                  <a:pt x="4559" y="37337"/>
                </a:lnTo>
                <a:lnTo>
                  <a:pt x="4559" y="47244"/>
                </a:lnTo>
                <a:lnTo>
                  <a:pt x="9144" y="47244"/>
                </a:lnTo>
                <a:close/>
              </a:path>
              <a:path w="492759" h="47625">
                <a:moveTo>
                  <a:pt x="487679" y="9906"/>
                </a:moveTo>
                <a:lnTo>
                  <a:pt x="483095" y="5334"/>
                </a:lnTo>
                <a:lnTo>
                  <a:pt x="483095" y="9906"/>
                </a:lnTo>
                <a:lnTo>
                  <a:pt x="487679" y="9906"/>
                </a:lnTo>
                <a:close/>
              </a:path>
              <a:path w="492759" h="47625">
                <a:moveTo>
                  <a:pt x="487679" y="37337"/>
                </a:moveTo>
                <a:lnTo>
                  <a:pt x="487679" y="9906"/>
                </a:lnTo>
                <a:lnTo>
                  <a:pt x="483095" y="9906"/>
                </a:lnTo>
                <a:lnTo>
                  <a:pt x="483095" y="37337"/>
                </a:lnTo>
                <a:lnTo>
                  <a:pt x="487679" y="37337"/>
                </a:lnTo>
                <a:close/>
              </a:path>
              <a:path w="492759" h="47625">
                <a:moveTo>
                  <a:pt x="487679" y="47244"/>
                </a:moveTo>
                <a:lnTo>
                  <a:pt x="487679" y="37337"/>
                </a:lnTo>
                <a:lnTo>
                  <a:pt x="483095" y="42672"/>
                </a:lnTo>
                <a:lnTo>
                  <a:pt x="483095" y="47244"/>
                </a:lnTo>
                <a:lnTo>
                  <a:pt x="487679" y="47244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1" name="object 133"/>
          <p:cNvSpPr/>
          <p:nvPr/>
        </p:nvSpPr>
        <p:spPr>
          <a:xfrm>
            <a:off x="4862927" y="1410239"/>
            <a:ext cx="318785" cy="0"/>
          </a:xfrm>
          <a:custGeom>
            <a:avLst/>
            <a:gdLst/>
            <a:ahLst/>
            <a:cxnLst/>
            <a:rect l="l" t="t" r="r" b="b"/>
            <a:pathLst>
              <a:path w="482600">
                <a:moveTo>
                  <a:pt x="0" y="0"/>
                </a:moveTo>
                <a:lnTo>
                  <a:pt x="482346" y="0"/>
                </a:lnTo>
              </a:path>
            </a:pathLst>
          </a:custGeom>
          <a:ln w="37337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2" name="object 134"/>
          <p:cNvSpPr/>
          <p:nvPr/>
        </p:nvSpPr>
        <p:spPr>
          <a:xfrm>
            <a:off x="4859405" y="1399573"/>
            <a:ext cx="325914" cy="21162"/>
          </a:xfrm>
          <a:custGeom>
            <a:avLst/>
            <a:gdLst/>
            <a:ahLst/>
            <a:cxnLst/>
            <a:rect l="l" t="t" r="r" b="b"/>
            <a:pathLst>
              <a:path w="493395" h="47625">
                <a:moveTo>
                  <a:pt x="493014" y="47244"/>
                </a:moveTo>
                <a:lnTo>
                  <a:pt x="493014" y="0"/>
                </a:lnTo>
                <a:lnTo>
                  <a:pt x="0" y="0"/>
                </a:lnTo>
                <a:lnTo>
                  <a:pt x="0" y="47244"/>
                </a:lnTo>
                <a:lnTo>
                  <a:pt x="5333" y="47244"/>
                </a:lnTo>
                <a:lnTo>
                  <a:pt x="5333" y="9906"/>
                </a:lnTo>
                <a:lnTo>
                  <a:pt x="9893" y="5334"/>
                </a:lnTo>
                <a:lnTo>
                  <a:pt x="9893" y="9906"/>
                </a:lnTo>
                <a:lnTo>
                  <a:pt x="483095" y="9906"/>
                </a:lnTo>
                <a:lnTo>
                  <a:pt x="483095" y="5334"/>
                </a:lnTo>
                <a:lnTo>
                  <a:pt x="487667" y="9906"/>
                </a:lnTo>
                <a:lnTo>
                  <a:pt x="487667" y="47244"/>
                </a:lnTo>
                <a:lnTo>
                  <a:pt x="493014" y="47244"/>
                </a:lnTo>
                <a:close/>
              </a:path>
              <a:path w="493395" h="47625">
                <a:moveTo>
                  <a:pt x="9893" y="9906"/>
                </a:moveTo>
                <a:lnTo>
                  <a:pt x="9893" y="5334"/>
                </a:lnTo>
                <a:lnTo>
                  <a:pt x="5333" y="9906"/>
                </a:lnTo>
                <a:lnTo>
                  <a:pt x="9893" y="9906"/>
                </a:lnTo>
                <a:close/>
              </a:path>
              <a:path w="493395" h="47625">
                <a:moveTo>
                  <a:pt x="9893" y="37337"/>
                </a:moveTo>
                <a:lnTo>
                  <a:pt x="9893" y="9906"/>
                </a:lnTo>
                <a:lnTo>
                  <a:pt x="5333" y="9906"/>
                </a:lnTo>
                <a:lnTo>
                  <a:pt x="5333" y="37337"/>
                </a:lnTo>
                <a:lnTo>
                  <a:pt x="9893" y="37337"/>
                </a:lnTo>
                <a:close/>
              </a:path>
              <a:path w="493395" h="47625">
                <a:moveTo>
                  <a:pt x="487667" y="37337"/>
                </a:moveTo>
                <a:lnTo>
                  <a:pt x="5333" y="37337"/>
                </a:lnTo>
                <a:lnTo>
                  <a:pt x="9893" y="42672"/>
                </a:lnTo>
                <a:lnTo>
                  <a:pt x="9893" y="47244"/>
                </a:lnTo>
                <a:lnTo>
                  <a:pt x="483095" y="47244"/>
                </a:lnTo>
                <a:lnTo>
                  <a:pt x="483095" y="42672"/>
                </a:lnTo>
                <a:lnTo>
                  <a:pt x="487667" y="37337"/>
                </a:lnTo>
                <a:close/>
              </a:path>
              <a:path w="493395" h="47625">
                <a:moveTo>
                  <a:pt x="9893" y="47244"/>
                </a:moveTo>
                <a:lnTo>
                  <a:pt x="9893" y="42672"/>
                </a:lnTo>
                <a:lnTo>
                  <a:pt x="5333" y="37337"/>
                </a:lnTo>
                <a:lnTo>
                  <a:pt x="5333" y="47244"/>
                </a:lnTo>
                <a:lnTo>
                  <a:pt x="9893" y="47244"/>
                </a:lnTo>
                <a:close/>
              </a:path>
              <a:path w="493395" h="47625">
                <a:moveTo>
                  <a:pt x="487667" y="9906"/>
                </a:moveTo>
                <a:lnTo>
                  <a:pt x="483095" y="5334"/>
                </a:lnTo>
                <a:lnTo>
                  <a:pt x="483095" y="9906"/>
                </a:lnTo>
                <a:lnTo>
                  <a:pt x="487667" y="9906"/>
                </a:lnTo>
                <a:close/>
              </a:path>
              <a:path w="493395" h="47625">
                <a:moveTo>
                  <a:pt x="487667" y="37337"/>
                </a:moveTo>
                <a:lnTo>
                  <a:pt x="487667" y="9906"/>
                </a:lnTo>
                <a:lnTo>
                  <a:pt x="483095" y="9906"/>
                </a:lnTo>
                <a:lnTo>
                  <a:pt x="483095" y="37337"/>
                </a:lnTo>
                <a:lnTo>
                  <a:pt x="487667" y="37337"/>
                </a:lnTo>
                <a:close/>
              </a:path>
              <a:path w="493395" h="47625">
                <a:moveTo>
                  <a:pt x="487667" y="47244"/>
                </a:moveTo>
                <a:lnTo>
                  <a:pt x="487667" y="37337"/>
                </a:lnTo>
                <a:lnTo>
                  <a:pt x="483095" y="42672"/>
                </a:lnTo>
                <a:lnTo>
                  <a:pt x="483095" y="47244"/>
                </a:lnTo>
                <a:lnTo>
                  <a:pt x="487667" y="47244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3" name="object 135"/>
          <p:cNvSpPr/>
          <p:nvPr/>
        </p:nvSpPr>
        <p:spPr>
          <a:xfrm>
            <a:off x="5258556" y="1410239"/>
            <a:ext cx="319203" cy="0"/>
          </a:xfrm>
          <a:custGeom>
            <a:avLst/>
            <a:gdLst/>
            <a:ahLst/>
            <a:cxnLst/>
            <a:rect l="l" t="t" r="r" b="b"/>
            <a:pathLst>
              <a:path w="483234">
                <a:moveTo>
                  <a:pt x="0" y="0"/>
                </a:moveTo>
                <a:lnTo>
                  <a:pt x="483107" y="0"/>
                </a:lnTo>
              </a:path>
            </a:pathLst>
          </a:custGeom>
          <a:ln w="37337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4" name="object 136"/>
          <p:cNvSpPr/>
          <p:nvPr/>
        </p:nvSpPr>
        <p:spPr>
          <a:xfrm>
            <a:off x="5255528" y="1399573"/>
            <a:ext cx="325914" cy="21162"/>
          </a:xfrm>
          <a:custGeom>
            <a:avLst/>
            <a:gdLst/>
            <a:ahLst/>
            <a:cxnLst/>
            <a:rect l="l" t="t" r="r" b="b"/>
            <a:pathLst>
              <a:path w="493395" h="47625">
                <a:moveTo>
                  <a:pt x="493014" y="47244"/>
                </a:moveTo>
                <a:lnTo>
                  <a:pt x="493014" y="0"/>
                </a:lnTo>
                <a:lnTo>
                  <a:pt x="0" y="0"/>
                </a:lnTo>
                <a:lnTo>
                  <a:pt x="0" y="47244"/>
                </a:lnTo>
                <a:lnTo>
                  <a:pt x="4584" y="47244"/>
                </a:lnTo>
                <a:lnTo>
                  <a:pt x="4584" y="9906"/>
                </a:lnTo>
                <a:lnTo>
                  <a:pt x="9918" y="5334"/>
                </a:lnTo>
                <a:lnTo>
                  <a:pt x="9918" y="9906"/>
                </a:lnTo>
                <a:lnTo>
                  <a:pt x="483120" y="9906"/>
                </a:lnTo>
                <a:lnTo>
                  <a:pt x="483120" y="5334"/>
                </a:lnTo>
                <a:lnTo>
                  <a:pt x="487692" y="9906"/>
                </a:lnTo>
                <a:lnTo>
                  <a:pt x="487692" y="47244"/>
                </a:lnTo>
                <a:lnTo>
                  <a:pt x="493014" y="47244"/>
                </a:lnTo>
                <a:close/>
              </a:path>
              <a:path w="493395" h="47625">
                <a:moveTo>
                  <a:pt x="9918" y="9906"/>
                </a:moveTo>
                <a:lnTo>
                  <a:pt x="9918" y="5334"/>
                </a:lnTo>
                <a:lnTo>
                  <a:pt x="4584" y="9906"/>
                </a:lnTo>
                <a:lnTo>
                  <a:pt x="9918" y="9906"/>
                </a:lnTo>
                <a:close/>
              </a:path>
              <a:path w="493395" h="47625">
                <a:moveTo>
                  <a:pt x="9918" y="37337"/>
                </a:moveTo>
                <a:lnTo>
                  <a:pt x="9918" y="9906"/>
                </a:lnTo>
                <a:lnTo>
                  <a:pt x="4584" y="9906"/>
                </a:lnTo>
                <a:lnTo>
                  <a:pt x="4584" y="37337"/>
                </a:lnTo>
                <a:lnTo>
                  <a:pt x="9918" y="37337"/>
                </a:lnTo>
                <a:close/>
              </a:path>
              <a:path w="493395" h="47625">
                <a:moveTo>
                  <a:pt x="487692" y="37337"/>
                </a:moveTo>
                <a:lnTo>
                  <a:pt x="4584" y="37337"/>
                </a:lnTo>
                <a:lnTo>
                  <a:pt x="9918" y="42672"/>
                </a:lnTo>
                <a:lnTo>
                  <a:pt x="9918" y="47244"/>
                </a:lnTo>
                <a:lnTo>
                  <a:pt x="483120" y="47244"/>
                </a:lnTo>
                <a:lnTo>
                  <a:pt x="483120" y="42672"/>
                </a:lnTo>
                <a:lnTo>
                  <a:pt x="487692" y="37337"/>
                </a:lnTo>
                <a:close/>
              </a:path>
              <a:path w="493395" h="47625">
                <a:moveTo>
                  <a:pt x="9918" y="47244"/>
                </a:moveTo>
                <a:lnTo>
                  <a:pt x="9918" y="42672"/>
                </a:lnTo>
                <a:lnTo>
                  <a:pt x="4584" y="37337"/>
                </a:lnTo>
                <a:lnTo>
                  <a:pt x="4584" y="47244"/>
                </a:lnTo>
                <a:lnTo>
                  <a:pt x="9918" y="47244"/>
                </a:lnTo>
                <a:close/>
              </a:path>
              <a:path w="493395" h="47625">
                <a:moveTo>
                  <a:pt x="487692" y="9906"/>
                </a:moveTo>
                <a:lnTo>
                  <a:pt x="483120" y="5334"/>
                </a:lnTo>
                <a:lnTo>
                  <a:pt x="483120" y="9906"/>
                </a:lnTo>
                <a:lnTo>
                  <a:pt x="487692" y="9906"/>
                </a:lnTo>
                <a:close/>
              </a:path>
              <a:path w="493395" h="47625">
                <a:moveTo>
                  <a:pt x="487692" y="37337"/>
                </a:moveTo>
                <a:lnTo>
                  <a:pt x="487692" y="9906"/>
                </a:lnTo>
                <a:lnTo>
                  <a:pt x="483120" y="9906"/>
                </a:lnTo>
                <a:lnTo>
                  <a:pt x="483120" y="37337"/>
                </a:lnTo>
                <a:lnTo>
                  <a:pt x="487692" y="37337"/>
                </a:lnTo>
                <a:close/>
              </a:path>
              <a:path w="493395" h="47625">
                <a:moveTo>
                  <a:pt x="487692" y="47244"/>
                </a:moveTo>
                <a:lnTo>
                  <a:pt x="487692" y="37337"/>
                </a:lnTo>
                <a:lnTo>
                  <a:pt x="483120" y="42672"/>
                </a:lnTo>
                <a:lnTo>
                  <a:pt x="483120" y="47244"/>
                </a:lnTo>
                <a:lnTo>
                  <a:pt x="487692" y="47244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5" name="object 137"/>
          <p:cNvSpPr/>
          <p:nvPr/>
        </p:nvSpPr>
        <p:spPr>
          <a:xfrm>
            <a:off x="4065127" y="1568532"/>
            <a:ext cx="318785" cy="0"/>
          </a:xfrm>
          <a:custGeom>
            <a:avLst/>
            <a:gdLst/>
            <a:ahLst/>
            <a:cxnLst/>
            <a:rect l="l" t="t" r="r" b="b"/>
            <a:pathLst>
              <a:path w="482600">
                <a:moveTo>
                  <a:pt x="0" y="0"/>
                </a:moveTo>
                <a:lnTo>
                  <a:pt x="482345" y="0"/>
                </a:lnTo>
              </a:path>
            </a:pathLst>
          </a:custGeom>
          <a:ln w="2895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6" name="object 138"/>
          <p:cNvSpPr/>
          <p:nvPr/>
        </p:nvSpPr>
        <p:spPr>
          <a:xfrm>
            <a:off x="4061605" y="1560067"/>
            <a:ext cx="325914" cy="17495"/>
          </a:xfrm>
          <a:custGeom>
            <a:avLst/>
            <a:gdLst/>
            <a:ahLst/>
            <a:cxnLst/>
            <a:rect l="l" t="t" r="r" b="b"/>
            <a:pathLst>
              <a:path w="493395" h="39370">
                <a:moveTo>
                  <a:pt x="493014" y="38862"/>
                </a:moveTo>
                <a:lnTo>
                  <a:pt x="493014" y="0"/>
                </a:lnTo>
                <a:lnTo>
                  <a:pt x="0" y="0"/>
                </a:lnTo>
                <a:lnTo>
                  <a:pt x="0" y="38862"/>
                </a:lnTo>
                <a:lnTo>
                  <a:pt x="5334" y="38862"/>
                </a:lnTo>
                <a:lnTo>
                  <a:pt x="5334" y="9144"/>
                </a:lnTo>
                <a:lnTo>
                  <a:pt x="9906" y="4572"/>
                </a:lnTo>
                <a:lnTo>
                  <a:pt x="9906" y="9144"/>
                </a:lnTo>
                <a:lnTo>
                  <a:pt x="483107" y="9144"/>
                </a:lnTo>
                <a:lnTo>
                  <a:pt x="483107" y="4572"/>
                </a:lnTo>
                <a:lnTo>
                  <a:pt x="487679" y="9144"/>
                </a:lnTo>
                <a:lnTo>
                  <a:pt x="487679" y="38862"/>
                </a:lnTo>
                <a:lnTo>
                  <a:pt x="493014" y="38862"/>
                </a:lnTo>
                <a:close/>
              </a:path>
              <a:path w="493395" h="39370">
                <a:moveTo>
                  <a:pt x="9906" y="9144"/>
                </a:moveTo>
                <a:lnTo>
                  <a:pt x="9906" y="4572"/>
                </a:lnTo>
                <a:lnTo>
                  <a:pt x="5334" y="9144"/>
                </a:lnTo>
                <a:lnTo>
                  <a:pt x="9906" y="9144"/>
                </a:lnTo>
                <a:close/>
              </a:path>
              <a:path w="493395" h="39370">
                <a:moveTo>
                  <a:pt x="9906" y="28956"/>
                </a:moveTo>
                <a:lnTo>
                  <a:pt x="9906" y="9144"/>
                </a:lnTo>
                <a:lnTo>
                  <a:pt x="5334" y="9144"/>
                </a:lnTo>
                <a:lnTo>
                  <a:pt x="5334" y="28956"/>
                </a:lnTo>
                <a:lnTo>
                  <a:pt x="9906" y="28956"/>
                </a:lnTo>
                <a:close/>
              </a:path>
              <a:path w="493395" h="39370">
                <a:moveTo>
                  <a:pt x="487679" y="28956"/>
                </a:moveTo>
                <a:lnTo>
                  <a:pt x="5334" y="28956"/>
                </a:lnTo>
                <a:lnTo>
                  <a:pt x="9906" y="33528"/>
                </a:lnTo>
                <a:lnTo>
                  <a:pt x="9906" y="38862"/>
                </a:lnTo>
                <a:lnTo>
                  <a:pt x="483107" y="38862"/>
                </a:lnTo>
                <a:lnTo>
                  <a:pt x="483107" y="33528"/>
                </a:lnTo>
                <a:lnTo>
                  <a:pt x="487679" y="28956"/>
                </a:lnTo>
                <a:close/>
              </a:path>
              <a:path w="493395" h="39370">
                <a:moveTo>
                  <a:pt x="9906" y="38862"/>
                </a:moveTo>
                <a:lnTo>
                  <a:pt x="9906" y="33528"/>
                </a:lnTo>
                <a:lnTo>
                  <a:pt x="5334" y="28956"/>
                </a:lnTo>
                <a:lnTo>
                  <a:pt x="5334" y="38862"/>
                </a:lnTo>
                <a:lnTo>
                  <a:pt x="9906" y="38862"/>
                </a:lnTo>
                <a:close/>
              </a:path>
              <a:path w="493395" h="39370">
                <a:moveTo>
                  <a:pt x="487679" y="9144"/>
                </a:moveTo>
                <a:lnTo>
                  <a:pt x="483107" y="4572"/>
                </a:lnTo>
                <a:lnTo>
                  <a:pt x="483107" y="9144"/>
                </a:lnTo>
                <a:lnTo>
                  <a:pt x="487679" y="9144"/>
                </a:lnTo>
                <a:close/>
              </a:path>
              <a:path w="493395" h="39370">
                <a:moveTo>
                  <a:pt x="487679" y="28956"/>
                </a:moveTo>
                <a:lnTo>
                  <a:pt x="487679" y="9144"/>
                </a:lnTo>
                <a:lnTo>
                  <a:pt x="483107" y="9144"/>
                </a:lnTo>
                <a:lnTo>
                  <a:pt x="483107" y="28956"/>
                </a:lnTo>
                <a:lnTo>
                  <a:pt x="487679" y="28956"/>
                </a:lnTo>
                <a:close/>
              </a:path>
              <a:path w="493395" h="39370">
                <a:moveTo>
                  <a:pt x="487679" y="38862"/>
                </a:moveTo>
                <a:lnTo>
                  <a:pt x="487679" y="28956"/>
                </a:lnTo>
                <a:lnTo>
                  <a:pt x="483107" y="33528"/>
                </a:lnTo>
                <a:lnTo>
                  <a:pt x="483107" y="38862"/>
                </a:lnTo>
                <a:lnTo>
                  <a:pt x="487679" y="3886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7" name="object 139"/>
          <p:cNvSpPr/>
          <p:nvPr/>
        </p:nvSpPr>
        <p:spPr>
          <a:xfrm>
            <a:off x="3599535" y="1503184"/>
            <a:ext cx="2216809" cy="58125"/>
          </a:xfrm>
          <a:custGeom>
            <a:avLst/>
            <a:gdLst/>
            <a:ahLst/>
            <a:cxnLst/>
            <a:rect l="l" t="t" r="r" b="b"/>
            <a:pathLst>
              <a:path w="3355975" h="130810">
                <a:moveTo>
                  <a:pt x="3355848" y="130301"/>
                </a:moveTo>
                <a:lnTo>
                  <a:pt x="3355848" y="101345"/>
                </a:lnTo>
                <a:lnTo>
                  <a:pt x="603504" y="101345"/>
                </a:lnTo>
                <a:lnTo>
                  <a:pt x="72390" y="0"/>
                </a:lnTo>
                <a:lnTo>
                  <a:pt x="0" y="0"/>
                </a:lnTo>
                <a:lnTo>
                  <a:pt x="603504" y="130301"/>
                </a:lnTo>
                <a:lnTo>
                  <a:pt x="3355848" y="130301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8" name="object 140"/>
          <p:cNvSpPr/>
          <p:nvPr/>
        </p:nvSpPr>
        <p:spPr>
          <a:xfrm>
            <a:off x="3596515" y="1500813"/>
            <a:ext cx="2223101" cy="62641"/>
          </a:xfrm>
          <a:custGeom>
            <a:avLst/>
            <a:gdLst/>
            <a:ahLst/>
            <a:cxnLst/>
            <a:rect l="l" t="t" r="r" b="b"/>
            <a:pathLst>
              <a:path w="3365500" h="140970">
                <a:moveTo>
                  <a:pt x="608838" y="102107"/>
                </a:moveTo>
                <a:lnTo>
                  <a:pt x="77724" y="761"/>
                </a:lnTo>
                <a:lnTo>
                  <a:pt x="77724" y="0"/>
                </a:lnTo>
                <a:lnTo>
                  <a:pt x="2286" y="0"/>
                </a:lnTo>
                <a:lnTo>
                  <a:pt x="0" y="2286"/>
                </a:lnTo>
                <a:lnTo>
                  <a:pt x="0" y="6858"/>
                </a:lnTo>
                <a:lnTo>
                  <a:pt x="1524" y="9144"/>
                </a:lnTo>
                <a:lnTo>
                  <a:pt x="3810" y="9906"/>
                </a:lnTo>
                <a:lnTo>
                  <a:pt x="4572" y="10070"/>
                </a:lnTo>
                <a:lnTo>
                  <a:pt x="4572" y="9906"/>
                </a:lnTo>
                <a:lnTo>
                  <a:pt x="5334" y="761"/>
                </a:lnTo>
                <a:lnTo>
                  <a:pt x="47685" y="9905"/>
                </a:lnTo>
                <a:lnTo>
                  <a:pt x="76962" y="9905"/>
                </a:lnTo>
                <a:lnTo>
                  <a:pt x="76962" y="10051"/>
                </a:lnTo>
                <a:lnTo>
                  <a:pt x="606552" y="111251"/>
                </a:lnTo>
                <a:lnTo>
                  <a:pt x="608076" y="111251"/>
                </a:lnTo>
                <a:lnTo>
                  <a:pt x="608076" y="102107"/>
                </a:lnTo>
                <a:lnTo>
                  <a:pt x="608838" y="102107"/>
                </a:lnTo>
                <a:close/>
              </a:path>
              <a:path w="3365500" h="140970">
                <a:moveTo>
                  <a:pt x="47685" y="9905"/>
                </a:moveTo>
                <a:lnTo>
                  <a:pt x="5334" y="761"/>
                </a:lnTo>
                <a:lnTo>
                  <a:pt x="4572" y="9906"/>
                </a:lnTo>
                <a:lnTo>
                  <a:pt x="47685" y="9905"/>
                </a:lnTo>
                <a:close/>
              </a:path>
              <a:path w="3365500" h="140970">
                <a:moveTo>
                  <a:pt x="608838" y="131063"/>
                </a:moveTo>
                <a:lnTo>
                  <a:pt x="47685" y="9905"/>
                </a:lnTo>
                <a:lnTo>
                  <a:pt x="4572" y="9906"/>
                </a:lnTo>
                <a:lnTo>
                  <a:pt x="4572" y="10070"/>
                </a:lnTo>
                <a:lnTo>
                  <a:pt x="606552" y="140207"/>
                </a:lnTo>
                <a:lnTo>
                  <a:pt x="607314" y="140207"/>
                </a:lnTo>
                <a:lnTo>
                  <a:pt x="607314" y="140969"/>
                </a:lnTo>
                <a:lnTo>
                  <a:pt x="608076" y="140969"/>
                </a:lnTo>
                <a:lnTo>
                  <a:pt x="608076" y="131063"/>
                </a:lnTo>
                <a:lnTo>
                  <a:pt x="608838" y="131063"/>
                </a:lnTo>
                <a:close/>
              </a:path>
              <a:path w="3365500" h="140970">
                <a:moveTo>
                  <a:pt x="76962" y="10051"/>
                </a:moveTo>
                <a:lnTo>
                  <a:pt x="76962" y="9905"/>
                </a:lnTo>
                <a:lnTo>
                  <a:pt x="76200" y="9905"/>
                </a:lnTo>
                <a:lnTo>
                  <a:pt x="76962" y="10051"/>
                </a:lnTo>
                <a:close/>
              </a:path>
              <a:path w="3365500" h="140970">
                <a:moveTo>
                  <a:pt x="3364992" y="138683"/>
                </a:moveTo>
                <a:lnTo>
                  <a:pt x="3364992" y="103631"/>
                </a:lnTo>
                <a:lnTo>
                  <a:pt x="3363468" y="102107"/>
                </a:lnTo>
                <a:lnTo>
                  <a:pt x="608076" y="102107"/>
                </a:lnTo>
                <a:lnTo>
                  <a:pt x="608076" y="111251"/>
                </a:lnTo>
                <a:lnTo>
                  <a:pt x="3355848" y="111251"/>
                </a:lnTo>
                <a:lnTo>
                  <a:pt x="3355848" y="106679"/>
                </a:lnTo>
                <a:lnTo>
                  <a:pt x="3360420" y="111251"/>
                </a:lnTo>
                <a:lnTo>
                  <a:pt x="3360420" y="140969"/>
                </a:lnTo>
                <a:lnTo>
                  <a:pt x="3363468" y="140969"/>
                </a:lnTo>
                <a:lnTo>
                  <a:pt x="3364992" y="138683"/>
                </a:lnTo>
                <a:close/>
              </a:path>
              <a:path w="3365500" h="140970">
                <a:moveTo>
                  <a:pt x="3360420" y="131063"/>
                </a:moveTo>
                <a:lnTo>
                  <a:pt x="608076" y="131063"/>
                </a:lnTo>
                <a:lnTo>
                  <a:pt x="608076" y="140969"/>
                </a:lnTo>
                <a:lnTo>
                  <a:pt x="3355848" y="140969"/>
                </a:lnTo>
                <a:lnTo>
                  <a:pt x="3355848" y="135635"/>
                </a:lnTo>
                <a:lnTo>
                  <a:pt x="3360420" y="131063"/>
                </a:lnTo>
                <a:close/>
              </a:path>
              <a:path w="3365500" h="140970">
                <a:moveTo>
                  <a:pt x="3360420" y="111251"/>
                </a:moveTo>
                <a:lnTo>
                  <a:pt x="3355848" y="106679"/>
                </a:lnTo>
                <a:lnTo>
                  <a:pt x="3355848" y="111251"/>
                </a:lnTo>
                <a:lnTo>
                  <a:pt x="3360420" y="111251"/>
                </a:lnTo>
                <a:close/>
              </a:path>
              <a:path w="3365500" h="140970">
                <a:moveTo>
                  <a:pt x="3360420" y="131063"/>
                </a:moveTo>
                <a:lnTo>
                  <a:pt x="3360420" y="111251"/>
                </a:lnTo>
                <a:lnTo>
                  <a:pt x="3355848" y="111251"/>
                </a:lnTo>
                <a:lnTo>
                  <a:pt x="3355848" y="131063"/>
                </a:lnTo>
                <a:lnTo>
                  <a:pt x="3360420" y="131063"/>
                </a:lnTo>
                <a:close/>
              </a:path>
              <a:path w="3365500" h="140970">
                <a:moveTo>
                  <a:pt x="3360420" y="140969"/>
                </a:moveTo>
                <a:lnTo>
                  <a:pt x="3360420" y="131063"/>
                </a:lnTo>
                <a:lnTo>
                  <a:pt x="3355848" y="135635"/>
                </a:lnTo>
                <a:lnTo>
                  <a:pt x="3355848" y="140969"/>
                </a:lnTo>
                <a:lnTo>
                  <a:pt x="3360420" y="1409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9" name="object 141"/>
          <p:cNvSpPr/>
          <p:nvPr/>
        </p:nvSpPr>
        <p:spPr>
          <a:xfrm>
            <a:off x="4463767" y="1568871"/>
            <a:ext cx="319203" cy="0"/>
          </a:xfrm>
          <a:custGeom>
            <a:avLst/>
            <a:gdLst/>
            <a:ahLst/>
            <a:cxnLst/>
            <a:rect l="l" t="t" r="r" b="b"/>
            <a:pathLst>
              <a:path w="483234">
                <a:moveTo>
                  <a:pt x="0" y="0"/>
                </a:moveTo>
                <a:lnTo>
                  <a:pt x="483107" y="0"/>
                </a:lnTo>
              </a:path>
            </a:pathLst>
          </a:custGeom>
          <a:ln w="2895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0" name="object 142"/>
          <p:cNvSpPr/>
          <p:nvPr/>
        </p:nvSpPr>
        <p:spPr>
          <a:xfrm>
            <a:off x="4460756" y="1560067"/>
            <a:ext cx="325495" cy="17495"/>
          </a:xfrm>
          <a:custGeom>
            <a:avLst/>
            <a:gdLst/>
            <a:ahLst/>
            <a:cxnLst/>
            <a:rect l="l" t="t" r="r" b="b"/>
            <a:pathLst>
              <a:path w="492759" h="39370">
                <a:moveTo>
                  <a:pt x="492251" y="38862"/>
                </a:moveTo>
                <a:lnTo>
                  <a:pt x="492251" y="0"/>
                </a:lnTo>
                <a:lnTo>
                  <a:pt x="0" y="0"/>
                </a:lnTo>
                <a:lnTo>
                  <a:pt x="0" y="38862"/>
                </a:lnTo>
                <a:lnTo>
                  <a:pt x="4559" y="38862"/>
                </a:lnTo>
                <a:lnTo>
                  <a:pt x="4559" y="9906"/>
                </a:lnTo>
                <a:lnTo>
                  <a:pt x="9144" y="5334"/>
                </a:lnTo>
                <a:lnTo>
                  <a:pt x="9144" y="9906"/>
                </a:lnTo>
                <a:lnTo>
                  <a:pt x="483095" y="9906"/>
                </a:lnTo>
                <a:lnTo>
                  <a:pt x="483095" y="5334"/>
                </a:lnTo>
                <a:lnTo>
                  <a:pt x="487679" y="9906"/>
                </a:lnTo>
                <a:lnTo>
                  <a:pt x="487679" y="38862"/>
                </a:lnTo>
                <a:lnTo>
                  <a:pt x="492251" y="38862"/>
                </a:lnTo>
                <a:close/>
              </a:path>
              <a:path w="492759" h="39370">
                <a:moveTo>
                  <a:pt x="9144" y="9906"/>
                </a:moveTo>
                <a:lnTo>
                  <a:pt x="9144" y="5334"/>
                </a:lnTo>
                <a:lnTo>
                  <a:pt x="4559" y="9906"/>
                </a:lnTo>
                <a:lnTo>
                  <a:pt x="9144" y="9906"/>
                </a:lnTo>
                <a:close/>
              </a:path>
              <a:path w="492759" h="39370">
                <a:moveTo>
                  <a:pt x="9144" y="29718"/>
                </a:moveTo>
                <a:lnTo>
                  <a:pt x="9144" y="9906"/>
                </a:lnTo>
                <a:lnTo>
                  <a:pt x="4559" y="9906"/>
                </a:lnTo>
                <a:lnTo>
                  <a:pt x="4559" y="29718"/>
                </a:lnTo>
                <a:lnTo>
                  <a:pt x="9144" y="29718"/>
                </a:lnTo>
                <a:close/>
              </a:path>
              <a:path w="492759" h="39370">
                <a:moveTo>
                  <a:pt x="487679" y="29718"/>
                </a:moveTo>
                <a:lnTo>
                  <a:pt x="4559" y="29718"/>
                </a:lnTo>
                <a:lnTo>
                  <a:pt x="9144" y="34290"/>
                </a:lnTo>
                <a:lnTo>
                  <a:pt x="9144" y="38862"/>
                </a:lnTo>
                <a:lnTo>
                  <a:pt x="483095" y="38862"/>
                </a:lnTo>
                <a:lnTo>
                  <a:pt x="483095" y="34290"/>
                </a:lnTo>
                <a:lnTo>
                  <a:pt x="487679" y="29718"/>
                </a:lnTo>
                <a:close/>
              </a:path>
              <a:path w="492759" h="39370">
                <a:moveTo>
                  <a:pt x="9144" y="38862"/>
                </a:moveTo>
                <a:lnTo>
                  <a:pt x="9144" y="34290"/>
                </a:lnTo>
                <a:lnTo>
                  <a:pt x="4559" y="29718"/>
                </a:lnTo>
                <a:lnTo>
                  <a:pt x="4559" y="38862"/>
                </a:lnTo>
                <a:lnTo>
                  <a:pt x="9144" y="38862"/>
                </a:lnTo>
                <a:close/>
              </a:path>
              <a:path w="492759" h="39370">
                <a:moveTo>
                  <a:pt x="487679" y="9906"/>
                </a:moveTo>
                <a:lnTo>
                  <a:pt x="483095" y="5334"/>
                </a:lnTo>
                <a:lnTo>
                  <a:pt x="483095" y="9906"/>
                </a:lnTo>
                <a:lnTo>
                  <a:pt x="487679" y="9906"/>
                </a:lnTo>
                <a:close/>
              </a:path>
              <a:path w="492759" h="39370">
                <a:moveTo>
                  <a:pt x="487679" y="29718"/>
                </a:moveTo>
                <a:lnTo>
                  <a:pt x="487679" y="9906"/>
                </a:lnTo>
                <a:lnTo>
                  <a:pt x="483095" y="9906"/>
                </a:lnTo>
                <a:lnTo>
                  <a:pt x="483095" y="29718"/>
                </a:lnTo>
                <a:lnTo>
                  <a:pt x="487679" y="29718"/>
                </a:lnTo>
                <a:close/>
              </a:path>
              <a:path w="492759" h="39370">
                <a:moveTo>
                  <a:pt x="487679" y="38862"/>
                </a:moveTo>
                <a:lnTo>
                  <a:pt x="487679" y="29718"/>
                </a:lnTo>
                <a:lnTo>
                  <a:pt x="483095" y="34290"/>
                </a:lnTo>
                <a:lnTo>
                  <a:pt x="483095" y="38862"/>
                </a:lnTo>
                <a:lnTo>
                  <a:pt x="487679" y="3886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1" name="object 143"/>
          <p:cNvSpPr/>
          <p:nvPr/>
        </p:nvSpPr>
        <p:spPr>
          <a:xfrm>
            <a:off x="4862927" y="1569040"/>
            <a:ext cx="318785" cy="0"/>
          </a:xfrm>
          <a:custGeom>
            <a:avLst/>
            <a:gdLst/>
            <a:ahLst/>
            <a:cxnLst/>
            <a:rect l="l" t="t" r="r" b="b"/>
            <a:pathLst>
              <a:path w="482600">
                <a:moveTo>
                  <a:pt x="0" y="0"/>
                </a:moveTo>
                <a:lnTo>
                  <a:pt x="482346" y="0"/>
                </a:lnTo>
              </a:path>
            </a:pathLst>
          </a:custGeom>
          <a:ln w="29717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2" name="object 144"/>
          <p:cNvSpPr/>
          <p:nvPr/>
        </p:nvSpPr>
        <p:spPr>
          <a:xfrm>
            <a:off x="4859405" y="1560406"/>
            <a:ext cx="325914" cy="17495"/>
          </a:xfrm>
          <a:custGeom>
            <a:avLst/>
            <a:gdLst/>
            <a:ahLst/>
            <a:cxnLst/>
            <a:rect l="l" t="t" r="r" b="b"/>
            <a:pathLst>
              <a:path w="493395" h="39370">
                <a:moveTo>
                  <a:pt x="493014" y="38862"/>
                </a:moveTo>
                <a:lnTo>
                  <a:pt x="493014" y="0"/>
                </a:lnTo>
                <a:lnTo>
                  <a:pt x="0" y="0"/>
                </a:lnTo>
                <a:lnTo>
                  <a:pt x="0" y="38862"/>
                </a:lnTo>
                <a:lnTo>
                  <a:pt x="5333" y="38862"/>
                </a:lnTo>
                <a:lnTo>
                  <a:pt x="5333" y="9906"/>
                </a:lnTo>
                <a:lnTo>
                  <a:pt x="9893" y="4572"/>
                </a:lnTo>
                <a:lnTo>
                  <a:pt x="9893" y="9906"/>
                </a:lnTo>
                <a:lnTo>
                  <a:pt x="483095" y="9906"/>
                </a:lnTo>
                <a:lnTo>
                  <a:pt x="483095" y="4572"/>
                </a:lnTo>
                <a:lnTo>
                  <a:pt x="487667" y="9906"/>
                </a:lnTo>
                <a:lnTo>
                  <a:pt x="487667" y="38862"/>
                </a:lnTo>
                <a:lnTo>
                  <a:pt x="493014" y="38862"/>
                </a:lnTo>
                <a:close/>
              </a:path>
              <a:path w="493395" h="39370">
                <a:moveTo>
                  <a:pt x="9893" y="9906"/>
                </a:moveTo>
                <a:lnTo>
                  <a:pt x="9893" y="4572"/>
                </a:lnTo>
                <a:lnTo>
                  <a:pt x="5333" y="9906"/>
                </a:lnTo>
                <a:lnTo>
                  <a:pt x="9893" y="9906"/>
                </a:lnTo>
                <a:close/>
              </a:path>
              <a:path w="493395" h="39370">
                <a:moveTo>
                  <a:pt x="9893" y="28956"/>
                </a:moveTo>
                <a:lnTo>
                  <a:pt x="9893" y="9906"/>
                </a:lnTo>
                <a:lnTo>
                  <a:pt x="5333" y="9906"/>
                </a:lnTo>
                <a:lnTo>
                  <a:pt x="5333" y="28956"/>
                </a:lnTo>
                <a:lnTo>
                  <a:pt x="9893" y="28956"/>
                </a:lnTo>
                <a:close/>
              </a:path>
              <a:path w="493395" h="39370">
                <a:moveTo>
                  <a:pt x="487667" y="28956"/>
                </a:moveTo>
                <a:lnTo>
                  <a:pt x="5333" y="28956"/>
                </a:lnTo>
                <a:lnTo>
                  <a:pt x="9893" y="34289"/>
                </a:lnTo>
                <a:lnTo>
                  <a:pt x="9893" y="38862"/>
                </a:lnTo>
                <a:lnTo>
                  <a:pt x="483095" y="38862"/>
                </a:lnTo>
                <a:lnTo>
                  <a:pt x="483095" y="34289"/>
                </a:lnTo>
                <a:lnTo>
                  <a:pt x="487667" y="28956"/>
                </a:lnTo>
                <a:close/>
              </a:path>
              <a:path w="493395" h="39370">
                <a:moveTo>
                  <a:pt x="9893" y="38862"/>
                </a:moveTo>
                <a:lnTo>
                  <a:pt x="9893" y="34289"/>
                </a:lnTo>
                <a:lnTo>
                  <a:pt x="5333" y="28956"/>
                </a:lnTo>
                <a:lnTo>
                  <a:pt x="5333" y="38862"/>
                </a:lnTo>
                <a:lnTo>
                  <a:pt x="9893" y="38862"/>
                </a:lnTo>
                <a:close/>
              </a:path>
              <a:path w="493395" h="39370">
                <a:moveTo>
                  <a:pt x="487667" y="9906"/>
                </a:moveTo>
                <a:lnTo>
                  <a:pt x="483095" y="4572"/>
                </a:lnTo>
                <a:lnTo>
                  <a:pt x="483095" y="9906"/>
                </a:lnTo>
                <a:lnTo>
                  <a:pt x="487667" y="9906"/>
                </a:lnTo>
                <a:close/>
              </a:path>
              <a:path w="493395" h="39370">
                <a:moveTo>
                  <a:pt x="487667" y="28956"/>
                </a:moveTo>
                <a:lnTo>
                  <a:pt x="487667" y="9906"/>
                </a:lnTo>
                <a:lnTo>
                  <a:pt x="483095" y="9906"/>
                </a:lnTo>
                <a:lnTo>
                  <a:pt x="483095" y="28956"/>
                </a:lnTo>
                <a:lnTo>
                  <a:pt x="487667" y="28956"/>
                </a:lnTo>
                <a:close/>
              </a:path>
              <a:path w="493395" h="39370">
                <a:moveTo>
                  <a:pt x="487667" y="38862"/>
                </a:moveTo>
                <a:lnTo>
                  <a:pt x="487667" y="28956"/>
                </a:lnTo>
                <a:lnTo>
                  <a:pt x="483095" y="34289"/>
                </a:lnTo>
                <a:lnTo>
                  <a:pt x="483095" y="38862"/>
                </a:lnTo>
                <a:lnTo>
                  <a:pt x="487667" y="3886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3" name="object 145"/>
          <p:cNvSpPr/>
          <p:nvPr/>
        </p:nvSpPr>
        <p:spPr>
          <a:xfrm>
            <a:off x="5258556" y="1569040"/>
            <a:ext cx="319203" cy="0"/>
          </a:xfrm>
          <a:custGeom>
            <a:avLst/>
            <a:gdLst/>
            <a:ahLst/>
            <a:cxnLst/>
            <a:rect l="l" t="t" r="r" b="b"/>
            <a:pathLst>
              <a:path w="483234">
                <a:moveTo>
                  <a:pt x="0" y="0"/>
                </a:moveTo>
                <a:lnTo>
                  <a:pt x="483107" y="0"/>
                </a:lnTo>
              </a:path>
            </a:pathLst>
          </a:custGeom>
          <a:ln w="29717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4" name="object 146"/>
          <p:cNvSpPr/>
          <p:nvPr/>
        </p:nvSpPr>
        <p:spPr>
          <a:xfrm>
            <a:off x="5255528" y="1560406"/>
            <a:ext cx="325914" cy="17495"/>
          </a:xfrm>
          <a:custGeom>
            <a:avLst/>
            <a:gdLst/>
            <a:ahLst/>
            <a:cxnLst/>
            <a:rect l="l" t="t" r="r" b="b"/>
            <a:pathLst>
              <a:path w="493395" h="39370">
                <a:moveTo>
                  <a:pt x="493014" y="38862"/>
                </a:moveTo>
                <a:lnTo>
                  <a:pt x="493014" y="0"/>
                </a:lnTo>
                <a:lnTo>
                  <a:pt x="0" y="0"/>
                </a:lnTo>
                <a:lnTo>
                  <a:pt x="0" y="38862"/>
                </a:lnTo>
                <a:lnTo>
                  <a:pt x="4584" y="38862"/>
                </a:lnTo>
                <a:lnTo>
                  <a:pt x="4584" y="9906"/>
                </a:lnTo>
                <a:lnTo>
                  <a:pt x="9918" y="4572"/>
                </a:lnTo>
                <a:lnTo>
                  <a:pt x="9918" y="9906"/>
                </a:lnTo>
                <a:lnTo>
                  <a:pt x="483120" y="9906"/>
                </a:lnTo>
                <a:lnTo>
                  <a:pt x="483120" y="4572"/>
                </a:lnTo>
                <a:lnTo>
                  <a:pt x="487692" y="9906"/>
                </a:lnTo>
                <a:lnTo>
                  <a:pt x="487692" y="38862"/>
                </a:lnTo>
                <a:lnTo>
                  <a:pt x="493014" y="38862"/>
                </a:lnTo>
                <a:close/>
              </a:path>
              <a:path w="493395" h="39370">
                <a:moveTo>
                  <a:pt x="9918" y="9906"/>
                </a:moveTo>
                <a:lnTo>
                  <a:pt x="9918" y="4572"/>
                </a:lnTo>
                <a:lnTo>
                  <a:pt x="4584" y="9906"/>
                </a:lnTo>
                <a:lnTo>
                  <a:pt x="9918" y="9906"/>
                </a:lnTo>
                <a:close/>
              </a:path>
              <a:path w="493395" h="39370">
                <a:moveTo>
                  <a:pt x="9918" y="28956"/>
                </a:moveTo>
                <a:lnTo>
                  <a:pt x="9918" y="9906"/>
                </a:lnTo>
                <a:lnTo>
                  <a:pt x="4584" y="9906"/>
                </a:lnTo>
                <a:lnTo>
                  <a:pt x="4584" y="28956"/>
                </a:lnTo>
                <a:lnTo>
                  <a:pt x="9918" y="28956"/>
                </a:lnTo>
                <a:close/>
              </a:path>
              <a:path w="493395" h="39370">
                <a:moveTo>
                  <a:pt x="487692" y="28956"/>
                </a:moveTo>
                <a:lnTo>
                  <a:pt x="4584" y="28956"/>
                </a:lnTo>
                <a:lnTo>
                  <a:pt x="9918" y="34289"/>
                </a:lnTo>
                <a:lnTo>
                  <a:pt x="9918" y="38862"/>
                </a:lnTo>
                <a:lnTo>
                  <a:pt x="483120" y="38862"/>
                </a:lnTo>
                <a:lnTo>
                  <a:pt x="483120" y="34289"/>
                </a:lnTo>
                <a:lnTo>
                  <a:pt x="487692" y="28956"/>
                </a:lnTo>
                <a:close/>
              </a:path>
              <a:path w="493395" h="39370">
                <a:moveTo>
                  <a:pt x="9918" y="38862"/>
                </a:moveTo>
                <a:lnTo>
                  <a:pt x="9918" y="34289"/>
                </a:lnTo>
                <a:lnTo>
                  <a:pt x="4584" y="28956"/>
                </a:lnTo>
                <a:lnTo>
                  <a:pt x="4584" y="38862"/>
                </a:lnTo>
                <a:lnTo>
                  <a:pt x="9918" y="38862"/>
                </a:lnTo>
                <a:close/>
              </a:path>
              <a:path w="493395" h="39370">
                <a:moveTo>
                  <a:pt x="487692" y="9906"/>
                </a:moveTo>
                <a:lnTo>
                  <a:pt x="483120" y="4572"/>
                </a:lnTo>
                <a:lnTo>
                  <a:pt x="483120" y="9906"/>
                </a:lnTo>
                <a:lnTo>
                  <a:pt x="487692" y="9906"/>
                </a:lnTo>
                <a:close/>
              </a:path>
              <a:path w="493395" h="39370">
                <a:moveTo>
                  <a:pt x="487692" y="28956"/>
                </a:moveTo>
                <a:lnTo>
                  <a:pt x="487692" y="9906"/>
                </a:lnTo>
                <a:lnTo>
                  <a:pt x="483120" y="9906"/>
                </a:lnTo>
                <a:lnTo>
                  <a:pt x="483120" y="28956"/>
                </a:lnTo>
                <a:lnTo>
                  <a:pt x="487692" y="28956"/>
                </a:lnTo>
                <a:close/>
              </a:path>
              <a:path w="493395" h="39370">
                <a:moveTo>
                  <a:pt x="487692" y="38862"/>
                </a:moveTo>
                <a:lnTo>
                  <a:pt x="487692" y="28956"/>
                </a:lnTo>
                <a:lnTo>
                  <a:pt x="483120" y="34289"/>
                </a:lnTo>
                <a:lnTo>
                  <a:pt x="483120" y="38862"/>
                </a:lnTo>
                <a:lnTo>
                  <a:pt x="487692" y="3886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5" name="object 147"/>
          <p:cNvSpPr/>
          <p:nvPr/>
        </p:nvSpPr>
        <p:spPr>
          <a:xfrm>
            <a:off x="5995954" y="1429708"/>
            <a:ext cx="251252" cy="0"/>
          </a:xfrm>
          <a:custGeom>
            <a:avLst/>
            <a:gdLst/>
            <a:ahLst/>
            <a:cxnLst/>
            <a:rect l="l" t="t" r="r" b="b"/>
            <a:pathLst>
              <a:path w="380365">
                <a:moveTo>
                  <a:pt x="0" y="0"/>
                </a:moveTo>
                <a:lnTo>
                  <a:pt x="380238" y="0"/>
                </a:lnTo>
              </a:path>
            </a:pathLst>
          </a:custGeom>
          <a:ln w="33527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6" name="object 148"/>
          <p:cNvSpPr/>
          <p:nvPr/>
        </p:nvSpPr>
        <p:spPr>
          <a:xfrm>
            <a:off x="5992934" y="1420227"/>
            <a:ext cx="257964" cy="19187"/>
          </a:xfrm>
          <a:custGeom>
            <a:avLst/>
            <a:gdLst/>
            <a:ahLst/>
            <a:cxnLst/>
            <a:rect l="l" t="t" r="r" b="b"/>
            <a:pathLst>
              <a:path w="390525" h="43179">
                <a:moveTo>
                  <a:pt x="390144" y="42672"/>
                </a:moveTo>
                <a:lnTo>
                  <a:pt x="390144" y="0"/>
                </a:lnTo>
                <a:lnTo>
                  <a:pt x="0" y="0"/>
                </a:lnTo>
                <a:lnTo>
                  <a:pt x="0" y="42672"/>
                </a:lnTo>
                <a:lnTo>
                  <a:pt x="4572" y="42672"/>
                </a:lnTo>
                <a:lnTo>
                  <a:pt x="4572" y="9143"/>
                </a:lnTo>
                <a:lnTo>
                  <a:pt x="9144" y="4572"/>
                </a:lnTo>
                <a:lnTo>
                  <a:pt x="9144" y="9143"/>
                </a:lnTo>
                <a:lnTo>
                  <a:pt x="380237" y="9143"/>
                </a:lnTo>
                <a:lnTo>
                  <a:pt x="380237" y="4572"/>
                </a:lnTo>
                <a:lnTo>
                  <a:pt x="384809" y="9143"/>
                </a:lnTo>
                <a:lnTo>
                  <a:pt x="384809" y="42672"/>
                </a:lnTo>
                <a:lnTo>
                  <a:pt x="390144" y="42672"/>
                </a:lnTo>
                <a:close/>
              </a:path>
              <a:path w="390525" h="43179">
                <a:moveTo>
                  <a:pt x="9144" y="9143"/>
                </a:moveTo>
                <a:lnTo>
                  <a:pt x="9144" y="4572"/>
                </a:lnTo>
                <a:lnTo>
                  <a:pt x="4572" y="9143"/>
                </a:lnTo>
                <a:lnTo>
                  <a:pt x="9144" y="9143"/>
                </a:lnTo>
                <a:close/>
              </a:path>
              <a:path w="390525" h="43179">
                <a:moveTo>
                  <a:pt x="9144" y="32765"/>
                </a:moveTo>
                <a:lnTo>
                  <a:pt x="9144" y="9143"/>
                </a:lnTo>
                <a:lnTo>
                  <a:pt x="4572" y="9143"/>
                </a:lnTo>
                <a:lnTo>
                  <a:pt x="4572" y="32765"/>
                </a:lnTo>
                <a:lnTo>
                  <a:pt x="9144" y="32765"/>
                </a:lnTo>
                <a:close/>
              </a:path>
              <a:path w="390525" h="43179">
                <a:moveTo>
                  <a:pt x="384809" y="32765"/>
                </a:moveTo>
                <a:lnTo>
                  <a:pt x="4572" y="32765"/>
                </a:lnTo>
                <a:lnTo>
                  <a:pt x="9144" y="38100"/>
                </a:lnTo>
                <a:lnTo>
                  <a:pt x="9144" y="42672"/>
                </a:lnTo>
                <a:lnTo>
                  <a:pt x="380237" y="42672"/>
                </a:lnTo>
                <a:lnTo>
                  <a:pt x="380237" y="38100"/>
                </a:lnTo>
                <a:lnTo>
                  <a:pt x="384809" y="32765"/>
                </a:lnTo>
                <a:close/>
              </a:path>
              <a:path w="390525" h="43179">
                <a:moveTo>
                  <a:pt x="9144" y="42672"/>
                </a:moveTo>
                <a:lnTo>
                  <a:pt x="9144" y="38100"/>
                </a:lnTo>
                <a:lnTo>
                  <a:pt x="4572" y="32765"/>
                </a:lnTo>
                <a:lnTo>
                  <a:pt x="4572" y="42672"/>
                </a:lnTo>
                <a:lnTo>
                  <a:pt x="9144" y="42672"/>
                </a:lnTo>
                <a:close/>
              </a:path>
              <a:path w="390525" h="43179">
                <a:moveTo>
                  <a:pt x="384809" y="9143"/>
                </a:moveTo>
                <a:lnTo>
                  <a:pt x="380237" y="4572"/>
                </a:lnTo>
                <a:lnTo>
                  <a:pt x="380237" y="9143"/>
                </a:lnTo>
                <a:lnTo>
                  <a:pt x="384809" y="9143"/>
                </a:lnTo>
                <a:close/>
              </a:path>
              <a:path w="390525" h="43179">
                <a:moveTo>
                  <a:pt x="384809" y="32765"/>
                </a:moveTo>
                <a:lnTo>
                  <a:pt x="384809" y="9143"/>
                </a:lnTo>
                <a:lnTo>
                  <a:pt x="380237" y="9143"/>
                </a:lnTo>
                <a:lnTo>
                  <a:pt x="380237" y="32765"/>
                </a:lnTo>
                <a:lnTo>
                  <a:pt x="384809" y="32765"/>
                </a:lnTo>
                <a:close/>
              </a:path>
              <a:path w="390525" h="43179">
                <a:moveTo>
                  <a:pt x="384809" y="42672"/>
                </a:moveTo>
                <a:lnTo>
                  <a:pt x="384809" y="32765"/>
                </a:lnTo>
                <a:lnTo>
                  <a:pt x="380237" y="38100"/>
                </a:lnTo>
                <a:lnTo>
                  <a:pt x="380237" y="42672"/>
                </a:lnTo>
                <a:lnTo>
                  <a:pt x="384809" y="426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7" name="object 149"/>
          <p:cNvSpPr/>
          <p:nvPr/>
        </p:nvSpPr>
        <p:spPr>
          <a:xfrm>
            <a:off x="5816260" y="1553634"/>
            <a:ext cx="431198" cy="0"/>
          </a:xfrm>
          <a:custGeom>
            <a:avLst/>
            <a:gdLst/>
            <a:ahLst/>
            <a:cxnLst/>
            <a:rect l="l" t="t" r="r" b="b"/>
            <a:pathLst>
              <a:path w="652779">
                <a:moveTo>
                  <a:pt x="0" y="0"/>
                </a:moveTo>
                <a:lnTo>
                  <a:pt x="652272" y="0"/>
                </a:lnTo>
              </a:path>
            </a:pathLst>
          </a:custGeom>
          <a:ln w="35051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8" name="object 150"/>
          <p:cNvSpPr/>
          <p:nvPr/>
        </p:nvSpPr>
        <p:spPr>
          <a:xfrm>
            <a:off x="5813239" y="1543815"/>
            <a:ext cx="437490" cy="19751"/>
          </a:xfrm>
          <a:custGeom>
            <a:avLst/>
            <a:gdLst/>
            <a:ahLst/>
            <a:cxnLst/>
            <a:rect l="l" t="t" r="r" b="b"/>
            <a:pathLst>
              <a:path w="662304" h="44450">
                <a:moveTo>
                  <a:pt x="662177" y="44196"/>
                </a:moveTo>
                <a:lnTo>
                  <a:pt x="662177" y="0"/>
                </a:lnTo>
                <a:lnTo>
                  <a:pt x="0" y="0"/>
                </a:lnTo>
                <a:lnTo>
                  <a:pt x="0" y="44196"/>
                </a:lnTo>
                <a:lnTo>
                  <a:pt x="4571" y="44196"/>
                </a:lnTo>
                <a:lnTo>
                  <a:pt x="4571" y="9144"/>
                </a:lnTo>
                <a:lnTo>
                  <a:pt x="9143" y="4572"/>
                </a:lnTo>
                <a:lnTo>
                  <a:pt x="9143" y="9144"/>
                </a:lnTo>
                <a:lnTo>
                  <a:pt x="652271" y="9144"/>
                </a:lnTo>
                <a:lnTo>
                  <a:pt x="652271" y="4572"/>
                </a:lnTo>
                <a:lnTo>
                  <a:pt x="656843" y="9144"/>
                </a:lnTo>
                <a:lnTo>
                  <a:pt x="656843" y="44196"/>
                </a:lnTo>
                <a:lnTo>
                  <a:pt x="662177" y="44196"/>
                </a:lnTo>
                <a:close/>
              </a:path>
              <a:path w="662304" h="44450">
                <a:moveTo>
                  <a:pt x="9143" y="9144"/>
                </a:moveTo>
                <a:lnTo>
                  <a:pt x="9143" y="4572"/>
                </a:lnTo>
                <a:lnTo>
                  <a:pt x="4571" y="9144"/>
                </a:lnTo>
                <a:lnTo>
                  <a:pt x="9143" y="9144"/>
                </a:lnTo>
                <a:close/>
              </a:path>
              <a:path w="662304" h="44450">
                <a:moveTo>
                  <a:pt x="9143" y="34289"/>
                </a:moveTo>
                <a:lnTo>
                  <a:pt x="9143" y="9144"/>
                </a:lnTo>
                <a:lnTo>
                  <a:pt x="4571" y="9144"/>
                </a:lnTo>
                <a:lnTo>
                  <a:pt x="4571" y="34289"/>
                </a:lnTo>
                <a:lnTo>
                  <a:pt x="9143" y="34289"/>
                </a:lnTo>
                <a:close/>
              </a:path>
              <a:path w="662304" h="44450">
                <a:moveTo>
                  <a:pt x="656843" y="34289"/>
                </a:moveTo>
                <a:lnTo>
                  <a:pt x="4571" y="34289"/>
                </a:lnTo>
                <a:lnTo>
                  <a:pt x="9143" y="39624"/>
                </a:lnTo>
                <a:lnTo>
                  <a:pt x="9143" y="44196"/>
                </a:lnTo>
                <a:lnTo>
                  <a:pt x="652271" y="44196"/>
                </a:lnTo>
                <a:lnTo>
                  <a:pt x="652271" y="39624"/>
                </a:lnTo>
                <a:lnTo>
                  <a:pt x="656843" y="34289"/>
                </a:lnTo>
                <a:close/>
              </a:path>
              <a:path w="662304" h="44450">
                <a:moveTo>
                  <a:pt x="9143" y="44196"/>
                </a:moveTo>
                <a:lnTo>
                  <a:pt x="9143" y="39624"/>
                </a:lnTo>
                <a:lnTo>
                  <a:pt x="4571" y="34289"/>
                </a:lnTo>
                <a:lnTo>
                  <a:pt x="4571" y="44196"/>
                </a:lnTo>
                <a:lnTo>
                  <a:pt x="9143" y="44196"/>
                </a:lnTo>
                <a:close/>
              </a:path>
              <a:path w="662304" h="44450">
                <a:moveTo>
                  <a:pt x="656843" y="9144"/>
                </a:moveTo>
                <a:lnTo>
                  <a:pt x="652271" y="4572"/>
                </a:lnTo>
                <a:lnTo>
                  <a:pt x="652271" y="9144"/>
                </a:lnTo>
                <a:lnTo>
                  <a:pt x="656843" y="9144"/>
                </a:lnTo>
                <a:close/>
              </a:path>
              <a:path w="662304" h="44450">
                <a:moveTo>
                  <a:pt x="656843" y="34289"/>
                </a:moveTo>
                <a:lnTo>
                  <a:pt x="656843" y="9144"/>
                </a:lnTo>
                <a:lnTo>
                  <a:pt x="652271" y="9144"/>
                </a:lnTo>
                <a:lnTo>
                  <a:pt x="652271" y="34289"/>
                </a:lnTo>
                <a:lnTo>
                  <a:pt x="656843" y="34289"/>
                </a:lnTo>
                <a:close/>
              </a:path>
              <a:path w="662304" h="44450">
                <a:moveTo>
                  <a:pt x="656843" y="44196"/>
                </a:moveTo>
                <a:lnTo>
                  <a:pt x="656843" y="34289"/>
                </a:lnTo>
                <a:lnTo>
                  <a:pt x="652271" y="39624"/>
                </a:lnTo>
                <a:lnTo>
                  <a:pt x="652271" y="44196"/>
                </a:lnTo>
                <a:lnTo>
                  <a:pt x="656843" y="441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9" name="object 151"/>
          <p:cNvSpPr/>
          <p:nvPr/>
        </p:nvSpPr>
        <p:spPr>
          <a:xfrm>
            <a:off x="3968486" y="1463907"/>
            <a:ext cx="536061" cy="64333"/>
          </a:xfrm>
          <a:custGeom>
            <a:avLst/>
            <a:gdLst/>
            <a:ahLst/>
            <a:cxnLst/>
            <a:rect l="l" t="t" r="r" b="b"/>
            <a:pathLst>
              <a:path w="811529" h="144779">
                <a:moveTo>
                  <a:pt x="202691" y="144779"/>
                </a:moveTo>
                <a:lnTo>
                  <a:pt x="202691" y="0"/>
                </a:lnTo>
                <a:lnTo>
                  <a:pt x="0" y="72389"/>
                </a:lnTo>
                <a:lnTo>
                  <a:pt x="202691" y="144779"/>
                </a:lnTo>
                <a:close/>
              </a:path>
              <a:path w="811529" h="144779">
                <a:moveTo>
                  <a:pt x="811529" y="108965"/>
                </a:moveTo>
                <a:lnTo>
                  <a:pt x="811529" y="36575"/>
                </a:lnTo>
                <a:lnTo>
                  <a:pt x="202691" y="36575"/>
                </a:lnTo>
                <a:lnTo>
                  <a:pt x="202691" y="108965"/>
                </a:lnTo>
                <a:lnTo>
                  <a:pt x="811529" y="10896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0" name="object 152"/>
          <p:cNvSpPr/>
          <p:nvPr/>
        </p:nvSpPr>
        <p:spPr>
          <a:xfrm>
            <a:off x="3959425" y="1461198"/>
            <a:ext cx="548225" cy="70258"/>
          </a:xfrm>
          <a:custGeom>
            <a:avLst/>
            <a:gdLst/>
            <a:ahLst/>
            <a:cxnLst/>
            <a:rect l="l" t="t" r="r" b="b"/>
            <a:pathLst>
              <a:path w="829945" h="158114">
                <a:moveTo>
                  <a:pt x="221742" y="38099"/>
                </a:moveTo>
                <a:lnTo>
                  <a:pt x="221742" y="0"/>
                </a:lnTo>
                <a:lnTo>
                  <a:pt x="0" y="78485"/>
                </a:lnTo>
                <a:lnTo>
                  <a:pt x="15240" y="83932"/>
                </a:lnTo>
                <a:lnTo>
                  <a:pt x="15240" y="73913"/>
                </a:lnTo>
                <a:lnTo>
                  <a:pt x="28089" y="78485"/>
                </a:lnTo>
                <a:lnTo>
                  <a:pt x="211836" y="13108"/>
                </a:lnTo>
                <a:lnTo>
                  <a:pt x="211836" y="6095"/>
                </a:lnTo>
                <a:lnTo>
                  <a:pt x="218694" y="10667"/>
                </a:lnTo>
                <a:lnTo>
                  <a:pt x="218694" y="38099"/>
                </a:lnTo>
                <a:lnTo>
                  <a:pt x="221742" y="38099"/>
                </a:lnTo>
                <a:close/>
              </a:path>
              <a:path w="829945" h="158114">
                <a:moveTo>
                  <a:pt x="28089" y="78485"/>
                </a:moveTo>
                <a:lnTo>
                  <a:pt x="15240" y="73913"/>
                </a:lnTo>
                <a:lnTo>
                  <a:pt x="15240" y="83057"/>
                </a:lnTo>
                <a:lnTo>
                  <a:pt x="28089" y="78485"/>
                </a:lnTo>
                <a:close/>
              </a:path>
              <a:path w="829945" h="158114">
                <a:moveTo>
                  <a:pt x="218694" y="146303"/>
                </a:moveTo>
                <a:lnTo>
                  <a:pt x="28089" y="78485"/>
                </a:lnTo>
                <a:lnTo>
                  <a:pt x="15240" y="83057"/>
                </a:lnTo>
                <a:lnTo>
                  <a:pt x="15240" y="83932"/>
                </a:lnTo>
                <a:lnTo>
                  <a:pt x="211836" y="154193"/>
                </a:lnTo>
                <a:lnTo>
                  <a:pt x="211836" y="150875"/>
                </a:lnTo>
                <a:lnTo>
                  <a:pt x="218694" y="146303"/>
                </a:lnTo>
                <a:close/>
              </a:path>
              <a:path w="829945" h="158114">
                <a:moveTo>
                  <a:pt x="218694" y="10667"/>
                </a:moveTo>
                <a:lnTo>
                  <a:pt x="211836" y="6095"/>
                </a:lnTo>
                <a:lnTo>
                  <a:pt x="211836" y="13108"/>
                </a:lnTo>
                <a:lnTo>
                  <a:pt x="218694" y="10667"/>
                </a:lnTo>
                <a:close/>
              </a:path>
              <a:path w="829945" h="158114">
                <a:moveTo>
                  <a:pt x="218694" y="38099"/>
                </a:moveTo>
                <a:lnTo>
                  <a:pt x="218694" y="10667"/>
                </a:lnTo>
                <a:lnTo>
                  <a:pt x="211836" y="13108"/>
                </a:lnTo>
                <a:lnTo>
                  <a:pt x="211836" y="47243"/>
                </a:lnTo>
                <a:lnTo>
                  <a:pt x="216408" y="47243"/>
                </a:lnTo>
                <a:lnTo>
                  <a:pt x="216408" y="38099"/>
                </a:lnTo>
                <a:lnTo>
                  <a:pt x="218694" y="38099"/>
                </a:lnTo>
                <a:close/>
              </a:path>
              <a:path w="829945" h="158114">
                <a:moveTo>
                  <a:pt x="825246" y="109727"/>
                </a:moveTo>
                <a:lnTo>
                  <a:pt x="211836" y="109727"/>
                </a:lnTo>
                <a:lnTo>
                  <a:pt x="211836" y="143863"/>
                </a:lnTo>
                <a:lnTo>
                  <a:pt x="216408" y="145490"/>
                </a:lnTo>
                <a:lnTo>
                  <a:pt x="216408" y="119633"/>
                </a:lnTo>
                <a:lnTo>
                  <a:pt x="221742" y="115061"/>
                </a:lnTo>
                <a:lnTo>
                  <a:pt x="221742" y="119633"/>
                </a:lnTo>
                <a:lnTo>
                  <a:pt x="820674" y="119633"/>
                </a:lnTo>
                <a:lnTo>
                  <a:pt x="820674" y="115061"/>
                </a:lnTo>
                <a:lnTo>
                  <a:pt x="825246" y="109727"/>
                </a:lnTo>
                <a:close/>
              </a:path>
              <a:path w="829945" h="158114">
                <a:moveTo>
                  <a:pt x="218694" y="156644"/>
                </a:moveTo>
                <a:lnTo>
                  <a:pt x="218694" y="146303"/>
                </a:lnTo>
                <a:lnTo>
                  <a:pt x="211836" y="150875"/>
                </a:lnTo>
                <a:lnTo>
                  <a:pt x="211836" y="154193"/>
                </a:lnTo>
                <a:lnTo>
                  <a:pt x="218694" y="156644"/>
                </a:lnTo>
                <a:close/>
              </a:path>
              <a:path w="829945" h="158114">
                <a:moveTo>
                  <a:pt x="829818" y="119633"/>
                </a:moveTo>
                <a:lnTo>
                  <a:pt x="829818" y="38099"/>
                </a:lnTo>
                <a:lnTo>
                  <a:pt x="216408" y="38099"/>
                </a:lnTo>
                <a:lnTo>
                  <a:pt x="221742" y="42671"/>
                </a:lnTo>
                <a:lnTo>
                  <a:pt x="221742" y="47243"/>
                </a:lnTo>
                <a:lnTo>
                  <a:pt x="820674" y="47243"/>
                </a:lnTo>
                <a:lnTo>
                  <a:pt x="820674" y="42671"/>
                </a:lnTo>
                <a:lnTo>
                  <a:pt x="825246" y="47243"/>
                </a:lnTo>
                <a:lnTo>
                  <a:pt x="825246" y="119633"/>
                </a:lnTo>
                <a:lnTo>
                  <a:pt x="829818" y="119633"/>
                </a:lnTo>
                <a:close/>
              </a:path>
              <a:path w="829945" h="158114">
                <a:moveTo>
                  <a:pt x="221742" y="47243"/>
                </a:moveTo>
                <a:lnTo>
                  <a:pt x="221742" y="42671"/>
                </a:lnTo>
                <a:lnTo>
                  <a:pt x="216408" y="38099"/>
                </a:lnTo>
                <a:lnTo>
                  <a:pt x="216408" y="47243"/>
                </a:lnTo>
                <a:lnTo>
                  <a:pt x="221742" y="47243"/>
                </a:lnTo>
                <a:close/>
              </a:path>
              <a:path w="829945" h="158114">
                <a:moveTo>
                  <a:pt x="221742" y="119633"/>
                </a:moveTo>
                <a:lnTo>
                  <a:pt x="221742" y="115061"/>
                </a:lnTo>
                <a:lnTo>
                  <a:pt x="216408" y="119633"/>
                </a:lnTo>
                <a:lnTo>
                  <a:pt x="221742" y="119633"/>
                </a:lnTo>
                <a:close/>
              </a:path>
              <a:path w="829945" h="158114">
                <a:moveTo>
                  <a:pt x="221742" y="157733"/>
                </a:moveTo>
                <a:lnTo>
                  <a:pt x="221742" y="119633"/>
                </a:lnTo>
                <a:lnTo>
                  <a:pt x="216408" y="119633"/>
                </a:lnTo>
                <a:lnTo>
                  <a:pt x="216408" y="145490"/>
                </a:lnTo>
                <a:lnTo>
                  <a:pt x="218694" y="146303"/>
                </a:lnTo>
                <a:lnTo>
                  <a:pt x="218694" y="156644"/>
                </a:lnTo>
                <a:lnTo>
                  <a:pt x="221742" y="157733"/>
                </a:lnTo>
                <a:close/>
              </a:path>
              <a:path w="829945" h="158114">
                <a:moveTo>
                  <a:pt x="825246" y="47243"/>
                </a:moveTo>
                <a:lnTo>
                  <a:pt x="820674" y="42671"/>
                </a:lnTo>
                <a:lnTo>
                  <a:pt x="820674" y="47243"/>
                </a:lnTo>
                <a:lnTo>
                  <a:pt x="825246" y="47243"/>
                </a:lnTo>
                <a:close/>
              </a:path>
              <a:path w="829945" h="158114">
                <a:moveTo>
                  <a:pt x="825246" y="109727"/>
                </a:moveTo>
                <a:lnTo>
                  <a:pt x="825246" y="47243"/>
                </a:lnTo>
                <a:lnTo>
                  <a:pt x="820674" y="47243"/>
                </a:lnTo>
                <a:lnTo>
                  <a:pt x="820674" y="109727"/>
                </a:lnTo>
                <a:lnTo>
                  <a:pt x="825246" y="109727"/>
                </a:lnTo>
                <a:close/>
              </a:path>
              <a:path w="829945" h="158114">
                <a:moveTo>
                  <a:pt x="825246" y="119633"/>
                </a:moveTo>
                <a:lnTo>
                  <a:pt x="825246" y="109727"/>
                </a:lnTo>
                <a:lnTo>
                  <a:pt x="820674" y="115061"/>
                </a:lnTo>
                <a:lnTo>
                  <a:pt x="820674" y="119633"/>
                </a:lnTo>
                <a:lnTo>
                  <a:pt x="825246" y="11963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1" name="object 153"/>
          <p:cNvSpPr txBox="1"/>
          <p:nvPr/>
        </p:nvSpPr>
        <p:spPr>
          <a:xfrm>
            <a:off x="6548316" y="1282397"/>
            <a:ext cx="1965247" cy="561855"/>
          </a:xfrm>
          <a:prstGeom prst="rect">
            <a:avLst/>
          </a:prstGeom>
        </p:spPr>
        <p:txBody>
          <a:bodyPr vert="horz" wrap="square" lIns="0" tIns="7781" rIns="0" bIns="0" rtlCol="0">
            <a:spAutoFit/>
          </a:bodyPr>
          <a:lstStyle/>
          <a:p>
            <a:pPr marL="7781">
              <a:spcBef>
                <a:spcPts val="61"/>
              </a:spcBef>
            </a:pPr>
            <a:r>
              <a:rPr lang="ru-RU" sz="1200" spc="-3" dirty="0">
                <a:latin typeface="Arial Narrow" panose="020B0606020202030204" pitchFamily="34" charset="0"/>
                <a:cs typeface="Arial"/>
              </a:rPr>
              <a:t>Расплавленный полимер впрыскивается в полость пресс-формы</a:t>
            </a:r>
            <a:endParaRPr sz="1200" dirty="0"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152" name="object 3"/>
          <p:cNvSpPr/>
          <p:nvPr/>
        </p:nvSpPr>
        <p:spPr>
          <a:xfrm>
            <a:off x="5260202" y="3779562"/>
            <a:ext cx="1024305" cy="611731"/>
          </a:xfrm>
          <a:custGeom>
            <a:avLst/>
            <a:gdLst/>
            <a:ahLst/>
            <a:cxnLst/>
            <a:rect l="l" t="t" r="r" b="b"/>
            <a:pathLst>
              <a:path w="1550670" h="1376679">
                <a:moveTo>
                  <a:pt x="1550670" y="1368552"/>
                </a:moveTo>
                <a:lnTo>
                  <a:pt x="1547622" y="1331975"/>
                </a:lnTo>
                <a:lnTo>
                  <a:pt x="48768" y="1331976"/>
                </a:lnTo>
                <a:lnTo>
                  <a:pt x="45720" y="1523"/>
                </a:lnTo>
                <a:lnTo>
                  <a:pt x="0" y="0"/>
                </a:lnTo>
                <a:lnTo>
                  <a:pt x="4572" y="1376172"/>
                </a:lnTo>
                <a:lnTo>
                  <a:pt x="1550670" y="1368552"/>
                </a:lnTo>
                <a:close/>
              </a:path>
            </a:pathLst>
          </a:custGeom>
          <a:solidFill>
            <a:srgbClr val="99CC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3" name="object 4"/>
          <p:cNvSpPr/>
          <p:nvPr/>
        </p:nvSpPr>
        <p:spPr>
          <a:xfrm>
            <a:off x="5256681" y="3777531"/>
            <a:ext cx="1031434" cy="615681"/>
          </a:xfrm>
          <a:custGeom>
            <a:avLst/>
            <a:gdLst/>
            <a:ahLst/>
            <a:cxnLst/>
            <a:rect l="l" t="t" r="r" b="b"/>
            <a:pathLst>
              <a:path w="1561464" h="1385570">
                <a:moveTo>
                  <a:pt x="59422" y="1331976"/>
                </a:moveTo>
                <a:lnTo>
                  <a:pt x="55626" y="3810"/>
                </a:lnTo>
                <a:lnTo>
                  <a:pt x="54102" y="1524"/>
                </a:lnTo>
                <a:lnTo>
                  <a:pt x="49530" y="1473"/>
                </a:lnTo>
                <a:lnTo>
                  <a:pt x="7620" y="76"/>
                </a:lnTo>
                <a:lnTo>
                  <a:pt x="3048" y="0"/>
                </a:lnTo>
                <a:lnTo>
                  <a:pt x="1524" y="762"/>
                </a:lnTo>
                <a:lnTo>
                  <a:pt x="762" y="2286"/>
                </a:lnTo>
                <a:lnTo>
                  <a:pt x="0" y="3048"/>
                </a:lnTo>
                <a:lnTo>
                  <a:pt x="0" y="4572"/>
                </a:lnTo>
                <a:lnTo>
                  <a:pt x="5334" y="9144"/>
                </a:lnTo>
                <a:lnTo>
                  <a:pt x="9906" y="4572"/>
                </a:lnTo>
                <a:lnTo>
                  <a:pt x="9921" y="9296"/>
                </a:lnTo>
                <a:lnTo>
                  <a:pt x="46482" y="10515"/>
                </a:lnTo>
                <a:lnTo>
                  <a:pt x="46482" y="6096"/>
                </a:lnTo>
                <a:lnTo>
                  <a:pt x="51054" y="10668"/>
                </a:lnTo>
                <a:lnTo>
                  <a:pt x="51054" y="1340358"/>
                </a:lnTo>
                <a:lnTo>
                  <a:pt x="51816" y="1341120"/>
                </a:lnTo>
                <a:lnTo>
                  <a:pt x="54102" y="1341120"/>
                </a:lnTo>
                <a:lnTo>
                  <a:pt x="54102" y="1331976"/>
                </a:lnTo>
                <a:lnTo>
                  <a:pt x="59422" y="1331976"/>
                </a:lnTo>
                <a:close/>
              </a:path>
              <a:path w="1561464" h="1385570">
                <a:moveTo>
                  <a:pt x="9921" y="9296"/>
                </a:moveTo>
                <a:lnTo>
                  <a:pt x="9906" y="4572"/>
                </a:lnTo>
                <a:lnTo>
                  <a:pt x="5334" y="9144"/>
                </a:lnTo>
                <a:lnTo>
                  <a:pt x="9921" y="9296"/>
                </a:lnTo>
                <a:close/>
              </a:path>
              <a:path w="1561464" h="1385570">
                <a:moveTo>
                  <a:pt x="14462" y="1376149"/>
                </a:moveTo>
                <a:lnTo>
                  <a:pt x="9921" y="9296"/>
                </a:lnTo>
                <a:lnTo>
                  <a:pt x="5334" y="9144"/>
                </a:lnTo>
                <a:lnTo>
                  <a:pt x="5334" y="1383030"/>
                </a:lnTo>
                <a:lnTo>
                  <a:pt x="7620" y="1385316"/>
                </a:lnTo>
                <a:lnTo>
                  <a:pt x="9906" y="1385316"/>
                </a:lnTo>
                <a:lnTo>
                  <a:pt x="9906" y="1376172"/>
                </a:lnTo>
                <a:lnTo>
                  <a:pt x="14462" y="1376149"/>
                </a:lnTo>
                <a:close/>
              </a:path>
              <a:path w="1561464" h="1385570">
                <a:moveTo>
                  <a:pt x="14478" y="1380744"/>
                </a:moveTo>
                <a:lnTo>
                  <a:pt x="14462" y="1376149"/>
                </a:lnTo>
                <a:lnTo>
                  <a:pt x="9906" y="1376172"/>
                </a:lnTo>
                <a:lnTo>
                  <a:pt x="14478" y="1380744"/>
                </a:lnTo>
                <a:close/>
              </a:path>
              <a:path w="1561464" h="1385570">
                <a:moveTo>
                  <a:pt x="14478" y="1385293"/>
                </a:moveTo>
                <a:lnTo>
                  <a:pt x="14478" y="1380744"/>
                </a:lnTo>
                <a:lnTo>
                  <a:pt x="9906" y="1376172"/>
                </a:lnTo>
                <a:lnTo>
                  <a:pt x="9906" y="1385316"/>
                </a:lnTo>
                <a:lnTo>
                  <a:pt x="14478" y="1385293"/>
                </a:lnTo>
                <a:close/>
              </a:path>
              <a:path w="1561464" h="1385570">
                <a:moveTo>
                  <a:pt x="1556004" y="1377703"/>
                </a:moveTo>
                <a:lnTo>
                  <a:pt x="1556004" y="1368552"/>
                </a:lnTo>
                <a:lnTo>
                  <a:pt x="1551432" y="1373124"/>
                </a:lnTo>
                <a:lnTo>
                  <a:pt x="1551053" y="1368576"/>
                </a:lnTo>
                <a:lnTo>
                  <a:pt x="14462" y="1376149"/>
                </a:lnTo>
                <a:lnTo>
                  <a:pt x="14478" y="1385293"/>
                </a:lnTo>
                <a:lnTo>
                  <a:pt x="1556004" y="1377703"/>
                </a:lnTo>
                <a:close/>
              </a:path>
              <a:path w="1561464" h="1385570">
                <a:moveTo>
                  <a:pt x="51054" y="10668"/>
                </a:moveTo>
                <a:lnTo>
                  <a:pt x="46482" y="6096"/>
                </a:lnTo>
                <a:lnTo>
                  <a:pt x="46492" y="10515"/>
                </a:lnTo>
                <a:lnTo>
                  <a:pt x="51054" y="10668"/>
                </a:lnTo>
                <a:close/>
              </a:path>
              <a:path w="1561464" h="1385570">
                <a:moveTo>
                  <a:pt x="51054" y="1340358"/>
                </a:moveTo>
                <a:lnTo>
                  <a:pt x="51054" y="10668"/>
                </a:lnTo>
                <a:lnTo>
                  <a:pt x="46492" y="10515"/>
                </a:lnTo>
                <a:lnTo>
                  <a:pt x="49530" y="1338834"/>
                </a:lnTo>
                <a:lnTo>
                  <a:pt x="51054" y="1340358"/>
                </a:lnTo>
                <a:close/>
              </a:path>
              <a:path w="1561464" h="1385570">
                <a:moveTo>
                  <a:pt x="59436" y="1336548"/>
                </a:moveTo>
                <a:lnTo>
                  <a:pt x="59422" y="1331976"/>
                </a:lnTo>
                <a:lnTo>
                  <a:pt x="54102" y="1331976"/>
                </a:lnTo>
                <a:lnTo>
                  <a:pt x="59436" y="1336548"/>
                </a:lnTo>
                <a:close/>
              </a:path>
              <a:path w="1561464" h="1385570">
                <a:moveTo>
                  <a:pt x="59436" y="1341120"/>
                </a:moveTo>
                <a:lnTo>
                  <a:pt x="59436" y="1336548"/>
                </a:lnTo>
                <a:lnTo>
                  <a:pt x="54102" y="1331976"/>
                </a:lnTo>
                <a:lnTo>
                  <a:pt x="54102" y="1341120"/>
                </a:lnTo>
                <a:lnTo>
                  <a:pt x="59436" y="1341120"/>
                </a:lnTo>
                <a:close/>
              </a:path>
              <a:path w="1561464" h="1385570">
                <a:moveTo>
                  <a:pt x="1561338" y="1373886"/>
                </a:moveTo>
                <a:lnTo>
                  <a:pt x="1560576" y="1372362"/>
                </a:lnTo>
                <a:lnTo>
                  <a:pt x="1557528" y="1335786"/>
                </a:lnTo>
                <a:lnTo>
                  <a:pt x="1557528" y="1333500"/>
                </a:lnTo>
                <a:lnTo>
                  <a:pt x="1555242" y="1331976"/>
                </a:lnTo>
                <a:lnTo>
                  <a:pt x="59422" y="1331976"/>
                </a:lnTo>
                <a:lnTo>
                  <a:pt x="59436" y="1341120"/>
                </a:lnTo>
                <a:lnTo>
                  <a:pt x="1548384" y="1341120"/>
                </a:lnTo>
                <a:lnTo>
                  <a:pt x="1548384" y="1336548"/>
                </a:lnTo>
                <a:lnTo>
                  <a:pt x="1552956" y="1341120"/>
                </a:lnTo>
                <a:lnTo>
                  <a:pt x="1552956" y="1368567"/>
                </a:lnTo>
                <a:lnTo>
                  <a:pt x="1556004" y="1368552"/>
                </a:lnTo>
                <a:lnTo>
                  <a:pt x="1556004" y="1377703"/>
                </a:lnTo>
                <a:lnTo>
                  <a:pt x="1557528" y="1377696"/>
                </a:lnTo>
                <a:lnTo>
                  <a:pt x="1559052" y="1376934"/>
                </a:lnTo>
                <a:lnTo>
                  <a:pt x="1560576" y="1375410"/>
                </a:lnTo>
                <a:lnTo>
                  <a:pt x="1561338" y="1373886"/>
                </a:lnTo>
                <a:close/>
              </a:path>
              <a:path w="1561464" h="1385570">
                <a:moveTo>
                  <a:pt x="1552956" y="1341120"/>
                </a:moveTo>
                <a:lnTo>
                  <a:pt x="1548384" y="1336548"/>
                </a:lnTo>
                <a:lnTo>
                  <a:pt x="1548765" y="1341120"/>
                </a:lnTo>
                <a:lnTo>
                  <a:pt x="1552956" y="1341120"/>
                </a:lnTo>
                <a:close/>
              </a:path>
              <a:path w="1561464" h="1385570">
                <a:moveTo>
                  <a:pt x="1548765" y="1341120"/>
                </a:moveTo>
                <a:lnTo>
                  <a:pt x="1548384" y="1336548"/>
                </a:lnTo>
                <a:lnTo>
                  <a:pt x="1548384" y="1341120"/>
                </a:lnTo>
                <a:lnTo>
                  <a:pt x="1548765" y="1341120"/>
                </a:lnTo>
                <a:close/>
              </a:path>
              <a:path w="1561464" h="1385570">
                <a:moveTo>
                  <a:pt x="1552956" y="1368567"/>
                </a:moveTo>
                <a:lnTo>
                  <a:pt x="1552956" y="1341120"/>
                </a:lnTo>
                <a:lnTo>
                  <a:pt x="1548765" y="1341120"/>
                </a:lnTo>
                <a:lnTo>
                  <a:pt x="1551053" y="1368576"/>
                </a:lnTo>
                <a:lnTo>
                  <a:pt x="1552956" y="1368567"/>
                </a:lnTo>
                <a:close/>
              </a:path>
              <a:path w="1561464" h="1385570">
                <a:moveTo>
                  <a:pt x="1556004" y="1368552"/>
                </a:moveTo>
                <a:lnTo>
                  <a:pt x="1551053" y="1368576"/>
                </a:lnTo>
                <a:lnTo>
                  <a:pt x="1551432" y="1373124"/>
                </a:lnTo>
                <a:lnTo>
                  <a:pt x="1556004" y="1368552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4" name="object 5"/>
          <p:cNvSpPr/>
          <p:nvPr/>
        </p:nvSpPr>
        <p:spPr>
          <a:xfrm>
            <a:off x="5318591" y="3779563"/>
            <a:ext cx="1007945" cy="566584"/>
          </a:xfrm>
          <a:custGeom>
            <a:avLst/>
            <a:gdLst/>
            <a:ahLst/>
            <a:cxnLst/>
            <a:rect l="l" t="t" r="r" b="b"/>
            <a:pathLst>
              <a:path w="1525904" h="1275079">
                <a:moveTo>
                  <a:pt x="1525524" y="1274825"/>
                </a:moveTo>
                <a:lnTo>
                  <a:pt x="1524000" y="1232153"/>
                </a:lnTo>
                <a:lnTo>
                  <a:pt x="49530" y="1225296"/>
                </a:lnTo>
                <a:lnTo>
                  <a:pt x="49530" y="4571"/>
                </a:lnTo>
                <a:lnTo>
                  <a:pt x="0" y="0"/>
                </a:lnTo>
                <a:lnTo>
                  <a:pt x="5334" y="1270254"/>
                </a:lnTo>
                <a:lnTo>
                  <a:pt x="1525524" y="1274825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5" name="object 6"/>
          <p:cNvSpPr/>
          <p:nvPr/>
        </p:nvSpPr>
        <p:spPr>
          <a:xfrm>
            <a:off x="5315571" y="3777530"/>
            <a:ext cx="1014237" cy="570535"/>
          </a:xfrm>
          <a:custGeom>
            <a:avLst/>
            <a:gdLst/>
            <a:ahLst/>
            <a:cxnLst/>
            <a:rect l="l" t="t" r="r" b="b"/>
            <a:pathLst>
              <a:path w="1535429" h="1283970">
                <a:moveTo>
                  <a:pt x="58674" y="1225314"/>
                </a:moveTo>
                <a:lnTo>
                  <a:pt x="58674" y="6858"/>
                </a:lnTo>
                <a:lnTo>
                  <a:pt x="57150" y="4572"/>
                </a:lnTo>
                <a:lnTo>
                  <a:pt x="54102" y="4501"/>
                </a:lnTo>
                <a:lnTo>
                  <a:pt x="5334" y="0"/>
                </a:lnTo>
                <a:lnTo>
                  <a:pt x="2286" y="0"/>
                </a:lnTo>
                <a:lnTo>
                  <a:pt x="1524" y="762"/>
                </a:lnTo>
                <a:lnTo>
                  <a:pt x="762" y="2286"/>
                </a:lnTo>
                <a:lnTo>
                  <a:pt x="0" y="3048"/>
                </a:lnTo>
                <a:lnTo>
                  <a:pt x="0" y="4572"/>
                </a:lnTo>
                <a:lnTo>
                  <a:pt x="4572" y="9144"/>
                </a:lnTo>
                <a:lnTo>
                  <a:pt x="9906" y="4572"/>
                </a:lnTo>
                <a:lnTo>
                  <a:pt x="9924" y="9645"/>
                </a:lnTo>
                <a:lnTo>
                  <a:pt x="49530" y="13358"/>
                </a:lnTo>
                <a:lnTo>
                  <a:pt x="49530" y="9144"/>
                </a:lnTo>
                <a:lnTo>
                  <a:pt x="53340" y="13716"/>
                </a:lnTo>
                <a:lnTo>
                  <a:pt x="53340" y="1235202"/>
                </a:lnTo>
                <a:lnTo>
                  <a:pt x="54102" y="1235202"/>
                </a:lnTo>
                <a:lnTo>
                  <a:pt x="54102" y="1225296"/>
                </a:lnTo>
                <a:lnTo>
                  <a:pt x="58674" y="1225314"/>
                </a:lnTo>
                <a:close/>
              </a:path>
              <a:path w="1535429" h="1283970">
                <a:moveTo>
                  <a:pt x="9924" y="9645"/>
                </a:moveTo>
                <a:lnTo>
                  <a:pt x="9906" y="4572"/>
                </a:lnTo>
                <a:lnTo>
                  <a:pt x="4572" y="9144"/>
                </a:lnTo>
                <a:lnTo>
                  <a:pt x="9924" y="9645"/>
                </a:lnTo>
                <a:close/>
              </a:path>
              <a:path w="1535429" h="1283970">
                <a:moveTo>
                  <a:pt x="14458" y="1269507"/>
                </a:moveTo>
                <a:lnTo>
                  <a:pt x="9924" y="9645"/>
                </a:lnTo>
                <a:lnTo>
                  <a:pt x="4572" y="9144"/>
                </a:lnTo>
                <a:lnTo>
                  <a:pt x="4572" y="1277112"/>
                </a:lnTo>
                <a:lnTo>
                  <a:pt x="6858" y="1279398"/>
                </a:lnTo>
                <a:lnTo>
                  <a:pt x="9906" y="1279398"/>
                </a:lnTo>
                <a:lnTo>
                  <a:pt x="9906" y="1269492"/>
                </a:lnTo>
                <a:lnTo>
                  <a:pt x="14458" y="1269507"/>
                </a:lnTo>
                <a:close/>
              </a:path>
              <a:path w="1535429" h="1283970">
                <a:moveTo>
                  <a:pt x="14478" y="1274826"/>
                </a:moveTo>
                <a:lnTo>
                  <a:pt x="14458" y="1269507"/>
                </a:lnTo>
                <a:lnTo>
                  <a:pt x="9906" y="1269492"/>
                </a:lnTo>
                <a:lnTo>
                  <a:pt x="14478" y="1274826"/>
                </a:lnTo>
                <a:close/>
              </a:path>
              <a:path w="1535429" h="1283970">
                <a:moveTo>
                  <a:pt x="14478" y="1279411"/>
                </a:moveTo>
                <a:lnTo>
                  <a:pt x="14478" y="1274826"/>
                </a:lnTo>
                <a:lnTo>
                  <a:pt x="9906" y="1269492"/>
                </a:lnTo>
                <a:lnTo>
                  <a:pt x="9906" y="1279398"/>
                </a:lnTo>
                <a:lnTo>
                  <a:pt x="14478" y="1279411"/>
                </a:lnTo>
                <a:close/>
              </a:path>
              <a:path w="1535429" h="1283970">
                <a:moveTo>
                  <a:pt x="1530096" y="1283965"/>
                </a:moveTo>
                <a:lnTo>
                  <a:pt x="1530096" y="1274826"/>
                </a:lnTo>
                <a:lnTo>
                  <a:pt x="1525524" y="1279398"/>
                </a:lnTo>
                <a:lnTo>
                  <a:pt x="1525360" y="1274809"/>
                </a:lnTo>
                <a:lnTo>
                  <a:pt x="14458" y="1269507"/>
                </a:lnTo>
                <a:lnTo>
                  <a:pt x="14478" y="1279411"/>
                </a:lnTo>
                <a:lnTo>
                  <a:pt x="1530096" y="1283965"/>
                </a:lnTo>
                <a:close/>
              </a:path>
              <a:path w="1535429" h="1283970">
                <a:moveTo>
                  <a:pt x="53340" y="13716"/>
                </a:moveTo>
                <a:lnTo>
                  <a:pt x="49530" y="9144"/>
                </a:lnTo>
                <a:lnTo>
                  <a:pt x="49530" y="13358"/>
                </a:lnTo>
                <a:lnTo>
                  <a:pt x="53340" y="13716"/>
                </a:lnTo>
                <a:close/>
              </a:path>
              <a:path w="1535429" h="1283970">
                <a:moveTo>
                  <a:pt x="53340" y="1235202"/>
                </a:moveTo>
                <a:lnTo>
                  <a:pt x="53340" y="13716"/>
                </a:lnTo>
                <a:lnTo>
                  <a:pt x="49530" y="13358"/>
                </a:lnTo>
                <a:lnTo>
                  <a:pt x="49530" y="1232916"/>
                </a:lnTo>
                <a:lnTo>
                  <a:pt x="51054" y="1235202"/>
                </a:lnTo>
                <a:lnTo>
                  <a:pt x="53340" y="1235202"/>
                </a:lnTo>
                <a:close/>
              </a:path>
              <a:path w="1535429" h="1283970">
                <a:moveTo>
                  <a:pt x="1535430" y="1280160"/>
                </a:moveTo>
                <a:lnTo>
                  <a:pt x="1535430" y="1279398"/>
                </a:lnTo>
                <a:lnTo>
                  <a:pt x="1533906" y="1235964"/>
                </a:lnTo>
                <a:lnTo>
                  <a:pt x="1533906" y="1233678"/>
                </a:lnTo>
                <a:lnTo>
                  <a:pt x="1531620" y="1231392"/>
                </a:lnTo>
                <a:lnTo>
                  <a:pt x="54102" y="1225296"/>
                </a:lnTo>
                <a:lnTo>
                  <a:pt x="58674" y="1229868"/>
                </a:lnTo>
                <a:lnTo>
                  <a:pt x="58674" y="1235220"/>
                </a:lnTo>
                <a:lnTo>
                  <a:pt x="1524000" y="1241279"/>
                </a:lnTo>
                <a:lnTo>
                  <a:pt x="1524000" y="1236726"/>
                </a:lnTo>
                <a:lnTo>
                  <a:pt x="1528572" y="1241298"/>
                </a:lnTo>
                <a:lnTo>
                  <a:pt x="1528572" y="1274820"/>
                </a:lnTo>
                <a:lnTo>
                  <a:pt x="1530096" y="1274826"/>
                </a:lnTo>
                <a:lnTo>
                  <a:pt x="1530096" y="1283965"/>
                </a:lnTo>
                <a:lnTo>
                  <a:pt x="1531620" y="1283970"/>
                </a:lnTo>
                <a:lnTo>
                  <a:pt x="1533144" y="1283208"/>
                </a:lnTo>
                <a:lnTo>
                  <a:pt x="1534668" y="1281684"/>
                </a:lnTo>
                <a:lnTo>
                  <a:pt x="1535430" y="1280160"/>
                </a:lnTo>
                <a:close/>
              </a:path>
              <a:path w="1535429" h="1283970">
                <a:moveTo>
                  <a:pt x="58674" y="1235220"/>
                </a:moveTo>
                <a:lnTo>
                  <a:pt x="58674" y="1229868"/>
                </a:lnTo>
                <a:lnTo>
                  <a:pt x="54102" y="1225296"/>
                </a:lnTo>
                <a:lnTo>
                  <a:pt x="54102" y="1235202"/>
                </a:lnTo>
                <a:lnTo>
                  <a:pt x="58674" y="1235220"/>
                </a:lnTo>
                <a:close/>
              </a:path>
              <a:path w="1535429" h="1283970">
                <a:moveTo>
                  <a:pt x="1528572" y="1241298"/>
                </a:moveTo>
                <a:lnTo>
                  <a:pt x="1524000" y="1236726"/>
                </a:lnTo>
                <a:lnTo>
                  <a:pt x="1524162" y="1241279"/>
                </a:lnTo>
                <a:lnTo>
                  <a:pt x="1528572" y="1241298"/>
                </a:lnTo>
                <a:close/>
              </a:path>
              <a:path w="1535429" h="1283970">
                <a:moveTo>
                  <a:pt x="1524162" y="1241279"/>
                </a:moveTo>
                <a:lnTo>
                  <a:pt x="1524000" y="1236726"/>
                </a:lnTo>
                <a:lnTo>
                  <a:pt x="1524000" y="1241279"/>
                </a:lnTo>
                <a:lnTo>
                  <a:pt x="1524162" y="1241279"/>
                </a:lnTo>
                <a:close/>
              </a:path>
              <a:path w="1535429" h="1283970">
                <a:moveTo>
                  <a:pt x="1528572" y="1274820"/>
                </a:moveTo>
                <a:lnTo>
                  <a:pt x="1528572" y="1241298"/>
                </a:lnTo>
                <a:lnTo>
                  <a:pt x="1524162" y="1241279"/>
                </a:lnTo>
                <a:lnTo>
                  <a:pt x="1525360" y="1274809"/>
                </a:lnTo>
                <a:lnTo>
                  <a:pt x="1528572" y="1274820"/>
                </a:lnTo>
                <a:close/>
              </a:path>
              <a:path w="1535429" h="1283970">
                <a:moveTo>
                  <a:pt x="1530096" y="1274826"/>
                </a:moveTo>
                <a:lnTo>
                  <a:pt x="1525360" y="1274809"/>
                </a:lnTo>
                <a:lnTo>
                  <a:pt x="1525524" y="1279398"/>
                </a:lnTo>
                <a:lnTo>
                  <a:pt x="1530096" y="1274826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6" name="object 7"/>
          <p:cNvSpPr/>
          <p:nvPr/>
        </p:nvSpPr>
        <p:spPr>
          <a:xfrm>
            <a:off x="5372448" y="4095472"/>
            <a:ext cx="1015076" cy="312074"/>
          </a:xfrm>
          <a:custGeom>
            <a:avLst/>
            <a:gdLst/>
            <a:ahLst/>
            <a:cxnLst/>
            <a:rect l="l" t="t" r="r" b="b"/>
            <a:pathLst>
              <a:path w="1536700" h="702310">
                <a:moveTo>
                  <a:pt x="0" y="0"/>
                </a:moveTo>
                <a:lnTo>
                  <a:pt x="0" y="701802"/>
                </a:lnTo>
                <a:lnTo>
                  <a:pt x="1536192" y="701801"/>
                </a:lnTo>
                <a:lnTo>
                  <a:pt x="1536191" y="0"/>
                </a:lnTo>
                <a:lnTo>
                  <a:pt x="0" y="0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8" name="object 9"/>
          <p:cNvSpPr/>
          <p:nvPr/>
        </p:nvSpPr>
        <p:spPr>
          <a:xfrm>
            <a:off x="5681501" y="3853036"/>
            <a:ext cx="0" cy="242661"/>
          </a:xfrm>
          <a:custGeom>
            <a:avLst/>
            <a:gdLst/>
            <a:ahLst/>
            <a:cxnLst/>
            <a:rect l="l" t="t" r="r" b="b"/>
            <a:pathLst>
              <a:path h="546100">
                <a:moveTo>
                  <a:pt x="0" y="0"/>
                </a:moveTo>
                <a:lnTo>
                  <a:pt x="0" y="545591"/>
                </a:lnTo>
              </a:path>
            </a:pathLst>
          </a:custGeom>
          <a:ln w="44196">
            <a:solidFill>
              <a:srgbClr val="33CCCC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9" name="object 10"/>
          <p:cNvSpPr/>
          <p:nvPr/>
        </p:nvSpPr>
        <p:spPr>
          <a:xfrm>
            <a:off x="5663885" y="3850666"/>
            <a:ext cx="36073" cy="247175"/>
          </a:xfrm>
          <a:custGeom>
            <a:avLst/>
            <a:gdLst/>
            <a:ahLst/>
            <a:cxnLst/>
            <a:rect l="l" t="t" r="r" b="b"/>
            <a:pathLst>
              <a:path w="54610" h="556260">
                <a:moveTo>
                  <a:pt x="54101" y="556260"/>
                </a:moveTo>
                <a:lnTo>
                  <a:pt x="54101" y="0"/>
                </a:lnTo>
                <a:lnTo>
                  <a:pt x="0" y="0"/>
                </a:lnTo>
                <a:lnTo>
                  <a:pt x="0" y="556260"/>
                </a:lnTo>
                <a:lnTo>
                  <a:pt x="4572" y="556260"/>
                </a:lnTo>
                <a:lnTo>
                  <a:pt x="4572" y="9905"/>
                </a:lnTo>
                <a:lnTo>
                  <a:pt x="9144" y="5333"/>
                </a:lnTo>
                <a:lnTo>
                  <a:pt x="9144" y="9905"/>
                </a:lnTo>
                <a:lnTo>
                  <a:pt x="44196" y="9905"/>
                </a:lnTo>
                <a:lnTo>
                  <a:pt x="44196" y="5333"/>
                </a:lnTo>
                <a:lnTo>
                  <a:pt x="48768" y="9905"/>
                </a:lnTo>
                <a:lnTo>
                  <a:pt x="48768" y="556260"/>
                </a:lnTo>
                <a:lnTo>
                  <a:pt x="54101" y="556260"/>
                </a:lnTo>
                <a:close/>
              </a:path>
              <a:path w="54610" h="556260">
                <a:moveTo>
                  <a:pt x="9144" y="9905"/>
                </a:moveTo>
                <a:lnTo>
                  <a:pt x="9144" y="5333"/>
                </a:lnTo>
                <a:lnTo>
                  <a:pt x="4572" y="9905"/>
                </a:lnTo>
                <a:lnTo>
                  <a:pt x="9144" y="9905"/>
                </a:lnTo>
                <a:close/>
              </a:path>
              <a:path w="54610" h="556260">
                <a:moveTo>
                  <a:pt x="9144" y="546353"/>
                </a:moveTo>
                <a:lnTo>
                  <a:pt x="9144" y="9905"/>
                </a:lnTo>
                <a:lnTo>
                  <a:pt x="4572" y="9905"/>
                </a:lnTo>
                <a:lnTo>
                  <a:pt x="4572" y="546353"/>
                </a:lnTo>
                <a:lnTo>
                  <a:pt x="9144" y="546353"/>
                </a:lnTo>
                <a:close/>
              </a:path>
              <a:path w="54610" h="556260">
                <a:moveTo>
                  <a:pt x="48768" y="546353"/>
                </a:moveTo>
                <a:lnTo>
                  <a:pt x="4572" y="546353"/>
                </a:lnTo>
                <a:lnTo>
                  <a:pt x="9144" y="550926"/>
                </a:lnTo>
                <a:lnTo>
                  <a:pt x="9144" y="556260"/>
                </a:lnTo>
                <a:lnTo>
                  <a:pt x="44196" y="556260"/>
                </a:lnTo>
                <a:lnTo>
                  <a:pt x="44196" y="550926"/>
                </a:lnTo>
                <a:lnTo>
                  <a:pt x="48768" y="546353"/>
                </a:lnTo>
                <a:close/>
              </a:path>
              <a:path w="54610" h="556260">
                <a:moveTo>
                  <a:pt x="9144" y="556260"/>
                </a:moveTo>
                <a:lnTo>
                  <a:pt x="9144" y="550926"/>
                </a:lnTo>
                <a:lnTo>
                  <a:pt x="4572" y="546353"/>
                </a:lnTo>
                <a:lnTo>
                  <a:pt x="4572" y="556260"/>
                </a:lnTo>
                <a:lnTo>
                  <a:pt x="9144" y="556260"/>
                </a:lnTo>
                <a:close/>
              </a:path>
              <a:path w="54610" h="556260">
                <a:moveTo>
                  <a:pt x="48768" y="9905"/>
                </a:moveTo>
                <a:lnTo>
                  <a:pt x="44196" y="5333"/>
                </a:lnTo>
                <a:lnTo>
                  <a:pt x="44196" y="9905"/>
                </a:lnTo>
                <a:lnTo>
                  <a:pt x="48768" y="9905"/>
                </a:lnTo>
                <a:close/>
              </a:path>
              <a:path w="54610" h="556260">
                <a:moveTo>
                  <a:pt x="48768" y="546353"/>
                </a:moveTo>
                <a:lnTo>
                  <a:pt x="48768" y="9905"/>
                </a:lnTo>
                <a:lnTo>
                  <a:pt x="44196" y="9905"/>
                </a:lnTo>
                <a:lnTo>
                  <a:pt x="44196" y="546353"/>
                </a:lnTo>
                <a:lnTo>
                  <a:pt x="48768" y="546353"/>
                </a:lnTo>
                <a:close/>
              </a:path>
              <a:path w="54610" h="556260">
                <a:moveTo>
                  <a:pt x="48768" y="556260"/>
                </a:moveTo>
                <a:lnTo>
                  <a:pt x="48768" y="546353"/>
                </a:lnTo>
                <a:lnTo>
                  <a:pt x="44196" y="550926"/>
                </a:lnTo>
                <a:lnTo>
                  <a:pt x="44196" y="556260"/>
                </a:lnTo>
                <a:lnTo>
                  <a:pt x="48768" y="556260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0" name="object 11"/>
          <p:cNvSpPr/>
          <p:nvPr/>
        </p:nvSpPr>
        <p:spPr>
          <a:xfrm>
            <a:off x="5621855" y="3853036"/>
            <a:ext cx="0" cy="242661"/>
          </a:xfrm>
          <a:custGeom>
            <a:avLst/>
            <a:gdLst/>
            <a:ahLst/>
            <a:cxnLst/>
            <a:rect l="l" t="t" r="r" b="b"/>
            <a:pathLst>
              <a:path h="546100">
                <a:moveTo>
                  <a:pt x="0" y="0"/>
                </a:moveTo>
                <a:lnTo>
                  <a:pt x="0" y="545591"/>
                </a:lnTo>
              </a:path>
            </a:pathLst>
          </a:custGeom>
          <a:ln w="44958">
            <a:solidFill>
              <a:srgbClr val="99CC0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1" name="object 12"/>
          <p:cNvSpPr/>
          <p:nvPr/>
        </p:nvSpPr>
        <p:spPr>
          <a:xfrm>
            <a:off x="5603986" y="3850666"/>
            <a:ext cx="36073" cy="247175"/>
          </a:xfrm>
          <a:custGeom>
            <a:avLst/>
            <a:gdLst/>
            <a:ahLst/>
            <a:cxnLst/>
            <a:rect l="l" t="t" r="r" b="b"/>
            <a:pathLst>
              <a:path w="54610" h="556260">
                <a:moveTo>
                  <a:pt x="54101" y="556260"/>
                </a:moveTo>
                <a:lnTo>
                  <a:pt x="54101" y="0"/>
                </a:lnTo>
                <a:lnTo>
                  <a:pt x="0" y="0"/>
                </a:lnTo>
                <a:lnTo>
                  <a:pt x="0" y="556260"/>
                </a:lnTo>
                <a:lnTo>
                  <a:pt x="4572" y="556260"/>
                </a:lnTo>
                <a:lnTo>
                  <a:pt x="4572" y="9905"/>
                </a:lnTo>
                <a:lnTo>
                  <a:pt x="9905" y="5333"/>
                </a:lnTo>
                <a:lnTo>
                  <a:pt x="9905" y="9905"/>
                </a:lnTo>
                <a:lnTo>
                  <a:pt x="44196" y="9905"/>
                </a:lnTo>
                <a:lnTo>
                  <a:pt x="44196" y="5333"/>
                </a:lnTo>
                <a:lnTo>
                  <a:pt x="49529" y="9905"/>
                </a:lnTo>
                <a:lnTo>
                  <a:pt x="49529" y="556260"/>
                </a:lnTo>
                <a:lnTo>
                  <a:pt x="54101" y="556260"/>
                </a:lnTo>
                <a:close/>
              </a:path>
              <a:path w="54610" h="556260">
                <a:moveTo>
                  <a:pt x="9905" y="9905"/>
                </a:moveTo>
                <a:lnTo>
                  <a:pt x="9905" y="5333"/>
                </a:lnTo>
                <a:lnTo>
                  <a:pt x="4572" y="9905"/>
                </a:lnTo>
                <a:lnTo>
                  <a:pt x="9905" y="9905"/>
                </a:lnTo>
                <a:close/>
              </a:path>
              <a:path w="54610" h="556260">
                <a:moveTo>
                  <a:pt x="9905" y="546353"/>
                </a:moveTo>
                <a:lnTo>
                  <a:pt x="9905" y="9905"/>
                </a:lnTo>
                <a:lnTo>
                  <a:pt x="4572" y="9905"/>
                </a:lnTo>
                <a:lnTo>
                  <a:pt x="4572" y="546353"/>
                </a:lnTo>
                <a:lnTo>
                  <a:pt x="9905" y="546353"/>
                </a:lnTo>
                <a:close/>
              </a:path>
              <a:path w="54610" h="556260">
                <a:moveTo>
                  <a:pt x="49529" y="546353"/>
                </a:moveTo>
                <a:lnTo>
                  <a:pt x="4572" y="546353"/>
                </a:lnTo>
                <a:lnTo>
                  <a:pt x="9905" y="550926"/>
                </a:lnTo>
                <a:lnTo>
                  <a:pt x="9905" y="556260"/>
                </a:lnTo>
                <a:lnTo>
                  <a:pt x="44196" y="556260"/>
                </a:lnTo>
                <a:lnTo>
                  <a:pt x="44196" y="550926"/>
                </a:lnTo>
                <a:lnTo>
                  <a:pt x="49529" y="546353"/>
                </a:lnTo>
                <a:close/>
              </a:path>
              <a:path w="54610" h="556260">
                <a:moveTo>
                  <a:pt x="9905" y="556260"/>
                </a:moveTo>
                <a:lnTo>
                  <a:pt x="9905" y="550926"/>
                </a:lnTo>
                <a:lnTo>
                  <a:pt x="4572" y="546353"/>
                </a:lnTo>
                <a:lnTo>
                  <a:pt x="4572" y="556260"/>
                </a:lnTo>
                <a:lnTo>
                  <a:pt x="9905" y="556260"/>
                </a:lnTo>
                <a:close/>
              </a:path>
              <a:path w="54610" h="556260">
                <a:moveTo>
                  <a:pt x="49529" y="9905"/>
                </a:moveTo>
                <a:lnTo>
                  <a:pt x="44196" y="5333"/>
                </a:lnTo>
                <a:lnTo>
                  <a:pt x="44196" y="9905"/>
                </a:lnTo>
                <a:lnTo>
                  <a:pt x="49529" y="9905"/>
                </a:lnTo>
                <a:close/>
              </a:path>
              <a:path w="54610" h="556260">
                <a:moveTo>
                  <a:pt x="49529" y="546353"/>
                </a:moveTo>
                <a:lnTo>
                  <a:pt x="49529" y="9905"/>
                </a:lnTo>
                <a:lnTo>
                  <a:pt x="44196" y="9905"/>
                </a:lnTo>
                <a:lnTo>
                  <a:pt x="44196" y="546353"/>
                </a:lnTo>
                <a:lnTo>
                  <a:pt x="49529" y="546353"/>
                </a:lnTo>
                <a:close/>
              </a:path>
              <a:path w="54610" h="556260">
                <a:moveTo>
                  <a:pt x="49529" y="556260"/>
                </a:moveTo>
                <a:lnTo>
                  <a:pt x="49529" y="546353"/>
                </a:lnTo>
                <a:lnTo>
                  <a:pt x="44196" y="550926"/>
                </a:lnTo>
                <a:lnTo>
                  <a:pt x="44196" y="556260"/>
                </a:lnTo>
                <a:lnTo>
                  <a:pt x="49529" y="556260"/>
                </a:lnTo>
                <a:close/>
              </a:path>
            </a:pathLst>
          </a:custGeom>
          <a:solidFill>
            <a:srgbClr val="99CC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2" name="object 13"/>
          <p:cNvSpPr/>
          <p:nvPr/>
        </p:nvSpPr>
        <p:spPr>
          <a:xfrm>
            <a:off x="5300974" y="3988475"/>
            <a:ext cx="84310" cy="181149"/>
          </a:xfrm>
          <a:custGeom>
            <a:avLst/>
            <a:gdLst/>
            <a:ahLst/>
            <a:cxnLst/>
            <a:rect l="l" t="t" r="r" b="b"/>
            <a:pathLst>
              <a:path w="127635" h="407670">
                <a:moveTo>
                  <a:pt x="127253" y="76200"/>
                </a:moveTo>
                <a:lnTo>
                  <a:pt x="63246" y="0"/>
                </a:lnTo>
                <a:lnTo>
                  <a:pt x="0" y="76200"/>
                </a:lnTo>
                <a:lnTo>
                  <a:pt x="58674" y="76200"/>
                </a:lnTo>
                <a:lnTo>
                  <a:pt x="58674" y="63246"/>
                </a:lnTo>
                <a:lnTo>
                  <a:pt x="68579" y="63246"/>
                </a:lnTo>
                <a:lnTo>
                  <a:pt x="68579" y="76200"/>
                </a:lnTo>
                <a:lnTo>
                  <a:pt x="127253" y="76200"/>
                </a:lnTo>
                <a:close/>
              </a:path>
              <a:path w="127635" h="407670">
                <a:moveTo>
                  <a:pt x="68579" y="76200"/>
                </a:moveTo>
                <a:lnTo>
                  <a:pt x="68579" y="63246"/>
                </a:lnTo>
                <a:lnTo>
                  <a:pt x="58674" y="63246"/>
                </a:lnTo>
                <a:lnTo>
                  <a:pt x="58674" y="76200"/>
                </a:lnTo>
                <a:lnTo>
                  <a:pt x="68579" y="76200"/>
                </a:lnTo>
                <a:close/>
              </a:path>
              <a:path w="127635" h="407670">
                <a:moveTo>
                  <a:pt x="68580" y="407670"/>
                </a:moveTo>
                <a:lnTo>
                  <a:pt x="68579" y="76200"/>
                </a:lnTo>
                <a:lnTo>
                  <a:pt x="58674" y="76200"/>
                </a:lnTo>
                <a:lnTo>
                  <a:pt x="58674" y="407670"/>
                </a:lnTo>
                <a:lnTo>
                  <a:pt x="68580" y="40767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3" name="object 14"/>
          <p:cNvSpPr/>
          <p:nvPr/>
        </p:nvSpPr>
        <p:spPr>
          <a:xfrm>
            <a:off x="5572779" y="4006760"/>
            <a:ext cx="83891" cy="136284"/>
          </a:xfrm>
          <a:custGeom>
            <a:avLst/>
            <a:gdLst/>
            <a:ahLst/>
            <a:cxnLst/>
            <a:rect l="l" t="t" r="r" b="b"/>
            <a:pathLst>
              <a:path w="127000" h="306704">
                <a:moveTo>
                  <a:pt x="126492" y="230124"/>
                </a:moveTo>
                <a:lnTo>
                  <a:pt x="0" y="230124"/>
                </a:lnTo>
                <a:lnTo>
                  <a:pt x="58674" y="300815"/>
                </a:lnTo>
                <a:lnTo>
                  <a:pt x="58674" y="243077"/>
                </a:lnTo>
                <a:lnTo>
                  <a:pt x="67818" y="243077"/>
                </a:lnTo>
                <a:lnTo>
                  <a:pt x="67818" y="300815"/>
                </a:lnTo>
                <a:lnTo>
                  <a:pt x="126492" y="230124"/>
                </a:lnTo>
                <a:close/>
              </a:path>
              <a:path w="127000" h="306704">
                <a:moveTo>
                  <a:pt x="67818" y="230124"/>
                </a:moveTo>
                <a:lnTo>
                  <a:pt x="67818" y="0"/>
                </a:lnTo>
                <a:lnTo>
                  <a:pt x="58674" y="0"/>
                </a:lnTo>
                <a:lnTo>
                  <a:pt x="58674" y="230124"/>
                </a:lnTo>
                <a:lnTo>
                  <a:pt x="67818" y="230124"/>
                </a:lnTo>
                <a:close/>
              </a:path>
              <a:path w="127000" h="306704">
                <a:moveTo>
                  <a:pt x="67818" y="300815"/>
                </a:moveTo>
                <a:lnTo>
                  <a:pt x="67818" y="243077"/>
                </a:lnTo>
                <a:lnTo>
                  <a:pt x="58674" y="243077"/>
                </a:lnTo>
                <a:lnTo>
                  <a:pt x="58674" y="300815"/>
                </a:lnTo>
                <a:lnTo>
                  <a:pt x="63246" y="306324"/>
                </a:lnTo>
                <a:lnTo>
                  <a:pt x="67818" y="30081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4" name="object 15"/>
          <p:cNvSpPr/>
          <p:nvPr/>
        </p:nvSpPr>
        <p:spPr>
          <a:xfrm>
            <a:off x="5651301" y="3995247"/>
            <a:ext cx="83891" cy="159704"/>
          </a:xfrm>
          <a:custGeom>
            <a:avLst/>
            <a:gdLst/>
            <a:ahLst/>
            <a:cxnLst/>
            <a:rect l="l" t="t" r="r" b="b"/>
            <a:pathLst>
              <a:path w="127000" h="359410">
                <a:moveTo>
                  <a:pt x="126492" y="76200"/>
                </a:moveTo>
                <a:lnTo>
                  <a:pt x="63246" y="0"/>
                </a:lnTo>
                <a:lnTo>
                  <a:pt x="0" y="76200"/>
                </a:lnTo>
                <a:lnTo>
                  <a:pt x="58674" y="76200"/>
                </a:lnTo>
                <a:lnTo>
                  <a:pt x="58674" y="64007"/>
                </a:lnTo>
                <a:lnTo>
                  <a:pt x="67818" y="64007"/>
                </a:lnTo>
                <a:lnTo>
                  <a:pt x="67818" y="76200"/>
                </a:lnTo>
                <a:lnTo>
                  <a:pt x="126492" y="76200"/>
                </a:lnTo>
                <a:close/>
              </a:path>
              <a:path w="127000" h="359410">
                <a:moveTo>
                  <a:pt x="67818" y="76200"/>
                </a:moveTo>
                <a:lnTo>
                  <a:pt x="67818" y="64007"/>
                </a:lnTo>
                <a:lnTo>
                  <a:pt x="58674" y="64007"/>
                </a:lnTo>
                <a:lnTo>
                  <a:pt x="58674" y="76200"/>
                </a:lnTo>
                <a:lnTo>
                  <a:pt x="67818" y="76200"/>
                </a:lnTo>
                <a:close/>
              </a:path>
              <a:path w="127000" h="359410">
                <a:moveTo>
                  <a:pt x="67818" y="358901"/>
                </a:moveTo>
                <a:lnTo>
                  <a:pt x="67818" y="76200"/>
                </a:lnTo>
                <a:lnTo>
                  <a:pt x="58674" y="76200"/>
                </a:lnTo>
                <a:lnTo>
                  <a:pt x="58674" y="358901"/>
                </a:lnTo>
                <a:lnTo>
                  <a:pt x="67818" y="3589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5" name="object 19"/>
          <p:cNvSpPr/>
          <p:nvPr/>
        </p:nvSpPr>
        <p:spPr>
          <a:xfrm>
            <a:off x="5214902" y="3050903"/>
            <a:ext cx="195465" cy="802191"/>
          </a:xfrm>
          <a:custGeom>
            <a:avLst/>
            <a:gdLst/>
            <a:ahLst/>
            <a:cxnLst/>
            <a:rect l="l" t="t" r="r" b="b"/>
            <a:pathLst>
              <a:path w="295910" h="1805304">
                <a:moveTo>
                  <a:pt x="0" y="0"/>
                </a:moveTo>
                <a:lnTo>
                  <a:pt x="0" y="1805177"/>
                </a:lnTo>
                <a:lnTo>
                  <a:pt x="295656" y="1805177"/>
                </a:lnTo>
                <a:lnTo>
                  <a:pt x="295656" y="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6" name="object 20"/>
          <p:cNvSpPr/>
          <p:nvPr/>
        </p:nvSpPr>
        <p:spPr>
          <a:xfrm>
            <a:off x="5211882" y="3048871"/>
            <a:ext cx="201338" cy="806423"/>
          </a:xfrm>
          <a:custGeom>
            <a:avLst/>
            <a:gdLst/>
            <a:ahLst/>
            <a:cxnLst/>
            <a:rect l="l" t="t" r="r" b="b"/>
            <a:pathLst>
              <a:path w="304800" h="1814829">
                <a:moveTo>
                  <a:pt x="304800" y="1814322"/>
                </a:moveTo>
                <a:lnTo>
                  <a:pt x="304800" y="0"/>
                </a:lnTo>
                <a:lnTo>
                  <a:pt x="0" y="0"/>
                </a:lnTo>
                <a:lnTo>
                  <a:pt x="0" y="1814322"/>
                </a:lnTo>
                <a:lnTo>
                  <a:pt x="4572" y="1814322"/>
                </a:lnTo>
                <a:lnTo>
                  <a:pt x="4572" y="9144"/>
                </a:lnTo>
                <a:lnTo>
                  <a:pt x="9144" y="4572"/>
                </a:lnTo>
                <a:lnTo>
                  <a:pt x="9144" y="9144"/>
                </a:lnTo>
                <a:lnTo>
                  <a:pt x="294894" y="9144"/>
                </a:lnTo>
                <a:lnTo>
                  <a:pt x="294894" y="4572"/>
                </a:lnTo>
                <a:lnTo>
                  <a:pt x="300227" y="9144"/>
                </a:lnTo>
                <a:lnTo>
                  <a:pt x="300227" y="1814322"/>
                </a:lnTo>
                <a:lnTo>
                  <a:pt x="304800" y="1814322"/>
                </a:lnTo>
                <a:close/>
              </a:path>
              <a:path w="304800" h="1814829">
                <a:moveTo>
                  <a:pt x="9144" y="9144"/>
                </a:moveTo>
                <a:lnTo>
                  <a:pt x="9144" y="4572"/>
                </a:lnTo>
                <a:lnTo>
                  <a:pt x="4572" y="9144"/>
                </a:lnTo>
                <a:lnTo>
                  <a:pt x="9144" y="9144"/>
                </a:lnTo>
                <a:close/>
              </a:path>
              <a:path w="304800" h="1814829">
                <a:moveTo>
                  <a:pt x="9144" y="1804416"/>
                </a:moveTo>
                <a:lnTo>
                  <a:pt x="9144" y="9144"/>
                </a:lnTo>
                <a:lnTo>
                  <a:pt x="4572" y="9144"/>
                </a:lnTo>
                <a:lnTo>
                  <a:pt x="4572" y="1804416"/>
                </a:lnTo>
                <a:lnTo>
                  <a:pt x="9144" y="1804416"/>
                </a:lnTo>
                <a:close/>
              </a:path>
              <a:path w="304800" h="1814829">
                <a:moveTo>
                  <a:pt x="300227" y="1804416"/>
                </a:moveTo>
                <a:lnTo>
                  <a:pt x="4572" y="1804416"/>
                </a:lnTo>
                <a:lnTo>
                  <a:pt x="9144" y="1809750"/>
                </a:lnTo>
                <a:lnTo>
                  <a:pt x="9144" y="1814322"/>
                </a:lnTo>
                <a:lnTo>
                  <a:pt x="294894" y="1814322"/>
                </a:lnTo>
                <a:lnTo>
                  <a:pt x="294894" y="1809750"/>
                </a:lnTo>
                <a:lnTo>
                  <a:pt x="300227" y="1804416"/>
                </a:lnTo>
                <a:close/>
              </a:path>
              <a:path w="304800" h="1814829">
                <a:moveTo>
                  <a:pt x="9144" y="1814322"/>
                </a:moveTo>
                <a:lnTo>
                  <a:pt x="9144" y="1809750"/>
                </a:lnTo>
                <a:lnTo>
                  <a:pt x="4572" y="1804416"/>
                </a:lnTo>
                <a:lnTo>
                  <a:pt x="4572" y="1814322"/>
                </a:lnTo>
                <a:lnTo>
                  <a:pt x="9144" y="1814322"/>
                </a:lnTo>
                <a:close/>
              </a:path>
              <a:path w="304800" h="1814829">
                <a:moveTo>
                  <a:pt x="300227" y="9144"/>
                </a:moveTo>
                <a:lnTo>
                  <a:pt x="294894" y="4572"/>
                </a:lnTo>
                <a:lnTo>
                  <a:pt x="294894" y="9144"/>
                </a:lnTo>
                <a:lnTo>
                  <a:pt x="300227" y="9144"/>
                </a:lnTo>
                <a:close/>
              </a:path>
              <a:path w="304800" h="1814829">
                <a:moveTo>
                  <a:pt x="300227" y="1804416"/>
                </a:moveTo>
                <a:lnTo>
                  <a:pt x="300227" y="9144"/>
                </a:lnTo>
                <a:lnTo>
                  <a:pt x="294894" y="9144"/>
                </a:lnTo>
                <a:lnTo>
                  <a:pt x="294894" y="1804416"/>
                </a:lnTo>
                <a:lnTo>
                  <a:pt x="300227" y="1804416"/>
                </a:lnTo>
                <a:close/>
              </a:path>
              <a:path w="304800" h="1814829">
                <a:moveTo>
                  <a:pt x="300227" y="1814322"/>
                </a:moveTo>
                <a:lnTo>
                  <a:pt x="300227" y="1804416"/>
                </a:lnTo>
                <a:lnTo>
                  <a:pt x="294894" y="1809750"/>
                </a:lnTo>
                <a:lnTo>
                  <a:pt x="294894" y="1814322"/>
                </a:lnTo>
                <a:lnTo>
                  <a:pt x="300227" y="18143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7" name="object 21"/>
          <p:cNvSpPr/>
          <p:nvPr/>
        </p:nvSpPr>
        <p:spPr>
          <a:xfrm>
            <a:off x="5410200" y="3248304"/>
            <a:ext cx="94376" cy="373867"/>
          </a:xfrm>
          <a:custGeom>
            <a:avLst/>
            <a:gdLst/>
            <a:ahLst/>
            <a:cxnLst/>
            <a:rect l="l" t="t" r="r" b="b"/>
            <a:pathLst>
              <a:path w="142875" h="841375">
                <a:moveTo>
                  <a:pt x="142494" y="700278"/>
                </a:moveTo>
                <a:lnTo>
                  <a:pt x="135636" y="153924"/>
                </a:lnTo>
                <a:lnTo>
                  <a:pt x="0" y="0"/>
                </a:lnTo>
                <a:lnTo>
                  <a:pt x="0" y="841247"/>
                </a:lnTo>
                <a:lnTo>
                  <a:pt x="142494" y="700278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8" name="object 22"/>
          <p:cNvSpPr/>
          <p:nvPr/>
        </p:nvSpPr>
        <p:spPr>
          <a:xfrm>
            <a:off x="5406677" y="3245935"/>
            <a:ext cx="100668" cy="378663"/>
          </a:xfrm>
          <a:custGeom>
            <a:avLst/>
            <a:gdLst/>
            <a:ahLst/>
            <a:cxnLst/>
            <a:rect l="l" t="t" r="r" b="b"/>
            <a:pathLst>
              <a:path w="152400" h="852170">
                <a:moveTo>
                  <a:pt x="152400" y="708660"/>
                </a:moveTo>
                <a:lnTo>
                  <a:pt x="152400" y="705612"/>
                </a:lnTo>
                <a:lnTo>
                  <a:pt x="145542" y="157734"/>
                </a:lnTo>
                <a:lnTo>
                  <a:pt x="144780" y="156972"/>
                </a:lnTo>
                <a:lnTo>
                  <a:pt x="144018" y="155448"/>
                </a:lnTo>
                <a:lnTo>
                  <a:pt x="8382" y="2286"/>
                </a:lnTo>
                <a:lnTo>
                  <a:pt x="7620" y="762"/>
                </a:lnTo>
                <a:lnTo>
                  <a:pt x="5334" y="0"/>
                </a:lnTo>
                <a:lnTo>
                  <a:pt x="3047" y="762"/>
                </a:lnTo>
                <a:lnTo>
                  <a:pt x="1523" y="1524"/>
                </a:lnTo>
                <a:lnTo>
                  <a:pt x="0" y="3810"/>
                </a:lnTo>
                <a:lnTo>
                  <a:pt x="0" y="848868"/>
                </a:lnTo>
                <a:lnTo>
                  <a:pt x="1524" y="850392"/>
                </a:lnTo>
                <a:lnTo>
                  <a:pt x="1524" y="8382"/>
                </a:lnTo>
                <a:lnTo>
                  <a:pt x="9905" y="5334"/>
                </a:lnTo>
                <a:lnTo>
                  <a:pt x="9905" y="17894"/>
                </a:lnTo>
                <a:lnTo>
                  <a:pt x="136398" y="161441"/>
                </a:lnTo>
                <a:lnTo>
                  <a:pt x="136398" y="159258"/>
                </a:lnTo>
                <a:lnTo>
                  <a:pt x="137160" y="162306"/>
                </a:lnTo>
                <a:lnTo>
                  <a:pt x="137160" y="219964"/>
                </a:lnTo>
                <a:lnTo>
                  <a:pt x="143236" y="704082"/>
                </a:lnTo>
                <a:lnTo>
                  <a:pt x="144780" y="702564"/>
                </a:lnTo>
                <a:lnTo>
                  <a:pt x="144780" y="716159"/>
                </a:lnTo>
                <a:lnTo>
                  <a:pt x="152400" y="708660"/>
                </a:lnTo>
                <a:close/>
              </a:path>
              <a:path w="152400" h="852170">
                <a:moveTo>
                  <a:pt x="9905" y="17894"/>
                </a:moveTo>
                <a:lnTo>
                  <a:pt x="9905" y="5334"/>
                </a:lnTo>
                <a:lnTo>
                  <a:pt x="1524" y="8382"/>
                </a:lnTo>
                <a:lnTo>
                  <a:pt x="9905" y="17894"/>
                </a:lnTo>
                <a:close/>
              </a:path>
              <a:path w="152400" h="852170">
                <a:moveTo>
                  <a:pt x="9906" y="835285"/>
                </a:moveTo>
                <a:lnTo>
                  <a:pt x="9905" y="17894"/>
                </a:lnTo>
                <a:lnTo>
                  <a:pt x="1524" y="8382"/>
                </a:lnTo>
                <a:lnTo>
                  <a:pt x="1524" y="843534"/>
                </a:lnTo>
                <a:lnTo>
                  <a:pt x="9906" y="835285"/>
                </a:lnTo>
                <a:close/>
              </a:path>
              <a:path w="152400" h="852170">
                <a:moveTo>
                  <a:pt x="144780" y="716159"/>
                </a:moveTo>
                <a:lnTo>
                  <a:pt x="144780" y="702564"/>
                </a:lnTo>
                <a:lnTo>
                  <a:pt x="143256" y="705612"/>
                </a:lnTo>
                <a:lnTo>
                  <a:pt x="143236" y="704082"/>
                </a:lnTo>
                <a:lnTo>
                  <a:pt x="1524" y="843534"/>
                </a:lnTo>
                <a:lnTo>
                  <a:pt x="9906" y="846582"/>
                </a:lnTo>
                <a:lnTo>
                  <a:pt x="9906" y="848892"/>
                </a:lnTo>
                <a:lnTo>
                  <a:pt x="144780" y="716159"/>
                </a:lnTo>
                <a:close/>
              </a:path>
              <a:path w="152400" h="852170">
                <a:moveTo>
                  <a:pt x="9906" y="848892"/>
                </a:moveTo>
                <a:lnTo>
                  <a:pt x="9906" y="846582"/>
                </a:lnTo>
                <a:lnTo>
                  <a:pt x="1524" y="843534"/>
                </a:lnTo>
                <a:lnTo>
                  <a:pt x="1524" y="850392"/>
                </a:lnTo>
                <a:lnTo>
                  <a:pt x="3048" y="851154"/>
                </a:lnTo>
                <a:lnTo>
                  <a:pt x="5334" y="851916"/>
                </a:lnTo>
                <a:lnTo>
                  <a:pt x="6858" y="851916"/>
                </a:lnTo>
                <a:lnTo>
                  <a:pt x="9906" y="848892"/>
                </a:lnTo>
                <a:close/>
              </a:path>
              <a:path w="152400" h="852170">
                <a:moveTo>
                  <a:pt x="137160" y="162306"/>
                </a:moveTo>
                <a:lnTo>
                  <a:pt x="136398" y="159258"/>
                </a:lnTo>
                <a:lnTo>
                  <a:pt x="136425" y="161472"/>
                </a:lnTo>
                <a:lnTo>
                  <a:pt x="137160" y="162306"/>
                </a:lnTo>
                <a:close/>
              </a:path>
              <a:path w="152400" h="852170">
                <a:moveTo>
                  <a:pt x="136425" y="161472"/>
                </a:moveTo>
                <a:lnTo>
                  <a:pt x="136398" y="159258"/>
                </a:lnTo>
                <a:lnTo>
                  <a:pt x="136398" y="161441"/>
                </a:lnTo>
                <a:close/>
              </a:path>
              <a:path w="152400" h="852170">
                <a:moveTo>
                  <a:pt x="137160" y="219964"/>
                </a:moveTo>
                <a:lnTo>
                  <a:pt x="137160" y="162306"/>
                </a:lnTo>
                <a:lnTo>
                  <a:pt x="136425" y="161472"/>
                </a:lnTo>
                <a:lnTo>
                  <a:pt x="137160" y="219964"/>
                </a:lnTo>
                <a:close/>
              </a:path>
              <a:path w="152400" h="852170">
                <a:moveTo>
                  <a:pt x="144780" y="702564"/>
                </a:moveTo>
                <a:lnTo>
                  <a:pt x="143236" y="704082"/>
                </a:lnTo>
                <a:lnTo>
                  <a:pt x="143256" y="705612"/>
                </a:lnTo>
                <a:lnTo>
                  <a:pt x="144780" y="70256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9" name="object 23"/>
          <p:cNvSpPr/>
          <p:nvPr/>
        </p:nvSpPr>
        <p:spPr>
          <a:xfrm>
            <a:off x="5853645" y="2943229"/>
            <a:ext cx="143956" cy="1045247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0" name="object 24"/>
          <p:cNvSpPr/>
          <p:nvPr/>
        </p:nvSpPr>
        <p:spPr>
          <a:xfrm>
            <a:off x="5850625" y="2941197"/>
            <a:ext cx="150164" cy="1049366"/>
          </a:xfrm>
          <a:custGeom>
            <a:avLst/>
            <a:gdLst/>
            <a:ahLst/>
            <a:cxnLst/>
            <a:rect l="l" t="t" r="r" b="b"/>
            <a:pathLst>
              <a:path w="227329" h="2361565">
                <a:moveTo>
                  <a:pt x="227075" y="2361438"/>
                </a:moveTo>
                <a:lnTo>
                  <a:pt x="227075" y="0"/>
                </a:lnTo>
                <a:lnTo>
                  <a:pt x="0" y="0"/>
                </a:lnTo>
                <a:lnTo>
                  <a:pt x="0" y="2361438"/>
                </a:lnTo>
                <a:lnTo>
                  <a:pt x="4572" y="2361438"/>
                </a:lnTo>
                <a:lnTo>
                  <a:pt x="4572" y="9144"/>
                </a:lnTo>
                <a:lnTo>
                  <a:pt x="9144" y="4572"/>
                </a:lnTo>
                <a:lnTo>
                  <a:pt x="9144" y="9144"/>
                </a:lnTo>
                <a:lnTo>
                  <a:pt x="217932" y="9144"/>
                </a:lnTo>
                <a:lnTo>
                  <a:pt x="217932" y="4572"/>
                </a:lnTo>
                <a:lnTo>
                  <a:pt x="222504" y="9144"/>
                </a:lnTo>
                <a:lnTo>
                  <a:pt x="222504" y="2361438"/>
                </a:lnTo>
                <a:lnTo>
                  <a:pt x="227075" y="2361438"/>
                </a:lnTo>
                <a:close/>
              </a:path>
              <a:path w="227329" h="2361565">
                <a:moveTo>
                  <a:pt x="9144" y="9144"/>
                </a:moveTo>
                <a:lnTo>
                  <a:pt x="9144" y="4572"/>
                </a:lnTo>
                <a:lnTo>
                  <a:pt x="4572" y="9144"/>
                </a:lnTo>
                <a:lnTo>
                  <a:pt x="9144" y="9144"/>
                </a:lnTo>
                <a:close/>
              </a:path>
              <a:path w="227329" h="2361565">
                <a:moveTo>
                  <a:pt x="9144" y="2352294"/>
                </a:moveTo>
                <a:lnTo>
                  <a:pt x="9144" y="9144"/>
                </a:lnTo>
                <a:lnTo>
                  <a:pt x="4572" y="9144"/>
                </a:lnTo>
                <a:lnTo>
                  <a:pt x="4572" y="2352294"/>
                </a:lnTo>
                <a:lnTo>
                  <a:pt x="9144" y="2352294"/>
                </a:lnTo>
                <a:close/>
              </a:path>
              <a:path w="227329" h="2361565">
                <a:moveTo>
                  <a:pt x="222504" y="2352294"/>
                </a:moveTo>
                <a:lnTo>
                  <a:pt x="4572" y="2352294"/>
                </a:lnTo>
                <a:lnTo>
                  <a:pt x="9144" y="2356866"/>
                </a:lnTo>
                <a:lnTo>
                  <a:pt x="9144" y="2361438"/>
                </a:lnTo>
                <a:lnTo>
                  <a:pt x="217932" y="2361438"/>
                </a:lnTo>
                <a:lnTo>
                  <a:pt x="217932" y="2356866"/>
                </a:lnTo>
                <a:lnTo>
                  <a:pt x="222504" y="2352294"/>
                </a:lnTo>
                <a:close/>
              </a:path>
              <a:path w="227329" h="2361565">
                <a:moveTo>
                  <a:pt x="9144" y="2361438"/>
                </a:moveTo>
                <a:lnTo>
                  <a:pt x="9144" y="2356866"/>
                </a:lnTo>
                <a:lnTo>
                  <a:pt x="4572" y="2352294"/>
                </a:lnTo>
                <a:lnTo>
                  <a:pt x="4572" y="2361438"/>
                </a:lnTo>
                <a:lnTo>
                  <a:pt x="9144" y="2361438"/>
                </a:lnTo>
                <a:close/>
              </a:path>
              <a:path w="227329" h="2361565">
                <a:moveTo>
                  <a:pt x="222504" y="9144"/>
                </a:moveTo>
                <a:lnTo>
                  <a:pt x="217932" y="4572"/>
                </a:lnTo>
                <a:lnTo>
                  <a:pt x="217932" y="9144"/>
                </a:lnTo>
                <a:lnTo>
                  <a:pt x="222504" y="9144"/>
                </a:lnTo>
                <a:close/>
              </a:path>
              <a:path w="227329" h="2361565">
                <a:moveTo>
                  <a:pt x="222504" y="2352294"/>
                </a:moveTo>
                <a:lnTo>
                  <a:pt x="222504" y="9144"/>
                </a:lnTo>
                <a:lnTo>
                  <a:pt x="217932" y="9144"/>
                </a:lnTo>
                <a:lnTo>
                  <a:pt x="217932" y="2352294"/>
                </a:lnTo>
                <a:lnTo>
                  <a:pt x="222504" y="2352294"/>
                </a:lnTo>
                <a:close/>
              </a:path>
              <a:path w="227329" h="2361565">
                <a:moveTo>
                  <a:pt x="222504" y="2361438"/>
                </a:moveTo>
                <a:lnTo>
                  <a:pt x="222504" y="2352294"/>
                </a:lnTo>
                <a:lnTo>
                  <a:pt x="217932" y="2356866"/>
                </a:lnTo>
                <a:lnTo>
                  <a:pt x="217932" y="2361438"/>
                </a:lnTo>
                <a:lnTo>
                  <a:pt x="222504" y="23614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1" name="object 25"/>
          <p:cNvSpPr/>
          <p:nvPr/>
        </p:nvSpPr>
        <p:spPr>
          <a:xfrm>
            <a:off x="5411206" y="3061737"/>
            <a:ext cx="445458" cy="0"/>
          </a:xfrm>
          <a:custGeom>
            <a:avLst/>
            <a:gdLst/>
            <a:ahLst/>
            <a:cxnLst/>
            <a:rect l="l" t="t" r="r" b="b"/>
            <a:pathLst>
              <a:path w="674370">
                <a:moveTo>
                  <a:pt x="0" y="0"/>
                </a:moveTo>
                <a:lnTo>
                  <a:pt x="674370" y="0"/>
                </a:lnTo>
              </a:path>
            </a:pathLst>
          </a:custGeom>
          <a:ln w="91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2" name="object 26"/>
          <p:cNvSpPr/>
          <p:nvPr/>
        </p:nvSpPr>
        <p:spPr>
          <a:xfrm>
            <a:off x="5856917" y="3061737"/>
            <a:ext cx="0" cy="801909"/>
          </a:xfrm>
          <a:custGeom>
            <a:avLst/>
            <a:gdLst/>
            <a:ahLst/>
            <a:cxnLst/>
            <a:rect l="l" t="t" r="r" b="b"/>
            <a:pathLst>
              <a:path h="1804670">
                <a:moveTo>
                  <a:pt x="0" y="0"/>
                </a:moveTo>
                <a:lnTo>
                  <a:pt x="0" y="1804415"/>
                </a:lnTo>
              </a:path>
            </a:pathLst>
          </a:custGeom>
          <a:ln w="990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3" name="object 27"/>
          <p:cNvSpPr/>
          <p:nvPr/>
        </p:nvSpPr>
        <p:spPr>
          <a:xfrm>
            <a:off x="5408186" y="3861502"/>
            <a:ext cx="445458" cy="0"/>
          </a:xfrm>
          <a:custGeom>
            <a:avLst/>
            <a:gdLst/>
            <a:ahLst/>
            <a:cxnLst/>
            <a:rect l="l" t="t" r="r" b="b"/>
            <a:pathLst>
              <a:path w="674370">
                <a:moveTo>
                  <a:pt x="0" y="0"/>
                </a:moveTo>
                <a:lnTo>
                  <a:pt x="674370" y="0"/>
                </a:lnTo>
              </a:path>
            </a:pathLst>
          </a:custGeom>
          <a:ln w="91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4" name="object 28"/>
          <p:cNvSpPr/>
          <p:nvPr/>
        </p:nvSpPr>
        <p:spPr>
          <a:xfrm>
            <a:off x="5540565" y="3331259"/>
            <a:ext cx="6711" cy="16930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5" name="object 29"/>
          <p:cNvSpPr/>
          <p:nvPr/>
        </p:nvSpPr>
        <p:spPr>
          <a:xfrm>
            <a:off x="5540565" y="3360718"/>
            <a:ext cx="6711" cy="16930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6" name="object 30"/>
          <p:cNvSpPr/>
          <p:nvPr/>
        </p:nvSpPr>
        <p:spPr>
          <a:xfrm>
            <a:off x="5540565" y="3390514"/>
            <a:ext cx="6711" cy="16930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7" name="object 31"/>
          <p:cNvSpPr/>
          <p:nvPr/>
        </p:nvSpPr>
        <p:spPr>
          <a:xfrm>
            <a:off x="5404662" y="3063768"/>
            <a:ext cx="6711" cy="16930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6" y="38100"/>
                </a:moveTo>
                <a:lnTo>
                  <a:pt x="9906" y="0"/>
                </a:lnTo>
                <a:lnTo>
                  <a:pt x="0" y="0"/>
                </a:lnTo>
                <a:lnTo>
                  <a:pt x="0" y="38100"/>
                </a:lnTo>
                <a:lnTo>
                  <a:pt x="9906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8" name="object 32"/>
          <p:cNvSpPr/>
          <p:nvPr/>
        </p:nvSpPr>
        <p:spPr>
          <a:xfrm>
            <a:off x="5404662" y="3093565"/>
            <a:ext cx="6711" cy="16930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6" y="38100"/>
                </a:moveTo>
                <a:lnTo>
                  <a:pt x="9906" y="0"/>
                </a:lnTo>
                <a:lnTo>
                  <a:pt x="0" y="0"/>
                </a:lnTo>
                <a:lnTo>
                  <a:pt x="0" y="38100"/>
                </a:lnTo>
                <a:lnTo>
                  <a:pt x="9906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9" name="object 33"/>
          <p:cNvSpPr/>
          <p:nvPr/>
        </p:nvSpPr>
        <p:spPr>
          <a:xfrm>
            <a:off x="5404662" y="3123022"/>
            <a:ext cx="6711" cy="16930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6" y="38100"/>
                </a:moveTo>
                <a:lnTo>
                  <a:pt x="9906" y="0"/>
                </a:lnTo>
                <a:lnTo>
                  <a:pt x="0" y="0"/>
                </a:lnTo>
                <a:lnTo>
                  <a:pt x="0" y="38100"/>
                </a:lnTo>
                <a:lnTo>
                  <a:pt x="9906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0" name="object 34"/>
          <p:cNvSpPr/>
          <p:nvPr/>
        </p:nvSpPr>
        <p:spPr>
          <a:xfrm>
            <a:off x="5404662" y="3152819"/>
            <a:ext cx="6711" cy="16930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6" y="38100"/>
                </a:moveTo>
                <a:lnTo>
                  <a:pt x="9906" y="0"/>
                </a:lnTo>
                <a:lnTo>
                  <a:pt x="0" y="0"/>
                </a:lnTo>
                <a:lnTo>
                  <a:pt x="0" y="38100"/>
                </a:lnTo>
                <a:lnTo>
                  <a:pt x="9906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1" name="object 35"/>
          <p:cNvSpPr/>
          <p:nvPr/>
        </p:nvSpPr>
        <p:spPr>
          <a:xfrm>
            <a:off x="5404662" y="3182278"/>
            <a:ext cx="6711" cy="16930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6" y="38100"/>
                </a:moveTo>
                <a:lnTo>
                  <a:pt x="9906" y="0"/>
                </a:lnTo>
                <a:lnTo>
                  <a:pt x="0" y="0"/>
                </a:lnTo>
                <a:lnTo>
                  <a:pt x="0" y="38100"/>
                </a:lnTo>
                <a:lnTo>
                  <a:pt x="9906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2" name="object 36"/>
          <p:cNvSpPr/>
          <p:nvPr/>
        </p:nvSpPr>
        <p:spPr>
          <a:xfrm>
            <a:off x="5404662" y="3212074"/>
            <a:ext cx="6711" cy="16930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6" y="38100"/>
                </a:moveTo>
                <a:lnTo>
                  <a:pt x="9906" y="0"/>
                </a:lnTo>
                <a:lnTo>
                  <a:pt x="0" y="0"/>
                </a:lnTo>
                <a:lnTo>
                  <a:pt x="0" y="38100"/>
                </a:lnTo>
                <a:lnTo>
                  <a:pt x="9906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3" name="object 37"/>
          <p:cNvSpPr/>
          <p:nvPr/>
        </p:nvSpPr>
        <p:spPr>
          <a:xfrm>
            <a:off x="5405670" y="3240515"/>
            <a:ext cx="134645" cy="92268"/>
          </a:xfrm>
          <a:custGeom>
            <a:avLst/>
            <a:gdLst/>
            <a:ahLst/>
            <a:cxnLst/>
            <a:rect l="l" t="t" r="r" b="b"/>
            <a:pathLst>
              <a:path w="203835" h="207645">
                <a:moveTo>
                  <a:pt x="33528" y="27432"/>
                </a:moveTo>
                <a:lnTo>
                  <a:pt x="6858" y="0"/>
                </a:lnTo>
                <a:lnTo>
                  <a:pt x="0" y="6858"/>
                </a:lnTo>
                <a:lnTo>
                  <a:pt x="26670" y="34290"/>
                </a:lnTo>
                <a:lnTo>
                  <a:pt x="33528" y="27432"/>
                </a:lnTo>
                <a:close/>
              </a:path>
              <a:path w="203835" h="207645">
                <a:moveTo>
                  <a:pt x="80010" y="74676"/>
                </a:moveTo>
                <a:lnTo>
                  <a:pt x="53340" y="48006"/>
                </a:lnTo>
                <a:lnTo>
                  <a:pt x="46482" y="54102"/>
                </a:lnTo>
                <a:lnTo>
                  <a:pt x="73152" y="81534"/>
                </a:lnTo>
                <a:lnTo>
                  <a:pt x="80010" y="74676"/>
                </a:lnTo>
                <a:close/>
              </a:path>
              <a:path w="203835" h="207645">
                <a:moveTo>
                  <a:pt x="126492" y="122682"/>
                </a:moveTo>
                <a:lnTo>
                  <a:pt x="99822" y="95249"/>
                </a:lnTo>
                <a:lnTo>
                  <a:pt x="92964" y="102107"/>
                </a:lnTo>
                <a:lnTo>
                  <a:pt x="119634" y="129539"/>
                </a:lnTo>
                <a:lnTo>
                  <a:pt x="126492" y="122682"/>
                </a:lnTo>
                <a:close/>
              </a:path>
              <a:path w="203835" h="207645">
                <a:moveTo>
                  <a:pt x="173736" y="169926"/>
                </a:moveTo>
                <a:lnTo>
                  <a:pt x="147066" y="143256"/>
                </a:lnTo>
                <a:lnTo>
                  <a:pt x="140208" y="149352"/>
                </a:lnTo>
                <a:lnTo>
                  <a:pt x="166878" y="176784"/>
                </a:lnTo>
                <a:lnTo>
                  <a:pt x="173736" y="169926"/>
                </a:lnTo>
                <a:close/>
              </a:path>
              <a:path w="203835" h="207645">
                <a:moveTo>
                  <a:pt x="203454" y="200405"/>
                </a:moveTo>
                <a:lnTo>
                  <a:pt x="193548" y="190499"/>
                </a:lnTo>
                <a:lnTo>
                  <a:pt x="186690" y="197358"/>
                </a:lnTo>
                <a:lnTo>
                  <a:pt x="196596" y="207264"/>
                </a:lnTo>
                <a:lnTo>
                  <a:pt x="203454" y="2004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4" name="object 38"/>
          <p:cNvSpPr/>
          <p:nvPr/>
        </p:nvSpPr>
        <p:spPr>
          <a:xfrm>
            <a:off x="5541068" y="3416587"/>
            <a:ext cx="311235" cy="55587"/>
          </a:xfrm>
          <a:custGeom>
            <a:avLst/>
            <a:gdLst/>
            <a:ahLst/>
            <a:cxnLst/>
            <a:rect l="l" t="t" r="r" b="b"/>
            <a:pathLst>
              <a:path w="471170" h="125095">
                <a:moveTo>
                  <a:pt x="17526" y="37338"/>
                </a:moveTo>
                <a:lnTo>
                  <a:pt x="9144" y="0"/>
                </a:lnTo>
                <a:lnTo>
                  <a:pt x="0" y="2286"/>
                </a:lnTo>
                <a:lnTo>
                  <a:pt x="8382" y="39624"/>
                </a:lnTo>
                <a:lnTo>
                  <a:pt x="17526" y="37338"/>
                </a:lnTo>
                <a:close/>
              </a:path>
              <a:path w="471170" h="125095">
                <a:moveTo>
                  <a:pt x="77724" y="41148"/>
                </a:moveTo>
                <a:lnTo>
                  <a:pt x="39624" y="38100"/>
                </a:lnTo>
                <a:lnTo>
                  <a:pt x="38862" y="48006"/>
                </a:lnTo>
                <a:lnTo>
                  <a:pt x="76962" y="51053"/>
                </a:lnTo>
                <a:lnTo>
                  <a:pt x="77724" y="41148"/>
                </a:lnTo>
                <a:close/>
              </a:path>
              <a:path w="471170" h="125095">
                <a:moveTo>
                  <a:pt x="144018" y="46481"/>
                </a:moveTo>
                <a:lnTo>
                  <a:pt x="105918" y="43433"/>
                </a:lnTo>
                <a:lnTo>
                  <a:pt x="105156" y="53339"/>
                </a:lnTo>
                <a:lnTo>
                  <a:pt x="143256" y="56387"/>
                </a:lnTo>
                <a:lnTo>
                  <a:pt x="144018" y="46481"/>
                </a:lnTo>
                <a:close/>
              </a:path>
              <a:path w="471170" h="125095">
                <a:moveTo>
                  <a:pt x="210312" y="51815"/>
                </a:moveTo>
                <a:lnTo>
                  <a:pt x="172212" y="48767"/>
                </a:lnTo>
                <a:lnTo>
                  <a:pt x="171450" y="58673"/>
                </a:lnTo>
                <a:lnTo>
                  <a:pt x="209550" y="60959"/>
                </a:lnTo>
                <a:lnTo>
                  <a:pt x="210312" y="51815"/>
                </a:lnTo>
                <a:close/>
              </a:path>
              <a:path w="471170" h="125095">
                <a:moveTo>
                  <a:pt x="276606" y="66293"/>
                </a:moveTo>
                <a:lnTo>
                  <a:pt x="276606" y="57149"/>
                </a:lnTo>
                <a:lnTo>
                  <a:pt x="239268" y="54101"/>
                </a:lnTo>
                <a:lnTo>
                  <a:pt x="238506" y="63245"/>
                </a:lnTo>
                <a:lnTo>
                  <a:pt x="276606" y="66293"/>
                </a:lnTo>
                <a:close/>
              </a:path>
              <a:path w="471170" h="125095">
                <a:moveTo>
                  <a:pt x="343662" y="62483"/>
                </a:moveTo>
                <a:lnTo>
                  <a:pt x="305562" y="59435"/>
                </a:lnTo>
                <a:lnTo>
                  <a:pt x="304800" y="68579"/>
                </a:lnTo>
                <a:lnTo>
                  <a:pt x="342900" y="71627"/>
                </a:lnTo>
                <a:lnTo>
                  <a:pt x="343662" y="62483"/>
                </a:lnTo>
                <a:close/>
              </a:path>
              <a:path w="471170" h="125095">
                <a:moveTo>
                  <a:pt x="409956" y="67055"/>
                </a:moveTo>
                <a:lnTo>
                  <a:pt x="371856" y="64769"/>
                </a:lnTo>
                <a:lnTo>
                  <a:pt x="371094" y="73913"/>
                </a:lnTo>
                <a:lnTo>
                  <a:pt x="389382" y="75377"/>
                </a:lnTo>
                <a:lnTo>
                  <a:pt x="389382" y="73913"/>
                </a:lnTo>
                <a:lnTo>
                  <a:pt x="409459" y="73512"/>
                </a:lnTo>
                <a:lnTo>
                  <a:pt x="409956" y="67055"/>
                </a:lnTo>
                <a:close/>
              </a:path>
              <a:path w="471170" h="125095">
                <a:moveTo>
                  <a:pt x="409459" y="73512"/>
                </a:moveTo>
                <a:lnTo>
                  <a:pt x="389382" y="73913"/>
                </a:lnTo>
                <a:lnTo>
                  <a:pt x="389382" y="75377"/>
                </a:lnTo>
                <a:lnTo>
                  <a:pt x="409194" y="76961"/>
                </a:lnTo>
                <a:lnTo>
                  <a:pt x="409459" y="73512"/>
                </a:lnTo>
                <a:close/>
              </a:path>
              <a:path w="471170" h="125095">
                <a:moveTo>
                  <a:pt x="427482" y="82295"/>
                </a:moveTo>
                <a:lnTo>
                  <a:pt x="427482" y="73151"/>
                </a:lnTo>
                <a:lnTo>
                  <a:pt x="409459" y="73512"/>
                </a:lnTo>
                <a:lnTo>
                  <a:pt x="409194" y="76961"/>
                </a:lnTo>
                <a:lnTo>
                  <a:pt x="389382" y="75377"/>
                </a:lnTo>
                <a:lnTo>
                  <a:pt x="389382" y="83057"/>
                </a:lnTo>
                <a:lnTo>
                  <a:pt x="427482" y="82295"/>
                </a:lnTo>
                <a:close/>
              </a:path>
              <a:path w="471170" h="125095">
                <a:moveTo>
                  <a:pt x="466344" y="71627"/>
                </a:moveTo>
                <a:lnTo>
                  <a:pt x="438150" y="69341"/>
                </a:lnTo>
                <a:lnTo>
                  <a:pt x="437388" y="79247"/>
                </a:lnTo>
                <a:lnTo>
                  <a:pt x="455676" y="80730"/>
                </a:lnTo>
                <a:lnTo>
                  <a:pt x="455676" y="72389"/>
                </a:lnTo>
                <a:lnTo>
                  <a:pt x="466344" y="71627"/>
                </a:lnTo>
                <a:close/>
              </a:path>
              <a:path w="471170" h="125095">
                <a:moveTo>
                  <a:pt x="466344" y="71627"/>
                </a:moveTo>
                <a:lnTo>
                  <a:pt x="455676" y="72389"/>
                </a:lnTo>
                <a:lnTo>
                  <a:pt x="456375" y="80787"/>
                </a:lnTo>
                <a:lnTo>
                  <a:pt x="465582" y="81533"/>
                </a:lnTo>
                <a:lnTo>
                  <a:pt x="466344" y="71627"/>
                </a:lnTo>
                <a:close/>
              </a:path>
              <a:path w="471170" h="125095">
                <a:moveTo>
                  <a:pt x="456375" y="80787"/>
                </a:moveTo>
                <a:lnTo>
                  <a:pt x="455676" y="72389"/>
                </a:lnTo>
                <a:lnTo>
                  <a:pt x="455676" y="80730"/>
                </a:lnTo>
                <a:lnTo>
                  <a:pt x="456375" y="80787"/>
                </a:lnTo>
                <a:close/>
              </a:path>
              <a:path w="471170" h="125095">
                <a:moveTo>
                  <a:pt x="465582" y="81533"/>
                </a:moveTo>
                <a:lnTo>
                  <a:pt x="456375" y="80787"/>
                </a:lnTo>
                <a:lnTo>
                  <a:pt x="456438" y="81533"/>
                </a:lnTo>
                <a:lnTo>
                  <a:pt x="465582" y="81533"/>
                </a:lnTo>
                <a:close/>
              </a:path>
              <a:path w="471170" h="125095">
                <a:moveTo>
                  <a:pt x="470916" y="79247"/>
                </a:moveTo>
                <a:lnTo>
                  <a:pt x="470916" y="73913"/>
                </a:lnTo>
                <a:lnTo>
                  <a:pt x="468630" y="72389"/>
                </a:lnTo>
                <a:lnTo>
                  <a:pt x="466344" y="71627"/>
                </a:lnTo>
                <a:lnTo>
                  <a:pt x="465582" y="81533"/>
                </a:lnTo>
                <a:lnTo>
                  <a:pt x="468630" y="81533"/>
                </a:lnTo>
                <a:lnTo>
                  <a:pt x="470916" y="79247"/>
                </a:lnTo>
                <a:close/>
              </a:path>
              <a:path w="471170" h="125095">
                <a:moveTo>
                  <a:pt x="361188" y="83819"/>
                </a:moveTo>
                <a:lnTo>
                  <a:pt x="360426" y="74675"/>
                </a:lnTo>
                <a:lnTo>
                  <a:pt x="323088" y="75437"/>
                </a:lnTo>
                <a:lnTo>
                  <a:pt x="323088" y="85343"/>
                </a:lnTo>
                <a:lnTo>
                  <a:pt x="361188" y="83819"/>
                </a:lnTo>
                <a:close/>
              </a:path>
              <a:path w="471170" h="125095">
                <a:moveTo>
                  <a:pt x="294132" y="86105"/>
                </a:moveTo>
                <a:lnTo>
                  <a:pt x="294132" y="76199"/>
                </a:lnTo>
                <a:lnTo>
                  <a:pt x="256032" y="77723"/>
                </a:lnTo>
                <a:lnTo>
                  <a:pt x="256032" y="86867"/>
                </a:lnTo>
                <a:lnTo>
                  <a:pt x="294132" y="86105"/>
                </a:lnTo>
                <a:close/>
              </a:path>
              <a:path w="471170" h="125095">
                <a:moveTo>
                  <a:pt x="227838" y="87630"/>
                </a:moveTo>
                <a:lnTo>
                  <a:pt x="227838" y="78485"/>
                </a:lnTo>
                <a:lnTo>
                  <a:pt x="189738" y="79247"/>
                </a:lnTo>
                <a:lnTo>
                  <a:pt x="189738" y="89153"/>
                </a:lnTo>
                <a:lnTo>
                  <a:pt x="227838" y="87630"/>
                </a:lnTo>
                <a:close/>
              </a:path>
              <a:path w="471170" h="125095">
                <a:moveTo>
                  <a:pt x="160782" y="89915"/>
                </a:moveTo>
                <a:lnTo>
                  <a:pt x="160782" y="80009"/>
                </a:lnTo>
                <a:lnTo>
                  <a:pt x="122682" y="80772"/>
                </a:lnTo>
                <a:lnTo>
                  <a:pt x="122682" y="90677"/>
                </a:lnTo>
                <a:lnTo>
                  <a:pt x="160782" y="89915"/>
                </a:lnTo>
                <a:close/>
              </a:path>
              <a:path w="471170" h="125095">
                <a:moveTo>
                  <a:pt x="94488" y="91440"/>
                </a:moveTo>
                <a:lnTo>
                  <a:pt x="94488" y="81534"/>
                </a:lnTo>
                <a:lnTo>
                  <a:pt x="56388" y="83058"/>
                </a:lnTo>
                <a:lnTo>
                  <a:pt x="56388" y="92202"/>
                </a:lnTo>
                <a:lnTo>
                  <a:pt x="94488" y="91440"/>
                </a:lnTo>
                <a:close/>
              </a:path>
              <a:path w="471170" h="125095">
                <a:moveTo>
                  <a:pt x="32004" y="90678"/>
                </a:moveTo>
                <a:lnTo>
                  <a:pt x="23622" y="86868"/>
                </a:lnTo>
                <a:lnTo>
                  <a:pt x="6858" y="121157"/>
                </a:lnTo>
                <a:lnTo>
                  <a:pt x="16002" y="124968"/>
                </a:lnTo>
                <a:lnTo>
                  <a:pt x="32004" y="9067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5" name="object 39"/>
          <p:cNvSpPr/>
          <p:nvPr/>
        </p:nvSpPr>
        <p:spPr>
          <a:xfrm>
            <a:off x="5404662" y="3479904"/>
            <a:ext cx="142615" cy="386000"/>
          </a:xfrm>
          <a:custGeom>
            <a:avLst/>
            <a:gdLst/>
            <a:ahLst/>
            <a:cxnLst/>
            <a:rect l="l" t="t" r="r" b="b"/>
            <a:pathLst>
              <a:path w="215900" h="868679">
                <a:moveTo>
                  <a:pt x="215645" y="38100"/>
                </a:moveTo>
                <a:lnTo>
                  <a:pt x="215645" y="0"/>
                </a:lnTo>
                <a:lnTo>
                  <a:pt x="205739" y="0"/>
                </a:lnTo>
                <a:lnTo>
                  <a:pt x="205739" y="38100"/>
                </a:lnTo>
                <a:lnTo>
                  <a:pt x="215645" y="38100"/>
                </a:lnTo>
                <a:close/>
              </a:path>
              <a:path w="215900" h="868679">
                <a:moveTo>
                  <a:pt x="215645" y="105155"/>
                </a:moveTo>
                <a:lnTo>
                  <a:pt x="215645" y="67055"/>
                </a:lnTo>
                <a:lnTo>
                  <a:pt x="205739" y="67055"/>
                </a:lnTo>
                <a:lnTo>
                  <a:pt x="205739" y="105155"/>
                </a:lnTo>
                <a:lnTo>
                  <a:pt x="215645" y="105155"/>
                </a:lnTo>
                <a:close/>
              </a:path>
              <a:path w="215900" h="868679">
                <a:moveTo>
                  <a:pt x="215645" y="171450"/>
                </a:moveTo>
                <a:lnTo>
                  <a:pt x="215645" y="133350"/>
                </a:lnTo>
                <a:lnTo>
                  <a:pt x="205739" y="133350"/>
                </a:lnTo>
                <a:lnTo>
                  <a:pt x="205739" y="171450"/>
                </a:lnTo>
                <a:lnTo>
                  <a:pt x="215645" y="171450"/>
                </a:lnTo>
                <a:close/>
              </a:path>
              <a:path w="215900" h="868679">
                <a:moveTo>
                  <a:pt x="208025" y="197357"/>
                </a:moveTo>
                <a:lnTo>
                  <a:pt x="179069" y="220979"/>
                </a:lnTo>
                <a:lnTo>
                  <a:pt x="185165" y="228600"/>
                </a:lnTo>
                <a:lnTo>
                  <a:pt x="205739" y="211274"/>
                </a:lnTo>
                <a:lnTo>
                  <a:pt x="205739" y="200405"/>
                </a:lnTo>
                <a:lnTo>
                  <a:pt x="208025" y="197357"/>
                </a:lnTo>
                <a:close/>
              </a:path>
              <a:path w="215900" h="868679">
                <a:moveTo>
                  <a:pt x="215645" y="201929"/>
                </a:moveTo>
                <a:lnTo>
                  <a:pt x="215645" y="200405"/>
                </a:lnTo>
                <a:lnTo>
                  <a:pt x="205739" y="200405"/>
                </a:lnTo>
                <a:lnTo>
                  <a:pt x="205739" y="211274"/>
                </a:lnTo>
                <a:lnTo>
                  <a:pt x="214122" y="204215"/>
                </a:lnTo>
                <a:lnTo>
                  <a:pt x="214884" y="203453"/>
                </a:lnTo>
                <a:lnTo>
                  <a:pt x="215645" y="201929"/>
                </a:lnTo>
                <a:close/>
              </a:path>
              <a:path w="215900" h="868679">
                <a:moveTo>
                  <a:pt x="163067" y="246125"/>
                </a:moveTo>
                <a:lnTo>
                  <a:pt x="156972" y="239267"/>
                </a:lnTo>
                <a:lnTo>
                  <a:pt x="127253" y="263651"/>
                </a:lnTo>
                <a:lnTo>
                  <a:pt x="133350" y="270509"/>
                </a:lnTo>
                <a:lnTo>
                  <a:pt x="163067" y="246125"/>
                </a:lnTo>
                <a:close/>
              </a:path>
              <a:path w="215900" h="868679">
                <a:moveTo>
                  <a:pt x="111251" y="288797"/>
                </a:moveTo>
                <a:lnTo>
                  <a:pt x="105155" y="281939"/>
                </a:lnTo>
                <a:lnTo>
                  <a:pt x="76200" y="305562"/>
                </a:lnTo>
                <a:lnTo>
                  <a:pt x="82295" y="313181"/>
                </a:lnTo>
                <a:lnTo>
                  <a:pt x="111251" y="288797"/>
                </a:lnTo>
                <a:close/>
              </a:path>
              <a:path w="215900" h="868679">
                <a:moveTo>
                  <a:pt x="60198" y="331469"/>
                </a:moveTo>
                <a:lnTo>
                  <a:pt x="54101" y="323850"/>
                </a:lnTo>
                <a:lnTo>
                  <a:pt x="24384" y="348233"/>
                </a:lnTo>
                <a:lnTo>
                  <a:pt x="30479" y="355853"/>
                </a:lnTo>
                <a:lnTo>
                  <a:pt x="60198" y="331469"/>
                </a:lnTo>
                <a:close/>
              </a:path>
              <a:path w="215900" h="868679">
                <a:moveTo>
                  <a:pt x="9905" y="407669"/>
                </a:moveTo>
                <a:lnTo>
                  <a:pt x="9905" y="370331"/>
                </a:lnTo>
                <a:lnTo>
                  <a:pt x="8381" y="374141"/>
                </a:lnTo>
                <a:lnTo>
                  <a:pt x="2286" y="366521"/>
                </a:lnTo>
                <a:lnTo>
                  <a:pt x="0" y="368807"/>
                </a:lnTo>
                <a:lnTo>
                  <a:pt x="0" y="370331"/>
                </a:lnTo>
                <a:lnTo>
                  <a:pt x="762" y="407669"/>
                </a:lnTo>
                <a:lnTo>
                  <a:pt x="9905" y="407669"/>
                </a:lnTo>
                <a:close/>
              </a:path>
              <a:path w="215900" h="868679">
                <a:moveTo>
                  <a:pt x="9905" y="474725"/>
                </a:moveTo>
                <a:lnTo>
                  <a:pt x="9905" y="436625"/>
                </a:lnTo>
                <a:lnTo>
                  <a:pt x="761" y="436625"/>
                </a:lnTo>
                <a:lnTo>
                  <a:pt x="761" y="474725"/>
                </a:lnTo>
                <a:lnTo>
                  <a:pt x="9905" y="474725"/>
                </a:lnTo>
                <a:close/>
              </a:path>
              <a:path w="215900" h="868679">
                <a:moveTo>
                  <a:pt x="10667" y="541019"/>
                </a:moveTo>
                <a:lnTo>
                  <a:pt x="10667" y="502919"/>
                </a:lnTo>
                <a:lnTo>
                  <a:pt x="761" y="502919"/>
                </a:lnTo>
                <a:lnTo>
                  <a:pt x="761" y="541019"/>
                </a:lnTo>
                <a:lnTo>
                  <a:pt x="10667" y="541019"/>
                </a:lnTo>
                <a:close/>
              </a:path>
              <a:path w="215900" h="868679">
                <a:moveTo>
                  <a:pt x="10667" y="608076"/>
                </a:moveTo>
                <a:lnTo>
                  <a:pt x="10667" y="569976"/>
                </a:lnTo>
                <a:lnTo>
                  <a:pt x="1523" y="569976"/>
                </a:lnTo>
                <a:lnTo>
                  <a:pt x="1523" y="608076"/>
                </a:lnTo>
                <a:lnTo>
                  <a:pt x="10667" y="608076"/>
                </a:lnTo>
                <a:close/>
              </a:path>
              <a:path w="215900" h="868679">
                <a:moveTo>
                  <a:pt x="11429" y="674369"/>
                </a:moveTo>
                <a:lnTo>
                  <a:pt x="10667" y="636269"/>
                </a:lnTo>
                <a:lnTo>
                  <a:pt x="1524" y="636269"/>
                </a:lnTo>
                <a:lnTo>
                  <a:pt x="1524" y="674369"/>
                </a:lnTo>
                <a:lnTo>
                  <a:pt x="11429" y="674369"/>
                </a:lnTo>
                <a:close/>
              </a:path>
              <a:path w="215900" h="868679">
                <a:moveTo>
                  <a:pt x="11429" y="741426"/>
                </a:moveTo>
                <a:lnTo>
                  <a:pt x="11429" y="703326"/>
                </a:lnTo>
                <a:lnTo>
                  <a:pt x="1524" y="703326"/>
                </a:lnTo>
                <a:lnTo>
                  <a:pt x="2286" y="741426"/>
                </a:lnTo>
                <a:lnTo>
                  <a:pt x="11429" y="741426"/>
                </a:lnTo>
                <a:close/>
              </a:path>
              <a:path w="215900" h="868679">
                <a:moveTo>
                  <a:pt x="12191" y="807719"/>
                </a:moveTo>
                <a:lnTo>
                  <a:pt x="11429" y="769619"/>
                </a:lnTo>
                <a:lnTo>
                  <a:pt x="2286" y="769619"/>
                </a:lnTo>
                <a:lnTo>
                  <a:pt x="2286" y="807719"/>
                </a:lnTo>
                <a:lnTo>
                  <a:pt x="12191" y="807719"/>
                </a:lnTo>
                <a:close/>
              </a:path>
              <a:path w="215900" h="868679">
                <a:moveTo>
                  <a:pt x="12191" y="867917"/>
                </a:moveTo>
                <a:lnTo>
                  <a:pt x="12191" y="836676"/>
                </a:lnTo>
                <a:lnTo>
                  <a:pt x="2286" y="836676"/>
                </a:lnTo>
                <a:lnTo>
                  <a:pt x="2286" y="868679"/>
                </a:lnTo>
                <a:lnTo>
                  <a:pt x="12191" y="86791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6" name="object 40"/>
          <p:cNvSpPr/>
          <p:nvPr/>
        </p:nvSpPr>
        <p:spPr>
          <a:xfrm>
            <a:off x="5406173" y="3061737"/>
            <a:ext cx="450492" cy="387693"/>
          </a:xfrm>
          <a:custGeom>
            <a:avLst/>
            <a:gdLst/>
            <a:ahLst/>
            <a:cxnLst/>
            <a:rect l="l" t="t" r="r" b="b"/>
            <a:pathLst>
              <a:path w="681989" h="872489">
                <a:moveTo>
                  <a:pt x="681990" y="872490"/>
                </a:moveTo>
                <a:lnTo>
                  <a:pt x="675132" y="0"/>
                </a:lnTo>
                <a:lnTo>
                  <a:pt x="7620" y="2286"/>
                </a:lnTo>
                <a:lnTo>
                  <a:pt x="0" y="403098"/>
                </a:lnTo>
                <a:lnTo>
                  <a:pt x="208788" y="603504"/>
                </a:lnTo>
                <a:lnTo>
                  <a:pt x="213360" y="785622"/>
                </a:lnTo>
                <a:lnTo>
                  <a:pt x="222504" y="828294"/>
                </a:lnTo>
                <a:lnTo>
                  <a:pt x="681990" y="87249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7" name="object 41"/>
          <p:cNvSpPr/>
          <p:nvPr/>
        </p:nvSpPr>
        <p:spPr>
          <a:xfrm>
            <a:off x="5409696" y="3452816"/>
            <a:ext cx="445458" cy="405751"/>
          </a:xfrm>
          <a:custGeom>
            <a:avLst/>
            <a:gdLst/>
            <a:ahLst/>
            <a:cxnLst/>
            <a:rect l="l" t="t" r="r" b="b"/>
            <a:pathLst>
              <a:path w="674370" h="913129">
                <a:moveTo>
                  <a:pt x="210312" y="911297"/>
                </a:moveTo>
                <a:lnTo>
                  <a:pt x="210312" y="254507"/>
                </a:lnTo>
                <a:lnTo>
                  <a:pt x="0" y="435863"/>
                </a:lnTo>
                <a:lnTo>
                  <a:pt x="2286" y="910589"/>
                </a:lnTo>
                <a:lnTo>
                  <a:pt x="210312" y="911297"/>
                </a:lnTo>
                <a:close/>
              </a:path>
              <a:path w="674370" h="913129">
                <a:moveTo>
                  <a:pt x="674370" y="912875"/>
                </a:moveTo>
                <a:lnTo>
                  <a:pt x="667512" y="0"/>
                </a:lnTo>
                <a:lnTo>
                  <a:pt x="214884" y="13715"/>
                </a:lnTo>
                <a:lnTo>
                  <a:pt x="208026" y="91439"/>
                </a:lnTo>
                <a:lnTo>
                  <a:pt x="210312" y="254507"/>
                </a:lnTo>
                <a:lnTo>
                  <a:pt x="210312" y="911297"/>
                </a:lnTo>
                <a:lnTo>
                  <a:pt x="674370" y="912875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8" name="object 42"/>
          <p:cNvSpPr/>
          <p:nvPr/>
        </p:nvSpPr>
        <p:spPr>
          <a:xfrm>
            <a:off x="8045707" y="3377084"/>
            <a:ext cx="211404" cy="103836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9" name="object 43"/>
          <p:cNvSpPr/>
          <p:nvPr/>
        </p:nvSpPr>
        <p:spPr>
          <a:xfrm>
            <a:off x="8042183" y="3374602"/>
            <a:ext cx="218115" cy="108914"/>
          </a:xfrm>
          <a:custGeom>
            <a:avLst/>
            <a:gdLst/>
            <a:ahLst/>
            <a:cxnLst/>
            <a:rect l="l" t="t" r="r" b="b"/>
            <a:pathLst>
              <a:path w="330200" h="245110">
                <a:moveTo>
                  <a:pt x="273989" y="221094"/>
                </a:moveTo>
                <a:lnTo>
                  <a:pt x="99822" y="1523"/>
                </a:lnTo>
                <a:lnTo>
                  <a:pt x="99060" y="761"/>
                </a:lnTo>
                <a:lnTo>
                  <a:pt x="97536" y="0"/>
                </a:lnTo>
                <a:lnTo>
                  <a:pt x="17526" y="720"/>
                </a:lnTo>
                <a:lnTo>
                  <a:pt x="10668" y="761"/>
                </a:lnTo>
                <a:lnTo>
                  <a:pt x="9144" y="1523"/>
                </a:lnTo>
                <a:lnTo>
                  <a:pt x="8382" y="3809"/>
                </a:lnTo>
                <a:lnTo>
                  <a:pt x="0" y="28193"/>
                </a:lnTo>
                <a:lnTo>
                  <a:pt x="0" y="31241"/>
                </a:lnTo>
                <a:lnTo>
                  <a:pt x="762" y="32003"/>
                </a:lnTo>
                <a:lnTo>
                  <a:pt x="1524" y="33527"/>
                </a:lnTo>
                <a:lnTo>
                  <a:pt x="3048" y="34289"/>
                </a:lnTo>
                <a:lnTo>
                  <a:pt x="4572" y="34289"/>
                </a:lnTo>
                <a:lnTo>
                  <a:pt x="4572" y="25145"/>
                </a:lnTo>
                <a:lnTo>
                  <a:pt x="11239" y="25145"/>
                </a:lnTo>
                <a:lnTo>
                  <a:pt x="12954" y="20158"/>
                </a:lnTo>
                <a:lnTo>
                  <a:pt x="12954" y="9905"/>
                </a:lnTo>
                <a:lnTo>
                  <a:pt x="17526" y="6857"/>
                </a:lnTo>
                <a:lnTo>
                  <a:pt x="17526" y="9864"/>
                </a:lnTo>
                <a:lnTo>
                  <a:pt x="44417" y="9617"/>
                </a:lnTo>
                <a:lnTo>
                  <a:pt x="45720" y="4571"/>
                </a:lnTo>
                <a:lnTo>
                  <a:pt x="46482" y="2285"/>
                </a:lnTo>
                <a:lnTo>
                  <a:pt x="47244" y="1523"/>
                </a:lnTo>
                <a:lnTo>
                  <a:pt x="49530" y="761"/>
                </a:lnTo>
                <a:lnTo>
                  <a:pt x="51054" y="761"/>
                </a:lnTo>
                <a:lnTo>
                  <a:pt x="54102" y="2285"/>
                </a:lnTo>
                <a:lnTo>
                  <a:pt x="59770" y="9476"/>
                </a:lnTo>
                <a:lnTo>
                  <a:pt x="92202" y="9178"/>
                </a:lnTo>
                <a:lnTo>
                  <a:pt x="92202" y="7619"/>
                </a:lnTo>
                <a:lnTo>
                  <a:pt x="96012" y="9143"/>
                </a:lnTo>
                <a:lnTo>
                  <a:pt x="96012" y="12423"/>
                </a:lnTo>
                <a:lnTo>
                  <a:pt x="270510" y="232409"/>
                </a:lnTo>
                <a:lnTo>
                  <a:pt x="270510" y="226313"/>
                </a:lnTo>
                <a:lnTo>
                  <a:pt x="273989" y="221094"/>
                </a:lnTo>
                <a:close/>
              </a:path>
              <a:path w="330200" h="245110">
                <a:moveTo>
                  <a:pt x="11239" y="25145"/>
                </a:moveTo>
                <a:lnTo>
                  <a:pt x="4572" y="25145"/>
                </a:lnTo>
                <a:lnTo>
                  <a:pt x="9144" y="31241"/>
                </a:lnTo>
                <a:lnTo>
                  <a:pt x="11239" y="25145"/>
                </a:lnTo>
                <a:close/>
              </a:path>
              <a:path w="330200" h="245110">
                <a:moveTo>
                  <a:pt x="40410" y="25145"/>
                </a:moveTo>
                <a:lnTo>
                  <a:pt x="11239" y="25145"/>
                </a:lnTo>
                <a:lnTo>
                  <a:pt x="9144" y="31241"/>
                </a:lnTo>
                <a:lnTo>
                  <a:pt x="4572" y="25145"/>
                </a:lnTo>
                <a:lnTo>
                  <a:pt x="4572" y="34289"/>
                </a:lnTo>
                <a:lnTo>
                  <a:pt x="39624" y="34289"/>
                </a:lnTo>
                <a:lnTo>
                  <a:pt x="39624" y="28193"/>
                </a:lnTo>
                <a:lnTo>
                  <a:pt x="40410" y="25145"/>
                </a:lnTo>
                <a:close/>
              </a:path>
              <a:path w="330200" h="245110">
                <a:moveTo>
                  <a:pt x="17526" y="6857"/>
                </a:moveTo>
                <a:lnTo>
                  <a:pt x="12954" y="9905"/>
                </a:lnTo>
                <a:lnTo>
                  <a:pt x="16489" y="9873"/>
                </a:lnTo>
                <a:lnTo>
                  <a:pt x="17526" y="6857"/>
                </a:lnTo>
                <a:close/>
              </a:path>
              <a:path w="330200" h="245110">
                <a:moveTo>
                  <a:pt x="16489" y="9873"/>
                </a:moveTo>
                <a:lnTo>
                  <a:pt x="12954" y="9905"/>
                </a:lnTo>
                <a:lnTo>
                  <a:pt x="12954" y="20158"/>
                </a:lnTo>
                <a:lnTo>
                  <a:pt x="16489" y="9873"/>
                </a:lnTo>
                <a:close/>
              </a:path>
              <a:path w="330200" h="245110">
                <a:moveTo>
                  <a:pt x="17526" y="9864"/>
                </a:moveTo>
                <a:lnTo>
                  <a:pt x="17526" y="6857"/>
                </a:lnTo>
                <a:lnTo>
                  <a:pt x="16489" y="9873"/>
                </a:lnTo>
                <a:lnTo>
                  <a:pt x="17526" y="9864"/>
                </a:lnTo>
                <a:close/>
              </a:path>
              <a:path w="330200" h="245110">
                <a:moveTo>
                  <a:pt x="44196" y="25145"/>
                </a:moveTo>
                <a:lnTo>
                  <a:pt x="40410" y="25145"/>
                </a:lnTo>
                <a:lnTo>
                  <a:pt x="39624" y="28193"/>
                </a:lnTo>
                <a:lnTo>
                  <a:pt x="44196" y="25145"/>
                </a:lnTo>
                <a:close/>
              </a:path>
              <a:path w="330200" h="245110">
                <a:moveTo>
                  <a:pt x="44196" y="34289"/>
                </a:moveTo>
                <a:lnTo>
                  <a:pt x="44196" y="25145"/>
                </a:lnTo>
                <a:lnTo>
                  <a:pt x="39624" y="28193"/>
                </a:lnTo>
                <a:lnTo>
                  <a:pt x="39624" y="34289"/>
                </a:lnTo>
                <a:lnTo>
                  <a:pt x="44196" y="34289"/>
                </a:lnTo>
                <a:close/>
              </a:path>
              <a:path w="330200" h="245110">
                <a:moveTo>
                  <a:pt x="52500" y="16016"/>
                </a:moveTo>
                <a:lnTo>
                  <a:pt x="47433" y="9589"/>
                </a:lnTo>
                <a:lnTo>
                  <a:pt x="44417" y="9617"/>
                </a:lnTo>
                <a:lnTo>
                  <a:pt x="40410" y="25145"/>
                </a:lnTo>
                <a:lnTo>
                  <a:pt x="44196" y="25145"/>
                </a:lnTo>
                <a:lnTo>
                  <a:pt x="44196" y="34289"/>
                </a:lnTo>
                <a:lnTo>
                  <a:pt x="46482" y="34289"/>
                </a:lnTo>
                <a:lnTo>
                  <a:pt x="48006" y="32765"/>
                </a:lnTo>
                <a:lnTo>
                  <a:pt x="48768" y="30479"/>
                </a:lnTo>
                <a:lnTo>
                  <a:pt x="52500" y="16016"/>
                </a:lnTo>
                <a:close/>
              </a:path>
              <a:path w="330200" h="245110">
                <a:moveTo>
                  <a:pt x="59770" y="9476"/>
                </a:moveTo>
                <a:lnTo>
                  <a:pt x="54102" y="2285"/>
                </a:lnTo>
                <a:lnTo>
                  <a:pt x="51054" y="761"/>
                </a:lnTo>
                <a:lnTo>
                  <a:pt x="49530" y="761"/>
                </a:lnTo>
                <a:lnTo>
                  <a:pt x="47244" y="1523"/>
                </a:lnTo>
                <a:lnTo>
                  <a:pt x="46482" y="2285"/>
                </a:lnTo>
                <a:lnTo>
                  <a:pt x="45720" y="4571"/>
                </a:lnTo>
                <a:lnTo>
                  <a:pt x="44417" y="9617"/>
                </a:lnTo>
                <a:lnTo>
                  <a:pt x="46482" y="9598"/>
                </a:lnTo>
                <a:lnTo>
                  <a:pt x="46482" y="8381"/>
                </a:lnTo>
                <a:lnTo>
                  <a:pt x="54864" y="6857"/>
                </a:lnTo>
                <a:lnTo>
                  <a:pt x="54864" y="9521"/>
                </a:lnTo>
                <a:lnTo>
                  <a:pt x="59770" y="9476"/>
                </a:lnTo>
                <a:close/>
              </a:path>
              <a:path w="330200" h="245110">
                <a:moveTo>
                  <a:pt x="54864" y="6857"/>
                </a:moveTo>
                <a:lnTo>
                  <a:pt x="46482" y="8381"/>
                </a:lnTo>
                <a:lnTo>
                  <a:pt x="47433" y="9589"/>
                </a:lnTo>
                <a:lnTo>
                  <a:pt x="54175" y="9527"/>
                </a:lnTo>
                <a:lnTo>
                  <a:pt x="54864" y="6857"/>
                </a:lnTo>
                <a:close/>
              </a:path>
              <a:path w="330200" h="245110">
                <a:moveTo>
                  <a:pt x="47433" y="9589"/>
                </a:moveTo>
                <a:lnTo>
                  <a:pt x="46482" y="8381"/>
                </a:lnTo>
                <a:lnTo>
                  <a:pt x="46482" y="9598"/>
                </a:lnTo>
                <a:lnTo>
                  <a:pt x="47433" y="9589"/>
                </a:lnTo>
                <a:close/>
              </a:path>
              <a:path w="330200" h="245110">
                <a:moveTo>
                  <a:pt x="54175" y="9527"/>
                </a:moveTo>
                <a:lnTo>
                  <a:pt x="47433" y="9589"/>
                </a:lnTo>
                <a:lnTo>
                  <a:pt x="52500" y="16016"/>
                </a:lnTo>
                <a:lnTo>
                  <a:pt x="54175" y="9527"/>
                </a:lnTo>
                <a:close/>
              </a:path>
              <a:path w="330200" h="245110">
                <a:moveTo>
                  <a:pt x="237263" y="234644"/>
                </a:moveTo>
                <a:lnTo>
                  <a:pt x="59770" y="9476"/>
                </a:lnTo>
                <a:lnTo>
                  <a:pt x="54175" y="9527"/>
                </a:lnTo>
                <a:lnTo>
                  <a:pt x="52500" y="16016"/>
                </a:lnTo>
                <a:lnTo>
                  <a:pt x="230886" y="242315"/>
                </a:lnTo>
                <a:lnTo>
                  <a:pt x="231648" y="243839"/>
                </a:lnTo>
                <a:lnTo>
                  <a:pt x="233172" y="244601"/>
                </a:lnTo>
                <a:lnTo>
                  <a:pt x="234696" y="243839"/>
                </a:lnTo>
                <a:lnTo>
                  <a:pt x="234696" y="234695"/>
                </a:lnTo>
                <a:lnTo>
                  <a:pt x="237263" y="234644"/>
                </a:lnTo>
                <a:close/>
              </a:path>
              <a:path w="330200" h="245110">
                <a:moveTo>
                  <a:pt x="54864" y="9521"/>
                </a:moveTo>
                <a:lnTo>
                  <a:pt x="54864" y="6857"/>
                </a:lnTo>
                <a:lnTo>
                  <a:pt x="54175" y="9527"/>
                </a:lnTo>
                <a:lnTo>
                  <a:pt x="54864" y="9521"/>
                </a:lnTo>
                <a:close/>
              </a:path>
              <a:path w="330200" h="245110">
                <a:moveTo>
                  <a:pt x="96012" y="9143"/>
                </a:moveTo>
                <a:lnTo>
                  <a:pt x="92202" y="7619"/>
                </a:lnTo>
                <a:lnTo>
                  <a:pt x="93429" y="9167"/>
                </a:lnTo>
                <a:lnTo>
                  <a:pt x="96012" y="9143"/>
                </a:lnTo>
                <a:close/>
              </a:path>
              <a:path w="330200" h="245110">
                <a:moveTo>
                  <a:pt x="93429" y="9167"/>
                </a:moveTo>
                <a:lnTo>
                  <a:pt x="92202" y="7619"/>
                </a:lnTo>
                <a:lnTo>
                  <a:pt x="92202" y="9178"/>
                </a:lnTo>
                <a:lnTo>
                  <a:pt x="93429" y="9167"/>
                </a:lnTo>
                <a:close/>
              </a:path>
              <a:path w="330200" h="245110">
                <a:moveTo>
                  <a:pt x="96012" y="12423"/>
                </a:moveTo>
                <a:lnTo>
                  <a:pt x="96012" y="9143"/>
                </a:lnTo>
                <a:lnTo>
                  <a:pt x="93429" y="9167"/>
                </a:lnTo>
                <a:lnTo>
                  <a:pt x="96012" y="12423"/>
                </a:lnTo>
                <a:close/>
              </a:path>
              <a:path w="330200" h="245110">
                <a:moveTo>
                  <a:pt x="238506" y="236219"/>
                </a:moveTo>
                <a:lnTo>
                  <a:pt x="237263" y="234644"/>
                </a:lnTo>
                <a:lnTo>
                  <a:pt x="234696" y="234695"/>
                </a:lnTo>
                <a:lnTo>
                  <a:pt x="238506" y="236219"/>
                </a:lnTo>
                <a:close/>
              </a:path>
              <a:path w="330200" h="245110">
                <a:moveTo>
                  <a:pt x="238506" y="243801"/>
                </a:moveTo>
                <a:lnTo>
                  <a:pt x="238506" y="236219"/>
                </a:lnTo>
                <a:lnTo>
                  <a:pt x="234696" y="234695"/>
                </a:lnTo>
                <a:lnTo>
                  <a:pt x="234696" y="243839"/>
                </a:lnTo>
                <a:lnTo>
                  <a:pt x="238506" y="243801"/>
                </a:lnTo>
                <a:close/>
              </a:path>
              <a:path w="330200" h="245110">
                <a:moveTo>
                  <a:pt x="310134" y="243077"/>
                </a:moveTo>
                <a:lnTo>
                  <a:pt x="310134" y="233171"/>
                </a:lnTo>
                <a:lnTo>
                  <a:pt x="305562" y="235457"/>
                </a:lnTo>
                <a:lnTo>
                  <a:pt x="305562" y="233264"/>
                </a:lnTo>
                <a:lnTo>
                  <a:pt x="237263" y="234644"/>
                </a:lnTo>
                <a:lnTo>
                  <a:pt x="238506" y="236219"/>
                </a:lnTo>
                <a:lnTo>
                  <a:pt x="238506" y="243801"/>
                </a:lnTo>
                <a:lnTo>
                  <a:pt x="305562" y="243124"/>
                </a:lnTo>
                <a:lnTo>
                  <a:pt x="305562" y="235457"/>
                </a:lnTo>
                <a:lnTo>
                  <a:pt x="306794" y="233239"/>
                </a:lnTo>
                <a:lnTo>
                  <a:pt x="306794" y="243111"/>
                </a:lnTo>
                <a:lnTo>
                  <a:pt x="310134" y="243077"/>
                </a:lnTo>
                <a:close/>
              </a:path>
              <a:path w="330200" h="245110">
                <a:moveTo>
                  <a:pt x="278130" y="226313"/>
                </a:moveTo>
                <a:lnTo>
                  <a:pt x="273989" y="221094"/>
                </a:lnTo>
                <a:lnTo>
                  <a:pt x="270510" y="226313"/>
                </a:lnTo>
                <a:lnTo>
                  <a:pt x="278130" y="226313"/>
                </a:lnTo>
                <a:close/>
              </a:path>
              <a:path w="330200" h="245110">
                <a:moveTo>
                  <a:pt x="278130" y="231647"/>
                </a:moveTo>
                <a:lnTo>
                  <a:pt x="278130" y="226313"/>
                </a:lnTo>
                <a:lnTo>
                  <a:pt x="270510" y="226313"/>
                </a:lnTo>
                <a:lnTo>
                  <a:pt x="270510" y="232409"/>
                </a:lnTo>
                <a:lnTo>
                  <a:pt x="271272" y="233171"/>
                </a:lnTo>
                <a:lnTo>
                  <a:pt x="272781" y="233926"/>
                </a:lnTo>
                <a:lnTo>
                  <a:pt x="275988" y="233861"/>
                </a:lnTo>
                <a:lnTo>
                  <a:pt x="277368" y="233171"/>
                </a:lnTo>
                <a:lnTo>
                  <a:pt x="278130" y="231647"/>
                </a:lnTo>
                <a:close/>
              </a:path>
              <a:path w="330200" h="245110">
                <a:moveTo>
                  <a:pt x="329946" y="211073"/>
                </a:moveTo>
                <a:lnTo>
                  <a:pt x="329946" y="209549"/>
                </a:lnTo>
                <a:lnTo>
                  <a:pt x="328422" y="206501"/>
                </a:lnTo>
                <a:lnTo>
                  <a:pt x="326898" y="205739"/>
                </a:lnTo>
                <a:lnTo>
                  <a:pt x="285750" y="205739"/>
                </a:lnTo>
                <a:lnTo>
                  <a:pt x="284226" y="206501"/>
                </a:lnTo>
                <a:lnTo>
                  <a:pt x="282702" y="208025"/>
                </a:lnTo>
                <a:lnTo>
                  <a:pt x="273989" y="221094"/>
                </a:lnTo>
                <a:lnTo>
                  <a:pt x="278130" y="226313"/>
                </a:lnTo>
                <a:lnTo>
                  <a:pt x="278130" y="231647"/>
                </a:lnTo>
                <a:lnTo>
                  <a:pt x="287274" y="218738"/>
                </a:lnTo>
                <a:lnTo>
                  <a:pt x="287274" y="214883"/>
                </a:lnTo>
                <a:lnTo>
                  <a:pt x="291084" y="213359"/>
                </a:lnTo>
                <a:lnTo>
                  <a:pt x="291084" y="214883"/>
                </a:lnTo>
                <a:lnTo>
                  <a:pt x="316992" y="214883"/>
                </a:lnTo>
                <a:lnTo>
                  <a:pt x="320802" y="208025"/>
                </a:lnTo>
                <a:lnTo>
                  <a:pt x="325374" y="214883"/>
                </a:lnTo>
                <a:lnTo>
                  <a:pt x="325374" y="219646"/>
                </a:lnTo>
                <a:lnTo>
                  <a:pt x="329184" y="212597"/>
                </a:lnTo>
                <a:lnTo>
                  <a:pt x="329946" y="211073"/>
                </a:lnTo>
                <a:close/>
              </a:path>
              <a:path w="330200" h="245110">
                <a:moveTo>
                  <a:pt x="291084" y="213359"/>
                </a:moveTo>
                <a:lnTo>
                  <a:pt x="287274" y="214883"/>
                </a:lnTo>
                <a:lnTo>
                  <a:pt x="290004" y="214883"/>
                </a:lnTo>
                <a:lnTo>
                  <a:pt x="291084" y="213359"/>
                </a:lnTo>
                <a:close/>
              </a:path>
              <a:path w="330200" h="245110">
                <a:moveTo>
                  <a:pt x="290004" y="214883"/>
                </a:moveTo>
                <a:lnTo>
                  <a:pt x="287274" y="214883"/>
                </a:lnTo>
                <a:lnTo>
                  <a:pt x="287274" y="218738"/>
                </a:lnTo>
                <a:lnTo>
                  <a:pt x="290004" y="214883"/>
                </a:lnTo>
                <a:close/>
              </a:path>
              <a:path w="330200" h="245110">
                <a:moveTo>
                  <a:pt x="291084" y="214883"/>
                </a:moveTo>
                <a:lnTo>
                  <a:pt x="291084" y="213359"/>
                </a:lnTo>
                <a:lnTo>
                  <a:pt x="290004" y="214883"/>
                </a:lnTo>
                <a:lnTo>
                  <a:pt x="291084" y="214883"/>
                </a:lnTo>
                <a:close/>
              </a:path>
              <a:path w="330200" h="245110">
                <a:moveTo>
                  <a:pt x="310134" y="233171"/>
                </a:moveTo>
                <a:lnTo>
                  <a:pt x="306794" y="233239"/>
                </a:lnTo>
                <a:lnTo>
                  <a:pt x="305562" y="235457"/>
                </a:lnTo>
                <a:lnTo>
                  <a:pt x="310134" y="233171"/>
                </a:lnTo>
                <a:close/>
              </a:path>
              <a:path w="330200" h="245110">
                <a:moveTo>
                  <a:pt x="325374" y="219646"/>
                </a:moveTo>
                <a:lnTo>
                  <a:pt x="325374" y="214883"/>
                </a:lnTo>
                <a:lnTo>
                  <a:pt x="316992" y="214883"/>
                </a:lnTo>
                <a:lnTo>
                  <a:pt x="306794" y="233239"/>
                </a:lnTo>
                <a:lnTo>
                  <a:pt x="310134" y="233171"/>
                </a:lnTo>
                <a:lnTo>
                  <a:pt x="310134" y="243077"/>
                </a:lnTo>
                <a:lnTo>
                  <a:pt x="311658" y="243077"/>
                </a:lnTo>
                <a:lnTo>
                  <a:pt x="313944" y="240791"/>
                </a:lnTo>
                <a:lnTo>
                  <a:pt x="325374" y="219646"/>
                </a:lnTo>
                <a:close/>
              </a:path>
              <a:path w="330200" h="245110">
                <a:moveTo>
                  <a:pt x="325374" y="214883"/>
                </a:moveTo>
                <a:lnTo>
                  <a:pt x="320802" y="208025"/>
                </a:lnTo>
                <a:lnTo>
                  <a:pt x="316992" y="214883"/>
                </a:lnTo>
                <a:lnTo>
                  <a:pt x="325374" y="2148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0" name="object 44"/>
          <p:cNvSpPr/>
          <p:nvPr/>
        </p:nvSpPr>
        <p:spPr>
          <a:xfrm>
            <a:off x="7909301" y="3389612"/>
            <a:ext cx="272804" cy="78441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1" name="object 45"/>
          <p:cNvSpPr/>
          <p:nvPr/>
        </p:nvSpPr>
        <p:spPr>
          <a:xfrm>
            <a:off x="7906281" y="3387128"/>
            <a:ext cx="279355" cy="82956"/>
          </a:xfrm>
          <a:custGeom>
            <a:avLst/>
            <a:gdLst/>
            <a:ahLst/>
            <a:cxnLst/>
            <a:rect l="l" t="t" r="r" b="b"/>
            <a:pathLst>
              <a:path w="422909" h="186689">
                <a:moveTo>
                  <a:pt x="422910" y="182880"/>
                </a:moveTo>
                <a:lnTo>
                  <a:pt x="422148" y="180594"/>
                </a:lnTo>
                <a:lnTo>
                  <a:pt x="421386" y="179070"/>
                </a:lnTo>
                <a:lnTo>
                  <a:pt x="275844" y="2286"/>
                </a:lnTo>
                <a:lnTo>
                  <a:pt x="275082" y="762"/>
                </a:lnTo>
                <a:lnTo>
                  <a:pt x="3048" y="762"/>
                </a:lnTo>
                <a:lnTo>
                  <a:pt x="0" y="5334"/>
                </a:lnTo>
                <a:lnTo>
                  <a:pt x="0" y="6858"/>
                </a:lnTo>
                <a:lnTo>
                  <a:pt x="1524" y="8382"/>
                </a:lnTo>
                <a:lnTo>
                  <a:pt x="4572" y="12267"/>
                </a:lnTo>
                <a:lnTo>
                  <a:pt x="4572" y="9906"/>
                </a:lnTo>
                <a:lnTo>
                  <a:pt x="8382" y="2286"/>
                </a:lnTo>
                <a:lnTo>
                  <a:pt x="14392" y="9906"/>
                </a:lnTo>
                <a:lnTo>
                  <a:pt x="268224" y="9906"/>
                </a:lnTo>
                <a:lnTo>
                  <a:pt x="268224" y="8382"/>
                </a:lnTo>
                <a:lnTo>
                  <a:pt x="272034" y="9906"/>
                </a:lnTo>
                <a:lnTo>
                  <a:pt x="272034" y="13009"/>
                </a:lnTo>
                <a:lnTo>
                  <a:pt x="407492" y="177546"/>
                </a:lnTo>
                <a:lnTo>
                  <a:pt x="417576" y="177546"/>
                </a:lnTo>
                <a:lnTo>
                  <a:pt x="417576" y="186690"/>
                </a:lnTo>
                <a:lnTo>
                  <a:pt x="419100" y="186690"/>
                </a:lnTo>
                <a:lnTo>
                  <a:pt x="420624" y="185928"/>
                </a:lnTo>
                <a:lnTo>
                  <a:pt x="421386" y="184404"/>
                </a:lnTo>
                <a:lnTo>
                  <a:pt x="422910" y="182880"/>
                </a:lnTo>
                <a:close/>
              </a:path>
              <a:path w="422909" h="186689">
                <a:moveTo>
                  <a:pt x="14392" y="9906"/>
                </a:moveTo>
                <a:lnTo>
                  <a:pt x="8382" y="2286"/>
                </a:lnTo>
                <a:lnTo>
                  <a:pt x="4572" y="9906"/>
                </a:lnTo>
                <a:lnTo>
                  <a:pt x="14392" y="9906"/>
                </a:lnTo>
                <a:close/>
              </a:path>
              <a:path w="422909" h="186689">
                <a:moveTo>
                  <a:pt x="146625" y="177546"/>
                </a:moveTo>
                <a:lnTo>
                  <a:pt x="14392" y="9906"/>
                </a:lnTo>
                <a:lnTo>
                  <a:pt x="4572" y="9906"/>
                </a:lnTo>
                <a:lnTo>
                  <a:pt x="4572" y="12267"/>
                </a:lnTo>
                <a:lnTo>
                  <a:pt x="140208" y="185166"/>
                </a:lnTo>
                <a:lnTo>
                  <a:pt x="140970" y="186690"/>
                </a:lnTo>
                <a:lnTo>
                  <a:pt x="144018" y="186690"/>
                </a:lnTo>
                <a:lnTo>
                  <a:pt x="144018" y="177546"/>
                </a:lnTo>
                <a:lnTo>
                  <a:pt x="146625" y="177546"/>
                </a:lnTo>
                <a:close/>
              </a:path>
              <a:path w="422909" h="186689">
                <a:moveTo>
                  <a:pt x="147828" y="179070"/>
                </a:moveTo>
                <a:lnTo>
                  <a:pt x="146625" y="177546"/>
                </a:lnTo>
                <a:lnTo>
                  <a:pt x="144018" y="177546"/>
                </a:lnTo>
                <a:lnTo>
                  <a:pt x="147828" y="179070"/>
                </a:lnTo>
                <a:close/>
              </a:path>
              <a:path w="422909" h="186689">
                <a:moveTo>
                  <a:pt x="147828" y="186690"/>
                </a:moveTo>
                <a:lnTo>
                  <a:pt x="147828" y="179070"/>
                </a:lnTo>
                <a:lnTo>
                  <a:pt x="144018" y="177546"/>
                </a:lnTo>
                <a:lnTo>
                  <a:pt x="144018" y="186690"/>
                </a:lnTo>
                <a:lnTo>
                  <a:pt x="147828" y="186690"/>
                </a:lnTo>
                <a:close/>
              </a:path>
              <a:path w="422909" h="186689">
                <a:moveTo>
                  <a:pt x="417576" y="186690"/>
                </a:moveTo>
                <a:lnTo>
                  <a:pt x="417576" y="177546"/>
                </a:lnTo>
                <a:lnTo>
                  <a:pt x="413766" y="185166"/>
                </a:lnTo>
                <a:lnTo>
                  <a:pt x="407492" y="177546"/>
                </a:lnTo>
                <a:lnTo>
                  <a:pt x="146625" y="177546"/>
                </a:lnTo>
                <a:lnTo>
                  <a:pt x="147828" y="179070"/>
                </a:lnTo>
                <a:lnTo>
                  <a:pt x="147828" y="186690"/>
                </a:lnTo>
                <a:lnTo>
                  <a:pt x="417576" y="186690"/>
                </a:lnTo>
                <a:close/>
              </a:path>
              <a:path w="422909" h="186689">
                <a:moveTo>
                  <a:pt x="272034" y="9906"/>
                </a:moveTo>
                <a:lnTo>
                  <a:pt x="268224" y="8382"/>
                </a:lnTo>
                <a:lnTo>
                  <a:pt x="269478" y="9906"/>
                </a:lnTo>
                <a:lnTo>
                  <a:pt x="272034" y="9906"/>
                </a:lnTo>
                <a:close/>
              </a:path>
              <a:path w="422909" h="186689">
                <a:moveTo>
                  <a:pt x="269478" y="9906"/>
                </a:moveTo>
                <a:lnTo>
                  <a:pt x="268224" y="8382"/>
                </a:lnTo>
                <a:lnTo>
                  <a:pt x="268224" y="9906"/>
                </a:lnTo>
                <a:lnTo>
                  <a:pt x="269478" y="9906"/>
                </a:lnTo>
                <a:close/>
              </a:path>
              <a:path w="422909" h="186689">
                <a:moveTo>
                  <a:pt x="272034" y="13009"/>
                </a:moveTo>
                <a:lnTo>
                  <a:pt x="272034" y="9906"/>
                </a:lnTo>
                <a:lnTo>
                  <a:pt x="269478" y="9906"/>
                </a:lnTo>
                <a:lnTo>
                  <a:pt x="272034" y="13009"/>
                </a:lnTo>
                <a:close/>
              </a:path>
              <a:path w="422909" h="186689">
                <a:moveTo>
                  <a:pt x="417576" y="177546"/>
                </a:moveTo>
                <a:lnTo>
                  <a:pt x="407492" y="177546"/>
                </a:lnTo>
                <a:lnTo>
                  <a:pt x="413766" y="185166"/>
                </a:lnTo>
                <a:lnTo>
                  <a:pt x="417576" y="1775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2" name="object 46"/>
          <p:cNvSpPr/>
          <p:nvPr/>
        </p:nvSpPr>
        <p:spPr>
          <a:xfrm>
            <a:off x="8257111" y="3377084"/>
            <a:ext cx="210901" cy="103836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3" name="object 47"/>
          <p:cNvSpPr/>
          <p:nvPr/>
        </p:nvSpPr>
        <p:spPr>
          <a:xfrm>
            <a:off x="8253076" y="3374602"/>
            <a:ext cx="218535" cy="108914"/>
          </a:xfrm>
          <a:custGeom>
            <a:avLst/>
            <a:gdLst/>
            <a:ahLst/>
            <a:cxnLst/>
            <a:rect l="l" t="t" r="r" b="b"/>
            <a:pathLst>
              <a:path w="330834" h="245110">
                <a:moveTo>
                  <a:pt x="274112" y="221227"/>
                </a:moveTo>
                <a:lnTo>
                  <a:pt x="100583" y="1523"/>
                </a:lnTo>
                <a:lnTo>
                  <a:pt x="99821" y="761"/>
                </a:lnTo>
                <a:lnTo>
                  <a:pt x="98297" y="0"/>
                </a:lnTo>
                <a:lnTo>
                  <a:pt x="11429" y="761"/>
                </a:lnTo>
                <a:lnTo>
                  <a:pt x="9143" y="1523"/>
                </a:lnTo>
                <a:lnTo>
                  <a:pt x="8381" y="3809"/>
                </a:lnTo>
                <a:lnTo>
                  <a:pt x="761" y="28193"/>
                </a:lnTo>
                <a:lnTo>
                  <a:pt x="0" y="29717"/>
                </a:lnTo>
                <a:lnTo>
                  <a:pt x="0" y="31241"/>
                </a:lnTo>
                <a:lnTo>
                  <a:pt x="1523" y="32003"/>
                </a:lnTo>
                <a:lnTo>
                  <a:pt x="2285" y="33527"/>
                </a:lnTo>
                <a:lnTo>
                  <a:pt x="3809" y="34289"/>
                </a:lnTo>
                <a:lnTo>
                  <a:pt x="5333" y="34289"/>
                </a:lnTo>
                <a:lnTo>
                  <a:pt x="5333" y="25145"/>
                </a:lnTo>
                <a:lnTo>
                  <a:pt x="11810" y="25145"/>
                </a:lnTo>
                <a:lnTo>
                  <a:pt x="12953" y="21488"/>
                </a:lnTo>
                <a:lnTo>
                  <a:pt x="12953" y="9905"/>
                </a:lnTo>
                <a:lnTo>
                  <a:pt x="17525" y="6857"/>
                </a:lnTo>
                <a:lnTo>
                  <a:pt x="17525" y="9864"/>
                </a:lnTo>
                <a:lnTo>
                  <a:pt x="44417" y="9619"/>
                </a:lnTo>
                <a:lnTo>
                  <a:pt x="45719" y="4571"/>
                </a:lnTo>
                <a:lnTo>
                  <a:pt x="46481" y="2285"/>
                </a:lnTo>
                <a:lnTo>
                  <a:pt x="49529" y="761"/>
                </a:lnTo>
                <a:lnTo>
                  <a:pt x="51815" y="761"/>
                </a:lnTo>
                <a:lnTo>
                  <a:pt x="53339" y="1523"/>
                </a:lnTo>
                <a:lnTo>
                  <a:pt x="54101" y="2285"/>
                </a:lnTo>
                <a:lnTo>
                  <a:pt x="59773" y="9480"/>
                </a:lnTo>
                <a:lnTo>
                  <a:pt x="92963" y="9178"/>
                </a:lnTo>
                <a:lnTo>
                  <a:pt x="92963" y="7619"/>
                </a:lnTo>
                <a:lnTo>
                  <a:pt x="96773" y="9143"/>
                </a:lnTo>
                <a:lnTo>
                  <a:pt x="96773" y="12423"/>
                </a:lnTo>
                <a:lnTo>
                  <a:pt x="270509" y="231449"/>
                </a:lnTo>
                <a:lnTo>
                  <a:pt x="270509" y="226313"/>
                </a:lnTo>
                <a:lnTo>
                  <a:pt x="274112" y="221227"/>
                </a:lnTo>
                <a:close/>
              </a:path>
              <a:path w="330834" h="245110">
                <a:moveTo>
                  <a:pt x="11810" y="25145"/>
                </a:moveTo>
                <a:lnTo>
                  <a:pt x="5333" y="25145"/>
                </a:lnTo>
                <a:lnTo>
                  <a:pt x="9905" y="31241"/>
                </a:lnTo>
                <a:lnTo>
                  <a:pt x="11810" y="25145"/>
                </a:lnTo>
                <a:close/>
              </a:path>
              <a:path w="330834" h="245110">
                <a:moveTo>
                  <a:pt x="40410" y="25145"/>
                </a:moveTo>
                <a:lnTo>
                  <a:pt x="11810" y="25145"/>
                </a:lnTo>
                <a:lnTo>
                  <a:pt x="9905" y="31241"/>
                </a:lnTo>
                <a:lnTo>
                  <a:pt x="5333" y="25145"/>
                </a:lnTo>
                <a:lnTo>
                  <a:pt x="5333" y="34289"/>
                </a:lnTo>
                <a:lnTo>
                  <a:pt x="39623" y="34289"/>
                </a:lnTo>
                <a:lnTo>
                  <a:pt x="39623" y="28193"/>
                </a:lnTo>
                <a:lnTo>
                  <a:pt x="40410" y="25145"/>
                </a:lnTo>
                <a:close/>
              </a:path>
              <a:path w="330834" h="245110">
                <a:moveTo>
                  <a:pt x="17525" y="6857"/>
                </a:moveTo>
                <a:lnTo>
                  <a:pt x="12953" y="9905"/>
                </a:lnTo>
                <a:lnTo>
                  <a:pt x="16583" y="9873"/>
                </a:lnTo>
                <a:lnTo>
                  <a:pt x="17525" y="6857"/>
                </a:lnTo>
                <a:close/>
              </a:path>
              <a:path w="330834" h="245110">
                <a:moveTo>
                  <a:pt x="16583" y="9873"/>
                </a:moveTo>
                <a:lnTo>
                  <a:pt x="12953" y="9905"/>
                </a:lnTo>
                <a:lnTo>
                  <a:pt x="12953" y="21488"/>
                </a:lnTo>
                <a:lnTo>
                  <a:pt x="16583" y="9873"/>
                </a:lnTo>
                <a:close/>
              </a:path>
              <a:path w="330834" h="245110">
                <a:moveTo>
                  <a:pt x="17525" y="9864"/>
                </a:moveTo>
                <a:lnTo>
                  <a:pt x="17525" y="6857"/>
                </a:lnTo>
                <a:lnTo>
                  <a:pt x="16583" y="9873"/>
                </a:lnTo>
                <a:lnTo>
                  <a:pt x="17525" y="9864"/>
                </a:lnTo>
                <a:close/>
              </a:path>
              <a:path w="330834" h="245110">
                <a:moveTo>
                  <a:pt x="44195" y="25145"/>
                </a:moveTo>
                <a:lnTo>
                  <a:pt x="40410" y="25145"/>
                </a:lnTo>
                <a:lnTo>
                  <a:pt x="39623" y="28193"/>
                </a:lnTo>
                <a:lnTo>
                  <a:pt x="44195" y="25145"/>
                </a:lnTo>
                <a:close/>
              </a:path>
              <a:path w="330834" h="245110">
                <a:moveTo>
                  <a:pt x="44195" y="34289"/>
                </a:moveTo>
                <a:lnTo>
                  <a:pt x="44195" y="25145"/>
                </a:lnTo>
                <a:lnTo>
                  <a:pt x="39623" y="28193"/>
                </a:lnTo>
                <a:lnTo>
                  <a:pt x="39623" y="34289"/>
                </a:lnTo>
                <a:lnTo>
                  <a:pt x="44195" y="34289"/>
                </a:lnTo>
                <a:close/>
              </a:path>
              <a:path w="330834" h="245110">
                <a:moveTo>
                  <a:pt x="53046" y="15743"/>
                </a:moveTo>
                <a:lnTo>
                  <a:pt x="48192" y="9585"/>
                </a:lnTo>
                <a:lnTo>
                  <a:pt x="44417" y="9619"/>
                </a:lnTo>
                <a:lnTo>
                  <a:pt x="40410" y="25145"/>
                </a:lnTo>
                <a:lnTo>
                  <a:pt x="44195" y="25145"/>
                </a:lnTo>
                <a:lnTo>
                  <a:pt x="44195" y="34289"/>
                </a:lnTo>
                <a:lnTo>
                  <a:pt x="46481" y="34289"/>
                </a:lnTo>
                <a:lnTo>
                  <a:pt x="48767" y="32765"/>
                </a:lnTo>
                <a:lnTo>
                  <a:pt x="48767" y="30479"/>
                </a:lnTo>
                <a:lnTo>
                  <a:pt x="53046" y="15743"/>
                </a:lnTo>
                <a:close/>
              </a:path>
              <a:path w="330834" h="245110">
                <a:moveTo>
                  <a:pt x="59773" y="9480"/>
                </a:moveTo>
                <a:lnTo>
                  <a:pt x="54101" y="2285"/>
                </a:lnTo>
                <a:lnTo>
                  <a:pt x="53339" y="1523"/>
                </a:lnTo>
                <a:lnTo>
                  <a:pt x="51815" y="761"/>
                </a:lnTo>
                <a:lnTo>
                  <a:pt x="49529" y="761"/>
                </a:lnTo>
                <a:lnTo>
                  <a:pt x="46481" y="2285"/>
                </a:lnTo>
                <a:lnTo>
                  <a:pt x="45719" y="4571"/>
                </a:lnTo>
                <a:lnTo>
                  <a:pt x="44417" y="9619"/>
                </a:lnTo>
                <a:lnTo>
                  <a:pt x="47243" y="9594"/>
                </a:lnTo>
                <a:lnTo>
                  <a:pt x="47243" y="8381"/>
                </a:lnTo>
                <a:lnTo>
                  <a:pt x="55625" y="6857"/>
                </a:lnTo>
                <a:lnTo>
                  <a:pt x="55625" y="9518"/>
                </a:lnTo>
                <a:lnTo>
                  <a:pt x="59773" y="9480"/>
                </a:lnTo>
                <a:close/>
              </a:path>
              <a:path w="330834" h="245110">
                <a:moveTo>
                  <a:pt x="55625" y="6857"/>
                </a:moveTo>
                <a:lnTo>
                  <a:pt x="47243" y="8381"/>
                </a:lnTo>
                <a:lnTo>
                  <a:pt x="48192" y="9585"/>
                </a:lnTo>
                <a:lnTo>
                  <a:pt x="54851" y="9525"/>
                </a:lnTo>
                <a:lnTo>
                  <a:pt x="55625" y="6857"/>
                </a:lnTo>
                <a:close/>
              </a:path>
              <a:path w="330834" h="245110">
                <a:moveTo>
                  <a:pt x="48192" y="9585"/>
                </a:moveTo>
                <a:lnTo>
                  <a:pt x="47243" y="8381"/>
                </a:lnTo>
                <a:lnTo>
                  <a:pt x="47243" y="9594"/>
                </a:lnTo>
                <a:lnTo>
                  <a:pt x="48192" y="9585"/>
                </a:lnTo>
                <a:close/>
              </a:path>
              <a:path w="330834" h="245110">
                <a:moveTo>
                  <a:pt x="54851" y="9525"/>
                </a:moveTo>
                <a:lnTo>
                  <a:pt x="48192" y="9585"/>
                </a:lnTo>
                <a:lnTo>
                  <a:pt x="53046" y="15743"/>
                </a:lnTo>
                <a:lnTo>
                  <a:pt x="54851" y="9525"/>
                </a:lnTo>
                <a:close/>
              </a:path>
              <a:path w="330834" h="245110">
                <a:moveTo>
                  <a:pt x="237263" y="234644"/>
                </a:moveTo>
                <a:lnTo>
                  <a:pt x="59773" y="9480"/>
                </a:lnTo>
                <a:lnTo>
                  <a:pt x="54851" y="9525"/>
                </a:lnTo>
                <a:lnTo>
                  <a:pt x="53046" y="15743"/>
                </a:lnTo>
                <a:lnTo>
                  <a:pt x="231647" y="242315"/>
                </a:lnTo>
                <a:lnTo>
                  <a:pt x="232409" y="243839"/>
                </a:lnTo>
                <a:lnTo>
                  <a:pt x="233933" y="244601"/>
                </a:lnTo>
                <a:lnTo>
                  <a:pt x="234695" y="244220"/>
                </a:lnTo>
                <a:lnTo>
                  <a:pt x="234695" y="234695"/>
                </a:lnTo>
                <a:lnTo>
                  <a:pt x="237263" y="234644"/>
                </a:lnTo>
                <a:close/>
              </a:path>
              <a:path w="330834" h="245110">
                <a:moveTo>
                  <a:pt x="55625" y="9518"/>
                </a:moveTo>
                <a:lnTo>
                  <a:pt x="55625" y="6857"/>
                </a:lnTo>
                <a:lnTo>
                  <a:pt x="54851" y="9525"/>
                </a:lnTo>
                <a:lnTo>
                  <a:pt x="55625" y="9518"/>
                </a:lnTo>
                <a:close/>
              </a:path>
              <a:path w="330834" h="245110">
                <a:moveTo>
                  <a:pt x="96773" y="9143"/>
                </a:moveTo>
                <a:lnTo>
                  <a:pt x="92963" y="7619"/>
                </a:lnTo>
                <a:lnTo>
                  <a:pt x="94191" y="9167"/>
                </a:lnTo>
                <a:lnTo>
                  <a:pt x="96773" y="9143"/>
                </a:lnTo>
                <a:close/>
              </a:path>
              <a:path w="330834" h="245110">
                <a:moveTo>
                  <a:pt x="94191" y="9167"/>
                </a:moveTo>
                <a:lnTo>
                  <a:pt x="92963" y="7619"/>
                </a:lnTo>
                <a:lnTo>
                  <a:pt x="92963" y="9178"/>
                </a:lnTo>
                <a:lnTo>
                  <a:pt x="94191" y="9167"/>
                </a:lnTo>
                <a:close/>
              </a:path>
              <a:path w="330834" h="245110">
                <a:moveTo>
                  <a:pt x="96773" y="12423"/>
                </a:moveTo>
                <a:lnTo>
                  <a:pt x="96773" y="9143"/>
                </a:lnTo>
                <a:lnTo>
                  <a:pt x="94191" y="9167"/>
                </a:lnTo>
                <a:lnTo>
                  <a:pt x="96773" y="12423"/>
                </a:lnTo>
                <a:close/>
              </a:path>
              <a:path w="330834" h="245110">
                <a:moveTo>
                  <a:pt x="238505" y="236219"/>
                </a:moveTo>
                <a:lnTo>
                  <a:pt x="237263" y="234644"/>
                </a:lnTo>
                <a:lnTo>
                  <a:pt x="234695" y="234695"/>
                </a:lnTo>
                <a:lnTo>
                  <a:pt x="238505" y="236219"/>
                </a:lnTo>
                <a:close/>
              </a:path>
              <a:path w="330834" h="245110">
                <a:moveTo>
                  <a:pt x="238505" y="243808"/>
                </a:moveTo>
                <a:lnTo>
                  <a:pt x="238505" y="236219"/>
                </a:lnTo>
                <a:lnTo>
                  <a:pt x="234695" y="234695"/>
                </a:lnTo>
                <a:lnTo>
                  <a:pt x="234695" y="244220"/>
                </a:lnTo>
                <a:lnTo>
                  <a:pt x="235457" y="243839"/>
                </a:lnTo>
                <a:lnTo>
                  <a:pt x="238505" y="243808"/>
                </a:lnTo>
                <a:close/>
              </a:path>
              <a:path w="330834" h="245110">
                <a:moveTo>
                  <a:pt x="310133" y="243077"/>
                </a:moveTo>
                <a:lnTo>
                  <a:pt x="310133" y="233171"/>
                </a:lnTo>
                <a:lnTo>
                  <a:pt x="306323" y="235457"/>
                </a:lnTo>
                <a:lnTo>
                  <a:pt x="306323" y="233248"/>
                </a:lnTo>
                <a:lnTo>
                  <a:pt x="237263" y="234644"/>
                </a:lnTo>
                <a:lnTo>
                  <a:pt x="238505" y="236219"/>
                </a:lnTo>
                <a:lnTo>
                  <a:pt x="238505" y="243808"/>
                </a:lnTo>
                <a:lnTo>
                  <a:pt x="306323" y="243116"/>
                </a:lnTo>
                <a:lnTo>
                  <a:pt x="306323" y="235457"/>
                </a:lnTo>
                <a:lnTo>
                  <a:pt x="307565" y="233223"/>
                </a:lnTo>
                <a:lnTo>
                  <a:pt x="307565" y="243104"/>
                </a:lnTo>
                <a:lnTo>
                  <a:pt x="310133" y="243077"/>
                </a:lnTo>
                <a:close/>
              </a:path>
              <a:path w="330834" h="245110">
                <a:moveTo>
                  <a:pt x="278129" y="226313"/>
                </a:moveTo>
                <a:lnTo>
                  <a:pt x="274112" y="221227"/>
                </a:lnTo>
                <a:lnTo>
                  <a:pt x="270509" y="226313"/>
                </a:lnTo>
                <a:lnTo>
                  <a:pt x="278129" y="226313"/>
                </a:lnTo>
                <a:close/>
              </a:path>
              <a:path w="330834" h="245110">
                <a:moveTo>
                  <a:pt x="278129" y="233171"/>
                </a:moveTo>
                <a:lnTo>
                  <a:pt x="278129" y="226313"/>
                </a:lnTo>
                <a:lnTo>
                  <a:pt x="270509" y="226313"/>
                </a:lnTo>
                <a:lnTo>
                  <a:pt x="270509" y="231449"/>
                </a:lnTo>
                <a:lnTo>
                  <a:pt x="271271" y="232409"/>
                </a:lnTo>
                <a:lnTo>
                  <a:pt x="272033" y="233171"/>
                </a:lnTo>
                <a:lnTo>
                  <a:pt x="273513" y="233911"/>
                </a:lnTo>
                <a:lnTo>
                  <a:pt x="276782" y="233845"/>
                </a:lnTo>
                <a:lnTo>
                  <a:pt x="278129" y="233171"/>
                </a:lnTo>
                <a:close/>
              </a:path>
              <a:path w="330834" h="245110">
                <a:moveTo>
                  <a:pt x="330707" y="211073"/>
                </a:moveTo>
                <a:lnTo>
                  <a:pt x="330707" y="209549"/>
                </a:lnTo>
                <a:lnTo>
                  <a:pt x="329183" y="206501"/>
                </a:lnTo>
                <a:lnTo>
                  <a:pt x="327659" y="205739"/>
                </a:lnTo>
                <a:lnTo>
                  <a:pt x="285749" y="205739"/>
                </a:lnTo>
                <a:lnTo>
                  <a:pt x="284225" y="206501"/>
                </a:lnTo>
                <a:lnTo>
                  <a:pt x="283463" y="208025"/>
                </a:lnTo>
                <a:lnTo>
                  <a:pt x="274112" y="221227"/>
                </a:lnTo>
                <a:lnTo>
                  <a:pt x="278129" y="226313"/>
                </a:lnTo>
                <a:lnTo>
                  <a:pt x="278129" y="233171"/>
                </a:lnTo>
                <a:lnTo>
                  <a:pt x="278891" y="231647"/>
                </a:lnTo>
                <a:lnTo>
                  <a:pt x="287273" y="219074"/>
                </a:lnTo>
                <a:lnTo>
                  <a:pt x="287273" y="214883"/>
                </a:lnTo>
                <a:lnTo>
                  <a:pt x="291083" y="213359"/>
                </a:lnTo>
                <a:lnTo>
                  <a:pt x="291083" y="214883"/>
                </a:lnTo>
                <a:lnTo>
                  <a:pt x="317753" y="214883"/>
                </a:lnTo>
                <a:lnTo>
                  <a:pt x="321563" y="208025"/>
                </a:lnTo>
                <a:lnTo>
                  <a:pt x="325373" y="214883"/>
                </a:lnTo>
                <a:lnTo>
                  <a:pt x="325373" y="221056"/>
                </a:lnTo>
                <a:lnTo>
                  <a:pt x="329945" y="212597"/>
                </a:lnTo>
                <a:lnTo>
                  <a:pt x="330707" y="211073"/>
                </a:lnTo>
                <a:close/>
              </a:path>
              <a:path w="330834" h="245110">
                <a:moveTo>
                  <a:pt x="291083" y="213359"/>
                </a:moveTo>
                <a:lnTo>
                  <a:pt x="287273" y="214883"/>
                </a:lnTo>
                <a:lnTo>
                  <a:pt x="290067" y="214883"/>
                </a:lnTo>
                <a:lnTo>
                  <a:pt x="291083" y="213359"/>
                </a:lnTo>
                <a:close/>
              </a:path>
              <a:path w="330834" h="245110">
                <a:moveTo>
                  <a:pt x="290067" y="214883"/>
                </a:moveTo>
                <a:lnTo>
                  <a:pt x="287273" y="214883"/>
                </a:lnTo>
                <a:lnTo>
                  <a:pt x="287273" y="219074"/>
                </a:lnTo>
                <a:lnTo>
                  <a:pt x="290067" y="214883"/>
                </a:lnTo>
                <a:close/>
              </a:path>
              <a:path w="330834" h="245110">
                <a:moveTo>
                  <a:pt x="291083" y="214883"/>
                </a:moveTo>
                <a:lnTo>
                  <a:pt x="291083" y="213359"/>
                </a:lnTo>
                <a:lnTo>
                  <a:pt x="290067" y="214883"/>
                </a:lnTo>
                <a:lnTo>
                  <a:pt x="291083" y="214883"/>
                </a:lnTo>
                <a:close/>
              </a:path>
              <a:path w="330834" h="245110">
                <a:moveTo>
                  <a:pt x="310133" y="233171"/>
                </a:moveTo>
                <a:lnTo>
                  <a:pt x="307565" y="233223"/>
                </a:lnTo>
                <a:lnTo>
                  <a:pt x="306323" y="235457"/>
                </a:lnTo>
                <a:lnTo>
                  <a:pt x="310133" y="233171"/>
                </a:lnTo>
                <a:close/>
              </a:path>
              <a:path w="330834" h="245110">
                <a:moveTo>
                  <a:pt x="325373" y="221056"/>
                </a:moveTo>
                <a:lnTo>
                  <a:pt x="325373" y="214883"/>
                </a:lnTo>
                <a:lnTo>
                  <a:pt x="317753" y="214883"/>
                </a:lnTo>
                <a:lnTo>
                  <a:pt x="307565" y="233223"/>
                </a:lnTo>
                <a:lnTo>
                  <a:pt x="310133" y="233171"/>
                </a:lnTo>
                <a:lnTo>
                  <a:pt x="310133" y="243077"/>
                </a:lnTo>
                <a:lnTo>
                  <a:pt x="312419" y="243077"/>
                </a:lnTo>
                <a:lnTo>
                  <a:pt x="314705" y="240791"/>
                </a:lnTo>
                <a:lnTo>
                  <a:pt x="325373" y="221056"/>
                </a:lnTo>
                <a:close/>
              </a:path>
              <a:path w="330834" h="245110">
                <a:moveTo>
                  <a:pt x="325373" y="214883"/>
                </a:moveTo>
                <a:lnTo>
                  <a:pt x="321563" y="208025"/>
                </a:lnTo>
                <a:lnTo>
                  <a:pt x="317753" y="214883"/>
                </a:lnTo>
                <a:lnTo>
                  <a:pt x="325373" y="2148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4" name="object 48"/>
          <p:cNvSpPr/>
          <p:nvPr/>
        </p:nvSpPr>
        <p:spPr>
          <a:xfrm>
            <a:off x="8121208" y="3389612"/>
            <a:ext cx="272309" cy="78441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5" name="object 49"/>
          <p:cNvSpPr/>
          <p:nvPr/>
        </p:nvSpPr>
        <p:spPr>
          <a:xfrm>
            <a:off x="8117685" y="3387128"/>
            <a:ext cx="279355" cy="82956"/>
          </a:xfrm>
          <a:custGeom>
            <a:avLst/>
            <a:gdLst/>
            <a:ahLst/>
            <a:cxnLst/>
            <a:rect l="l" t="t" r="r" b="b"/>
            <a:pathLst>
              <a:path w="422909" h="186689">
                <a:moveTo>
                  <a:pt x="422909" y="182118"/>
                </a:moveTo>
                <a:lnTo>
                  <a:pt x="422909" y="180594"/>
                </a:lnTo>
                <a:lnTo>
                  <a:pt x="421385" y="179070"/>
                </a:lnTo>
                <a:lnTo>
                  <a:pt x="276605" y="1524"/>
                </a:lnTo>
                <a:lnTo>
                  <a:pt x="275843" y="762"/>
                </a:lnTo>
                <a:lnTo>
                  <a:pt x="274319" y="0"/>
                </a:lnTo>
                <a:lnTo>
                  <a:pt x="3809" y="0"/>
                </a:lnTo>
                <a:lnTo>
                  <a:pt x="2285" y="1524"/>
                </a:lnTo>
                <a:lnTo>
                  <a:pt x="1523" y="3048"/>
                </a:lnTo>
                <a:lnTo>
                  <a:pt x="0" y="4572"/>
                </a:lnTo>
                <a:lnTo>
                  <a:pt x="761" y="6858"/>
                </a:lnTo>
                <a:lnTo>
                  <a:pt x="1523" y="8382"/>
                </a:lnTo>
                <a:lnTo>
                  <a:pt x="5333" y="13238"/>
                </a:lnTo>
                <a:lnTo>
                  <a:pt x="5333" y="9906"/>
                </a:lnTo>
                <a:lnTo>
                  <a:pt x="9143" y="2286"/>
                </a:lnTo>
                <a:lnTo>
                  <a:pt x="15099" y="9878"/>
                </a:lnTo>
                <a:lnTo>
                  <a:pt x="268985" y="9154"/>
                </a:lnTo>
                <a:lnTo>
                  <a:pt x="268985" y="7620"/>
                </a:lnTo>
                <a:lnTo>
                  <a:pt x="272795" y="9144"/>
                </a:lnTo>
                <a:lnTo>
                  <a:pt x="272795" y="12267"/>
                </a:lnTo>
                <a:lnTo>
                  <a:pt x="408281" y="177546"/>
                </a:lnTo>
                <a:lnTo>
                  <a:pt x="417575" y="177546"/>
                </a:lnTo>
                <a:lnTo>
                  <a:pt x="417575" y="186690"/>
                </a:lnTo>
                <a:lnTo>
                  <a:pt x="419861" y="186690"/>
                </a:lnTo>
                <a:lnTo>
                  <a:pt x="421385" y="185928"/>
                </a:lnTo>
                <a:lnTo>
                  <a:pt x="422147" y="183642"/>
                </a:lnTo>
                <a:lnTo>
                  <a:pt x="422909" y="182118"/>
                </a:lnTo>
                <a:close/>
              </a:path>
              <a:path w="422909" h="186689">
                <a:moveTo>
                  <a:pt x="15099" y="9878"/>
                </a:moveTo>
                <a:lnTo>
                  <a:pt x="9143" y="2286"/>
                </a:lnTo>
                <a:lnTo>
                  <a:pt x="5333" y="9906"/>
                </a:lnTo>
                <a:lnTo>
                  <a:pt x="15099" y="9878"/>
                </a:lnTo>
                <a:close/>
              </a:path>
              <a:path w="422909" h="186689">
                <a:moveTo>
                  <a:pt x="146632" y="177546"/>
                </a:moveTo>
                <a:lnTo>
                  <a:pt x="15099" y="9878"/>
                </a:lnTo>
                <a:lnTo>
                  <a:pt x="5333" y="9906"/>
                </a:lnTo>
                <a:lnTo>
                  <a:pt x="5333" y="13238"/>
                </a:lnTo>
                <a:lnTo>
                  <a:pt x="140207" y="185166"/>
                </a:lnTo>
                <a:lnTo>
                  <a:pt x="141731" y="185928"/>
                </a:lnTo>
                <a:lnTo>
                  <a:pt x="142493" y="186690"/>
                </a:lnTo>
                <a:lnTo>
                  <a:pt x="144017" y="186690"/>
                </a:lnTo>
                <a:lnTo>
                  <a:pt x="144017" y="177546"/>
                </a:lnTo>
                <a:lnTo>
                  <a:pt x="146632" y="177546"/>
                </a:lnTo>
                <a:close/>
              </a:path>
              <a:path w="422909" h="186689">
                <a:moveTo>
                  <a:pt x="147827" y="179070"/>
                </a:moveTo>
                <a:lnTo>
                  <a:pt x="146632" y="177546"/>
                </a:lnTo>
                <a:lnTo>
                  <a:pt x="144017" y="177546"/>
                </a:lnTo>
                <a:lnTo>
                  <a:pt x="147827" y="179070"/>
                </a:lnTo>
                <a:close/>
              </a:path>
              <a:path w="422909" h="186689">
                <a:moveTo>
                  <a:pt x="147827" y="186690"/>
                </a:moveTo>
                <a:lnTo>
                  <a:pt x="147827" y="179070"/>
                </a:lnTo>
                <a:lnTo>
                  <a:pt x="144017" y="177546"/>
                </a:lnTo>
                <a:lnTo>
                  <a:pt x="144017" y="186690"/>
                </a:lnTo>
                <a:lnTo>
                  <a:pt x="147827" y="186690"/>
                </a:lnTo>
                <a:close/>
              </a:path>
              <a:path w="422909" h="186689">
                <a:moveTo>
                  <a:pt x="417575" y="186690"/>
                </a:moveTo>
                <a:lnTo>
                  <a:pt x="417575" y="177546"/>
                </a:lnTo>
                <a:lnTo>
                  <a:pt x="414527" y="185166"/>
                </a:lnTo>
                <a:lnTo>
                  <a:pt x="408281" y="177546"/>
                </a:lnTo>
                <a:lnTo>
                  <a:pt x="146632" y="177546"/>
                </a:lnTo>
                <a:lnTo>
                  <a:pt x="147827" y="179070"/>
                </a:lnTo>
                <a:lnTo>
                  <a:pt x="147827" y="186690"/>
                </a:lnTo>
                <a:lnTo>
                  <a:pt x="417575" y="186690"/>
                </a:lnTo>
                <a:close/>
              </a:path>
              <a:path w="422909" h="186689">
                <a:moveTo>
                  <a:pt x="272795" y="9144"/>
                </a:moveTo>
                <a:lnTo>
                  <a:pt x="268985" y="7620"/>
                </a:lnTo>
                <a:lnTo>
                  <a:pt x="270241" y="9151"/>
                </a:lnTo>
                <a:lnTo>
                  <a:pt x="272795" y="9144"/>
                </a:lnTo>
                <a:close/>
              </a:path>
              <a:path w="422909" h="186689">
                <a:moveTo>
                  <a:pt x="270241" y="9151"/>
                </a:moveTo>
                <a:lnTo>
                  <a:pt x="268985" y="7620"/>
                </a:lnTo>
                <a:lnTo>
                  <a:pt x="268985" y="9154"/>
                </a:lnTo>
                <a:lnTo>
                  <a:pt x="270241" y="9151"/>
                </a:lnTo>
                <a:close/>
              </a:path>
              <a:path w="422909" h="186689">
                <a:moveTo>
                  <a:pt x="272795" y="12267"/>
                </a:moveTo>
                <a:lnTo>
                  <a:pt x="272795" y="9144"/>
                </a:lnTo>
                <a:lnTo>
                  <a:pt x="270241" y="9151"/>
                </a:lnTo>
                <a:lnTo>
                  <a:pt x="272795" y="12267"/>
                </a:lnTo>
                <a:close/>
              </a:path>
              <a:path w="422909" h="186689">
                <a:moveTo>
                  <a:pt x="417575" y="177546"/>
                </a:moveTo>
                <a:lnTo>
                  <a:pt x="408281" y="177546"/>
                </a:lnTo>
                <a:lnTo>
                  <a:pt x="414527" y="185166"/>
                </a:lnTo>
                <a:lnTo>
                  <a:pt x="417575" y="1775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6" name="object 50"/>
          <p:cNvSpPr/>
          <p:nvPr/>
        </p:nvSpPr>
        <p:spPr>
          <a:xfrm>
            <a:off x="6017735" y="3388483"/>
            <a:ext cx="261738" cy="79908"/>
          </a:xfrm>
          <a:prstGeom prst="rect">
            <a:avLst/>
          </a:prstGeom>
          <a:blipFill>
            <a:blip r:embed="rId3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7" name="object 51"/>
          <p:cNvSpPr/>
          <p:nvPr/>
        </p:nvSpPr>
        <p:spPr>
          <a:xfrm>
            <a:off x="6014715" y="3386451"/>
            <a:ext cx="268030" cy="84084"/>
          </a:xfrm>
          <a:custGeom>
            <a:avLst/>
            <a:gdLst/>
            <a:ahLst/>
            <a:cxnLst/>
            <a:rect l="l" t="t" r="r" b="b"/>
            <a:pathLst>
              <a:path w="405764" h="189229">
                <a:moveTo>
                  <a:pt x="405384" y="185165"/>
                </a:moveTo>
                <a:lnTo>
                  <a:pt x="405384" y="182879"/>
                </a:lnTo>
                <a:lnTo>
                  <a:pt x="404622" y="181355"/>
                </a:lnTo>
                <a:lnTo>
                  <a:pt x="263652" y="1523"/>
                </a:lnTo>
                <a:lnTo>
                  <a:pt x="262890" y="761"/>
                </a:lnTo>
                <a:lnTo>
                  <a:pt x="261366" y="0"/>
                </a:lnTo>
                <a:lnTo>
                  <a:pt x="181356" y="0"/>
                </a:lnTo>
                <a:lnTo>
                  <a:pt x="2286" y="85343"/>
                </a:lnTo>
                <a:lnTo>
                  <a:pt x="762" y="86105"/>
                </a:lnTo>
                <a:lnTo>
                  <a:pt x="0" y="88391"/>
                </a:lnTo>
                <a:lnTo>
                  <a:pt x="0" y="91439"/>
                </a:lnTo>
                <a:lnTo>
                  <a:pt x="762" y="92963"/>
                </a:lnTo>
                <a:lnTo>
                  <a:pt x="2286" y="94487"/>
                </a:lnTo>
                <a:lnTo>
                  <a:pt x="6858" y="96900"/>
                </a:lnTo>
                <a:lnTo>
                  <a:pt x="6858" y="85343"/>
                </a:lnTo>
                <a:lnTo>
                  <a:pt x="15944" y="90138"/>
                </a:lnTo>
                <a:lnTo>
                  <a:pt x="183642" y="9873"/>
                </a:lnTo>
                <a:lnTo>
                  <a:pt x="183642" y="9143"/>
                </a:lnTo>
                <a:lnTo>
                  <a:pt x="256032" y="9143"/>
                </a:lnTo>
                <a:lnTo>
                  <a:pt x="256032" y="7619"/>
                </a:lnTo>
                <a:lnTo>
                  <a:pt x="259842" y="9143"/>
                </a:lnTo>
                <a:lnTo>
                  <a:pt x="259842" y="12480"/>
                </a:lnTo>
                <a:lnTo>
                  <a:pt x="391028" y="179831"/>
                </a:lnTo>
                <a:lnTo>
                  <a:pt x="400812" y="179831"/>
                </a:lnTo>
                <a:lnTo>
                  <a:pt x="400812" y="188975"/>
                </a:lnTo>
                <a:lnTo>
                  <a:pt x="402336" y="188975"/>
                </a:lnTo>
                <a:lnTo>
                  <a:pt x="403860" y="188213"/>
                </a:lnTo>
                <a:lnTo>
                  <a:pt x="405384" y="185165"/>
                </a:lnTo>
                <a:close/>
              </a:path>
              <a:path w="405764" h="189229">
                <a:moveTo>
                  <a:pt x="15944" y="90138"/>
                </a:moveTo>
                <a:lnTo>
                  <a:pt x="6858" y="85343"/>
                </a:lnTo>
                <a:lnTo>
                  <a:pt x="6858" y="94487"/>
                </a:lnTo>
                <a:lnTo>
                  <a:pt x="15944" y="90138"/>
                </a:lnTo>
                <a:close/>
              </a:path>
              <a:path w="405764" h="189229">
                <a:moveTo>
                  <a:pt x="185928" y="179831"/>
                </a:moveTo>
                <a:lnTo>
                  <a:pt x="15944" y="90138"/>
                </a:lnTo>
                <a:lnTo>
                  <a:pt x="6858" y="94487"/>
                </a:lnTo>
                <a:lnTo>
                  <a:pt x="6858" y="96900"/>
                </a:lnTo>
                <a:lnTo>
                  <a:pt x="181356" y="188975"/>
                </a:lnTo>
                <a:lnTo>
                  <a:pt x="183642" y="188975"/>
                </a:lnTo>
                <a:lnTo>
                  <a:pt x="183642" y="179831"/>
                </a:lnTo>
                <a:lnTo>
                  <a:pt x="185928" y="179831"/>
                </a:lnTo>
                <a:close/>
              </a:path>
              <a:path w="405764" h="189229">
                <a:moveTo>
                  <a:pt x="185166" y="9143"/>
                </a:moveTo>
                <a:lnTo>
                  <a:pt x="183642" y="9143"/>
                </a:lnTo>
                <a:lnTo>
                  <a:pt x="183642" y="9873"/>
                </a:lnTo>
                <a:lnTo>
                  <a:pt x="185166" y="9143"/>
                </a:lnTo>
                <a:close/>
              </a:path>
              <a:path w="405764" h="189229">
                <a:moveTo>
                  <a:pt x="400812" y="188975"/>
                </a:moveTo>
                <a:lnTo>
                  <a:pt x="400812" y="179831"/>
                </a:lnTo>
                <a:lnTo>
                  <a:pt x="397002" y="187451"/>
                </a:lnTo>
                <a:lnTo>
                  <a:pt x="391028" y="179831"/>
                </a:lnTo>
                <a:lnTo>
                  <a:pt x="183642" y="179831"/>
                </a:lnTo>
                <a:lnTo>
                  <a:pt x="183642" y="188975"/>
                </a:lnTo>
                <a:lnTo>
                  <a:pt x="400812" y="188975"/>
                </a:lnTo>
                <a:close/>
              </a:path>
              <a:path w="405764" h="189229">
                <a:moveTo>
                  <a:pt x="259842" y="9143"/>
                </a:moveTo>
                <a:lnTo>
                  <a:pt x="256032" y="7619"/>
                </a:lnTo>
                <a:lnTo>
                  <a:pt x="257226" y="9143"/>
                </a:lnTo>
                <a:lnTo>
                  <a:pt x="259842" y="9143"/>
                </a:lnTo>
                <a:close/>
              </a:path>
              <a:path w="405764" h="189229">
                <a:moveTo>
                  <a:pt x="257226" y="9143"/>
                </a:moveTo>
                <a:lnTo>
                  <a:pt x="256032" y="7619"/>
                </a:lnTo>
                <a:lnTo>
                  <a:pt x="256032" y="9143"/>
                </a:lnTo>
                <a:lnTo>
                  <a:pt x="257226" y="9143"/>
                </a:lnTo>
                <a:close/>
              </a:path>
              <a:path w="405764" h="189229">
                <a:moveTo>
                  <a:pt x="259842" y="12480"/>
                </a:moveTo>
                <a:lnTo>
                  <a:pt x="259842" y="9143"/>
                </a:lnTo>
                <a:lnTo>
                  <a:pt x="257226" y="9143"/>
                </a:lnTo>
                <a:lnTo>
                  <a:pt x="259842" y="12480"/>
                </a:lnTo>
                <a:close/>
              </a:path>
              <a:path w="405764" h="189229">
                <a:moveTo>
                  <a:pt x="400812" y="179831"/>
                </a:moveTo>
                <a:lnTo>
                  <a:pt x="391028" y="179831"/>
                </a:lnTo>
                <a:lnTo>
                  <a:pt x="397002" y="187451"/>
                </a:lnTo>
                <a:lnTo>
                  <a:pt x="400812" y="17983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8" name="object 52"/>
          <p:cNvSpPr/>
          <p:nvPr/>
        </p:nvSpPr>
        <p:spPr>
          <a:xfrm>
            <a:off x="6174778" y="3377084"/>
            <a:ext cx="181203" cy="103836"/>
          </a:xfrm>
          <a:prstGeom prst="rect">
            <a:avLst/>
          </a:prstGeom>
          <a:blipFill>
            <a:blip r:embed="rId4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9" name="object 53"/>
          <p:cNvSpPr/>
          <p:nvPr/>
        </p:nvSpPr>
        <p:spPr>
          <a:xfrm>
            <a:off x="6141054" y="3374262"/>
            <a:ext cx="218115" cy="108914"/>
          </a:xfrm>
          <a:custGeom>
            <a:avLst/>
            <a:gdLst/>
            <a:ahLst/>
            <a:cxnLst/>
            <a:rect l="l" t="t" r="r" b="b"/>
            <a:pathLst>
              <a:path w="330200" h="245110">
                <a:moveTo>
                  <a:pt x="274182" y="221337"/>
                </a:moveTo>
                <a:lnTo>
                  <a:pt x="99822" y="1523"/>
                </a:lnTo>
                <a:lnTo>
                  <a:pt x="99060" y="761"/>
                </a:lnTo>
                <a:lnTo>
                  <a:pt x="97536" y="0"/>
                </a:lnTo>
                <a:lnTo>
                  <a:pt x="17526" y="720"/>
                </a:lnTo>
                <a:lnTo>
                  <a:pt x="10668" y="761"/>
                </a:lnTo>
                <a:lnTo>
                  <a:pt x="9144" y="1523"/>
                </a:lnTo>
                <a:lnTo>
                  <a:pt x="8382" y="3809"/>
                </a:lnTo>
                <a:lnTo>
                  <a:pt x="0" y="28193"/>
                </a:lnTo>
                <a:lnTo>
                  <a:pt x="0" y="31241"/>
                </a:lnTo>
                <a:lnTo>
                  <a:pt x="762" y="32003"/>
                </a:lnTo>
                <a:lnTo>
                  <a:pt x="1524" y="33527"/>
                </a:lnTo>
                <a:lnTo>
                  <a:pt x="3048" y="34289"/>
                </a:lnTo>
                <a:lnTo>
                  <a:pt x="4572" y="34289"/>
                </a:lnTo>
                <a:lnTo>
                  <a:pt x="4572" y="25145"/>
                </a:lnTo>
                <a:lnTo>
                  <a:pt x="11239" y="25145"/>
                </a:lnTo>
                <a:lnTo>
                  <a:pt x="12954" y="20158"/>
                </a:lnTo>
                <a:lnTo>
                  <a:pt x="12954" y="9905"/>
                </a:lnTo>
                <a:lnTo>
                  <a:pt x="17526" y="6857"/>
                </a:lnTo>
                <a:lnTo>
                  <a:pt x="17526" y="9864"/>
                </a:lnTo>
                <a:lnTo>
                  <a:pt x="44417" y="9617"/>
                </a:lnTo>
                <a:lnTo>
                  <a:pt x="45720" y="4571"/>
                </a:lnTo>
                <a:lnTo>
                  <a:pt x="46482" y="2285"/>
                </a:lnTo>
                <a:lnTo>
                  <a:pt x="47244" y="1523"/>
                </a:lnTo>
                <a:lnTo>
                  <a:pt x="49530" y="761"/>
                </a:lnTo>
                <a:lnTo>
                  <a:pt x="51054" y="761"/>
                </a:lnTo>
                <a:lnTo>
                  <a:pt x="54102" y="2285"/>
                </a:lnTo>
                <a:lnTo>
                  <a:pt x="59751" y="9476"/>
                </a:lnTo>
                <a:lnTo>
                  <a:pt x="92202" y="9178"/>
                </a:lnTo>
                <a:lnTo>
                  <a:pt x="92202" y="7619"/>
                </a:lnTo>
                <a:lnTo>
                  <a:pt x="96012" y="9143"/>
                </a:lnTo>
                <a:lnTo>
                  <a:pt x="96012" y="12423"/>
                </a:lnTo>
                <a:lnTo>
                  <a:pt x="270510" y="232409"/>
                </a:lnTo>
                <a:lnTo>
                  <a:pt x="270510" y="227075"/>
                </a:lnTo>
                <a:lnTo>
                  <a:pt x="274182" y="221337"/>
                </a:lnTo>
                <a:close/>
              </a:path>
              <a:path w="330200" h="245110">
                <a:moveTo>
                  <a:pt x="11239" y="25145"/>
                </a:moveTo>
                <a:lnTo>
                  <a:pt x="4572" y="25145"/>
                </a:lnTo>
                <a:lnTo>
                  <a:pt x="9144" y="31241"/>
                </a:lnTo>
                <a:lnTo>
                  <a:pt x="11239" y="25145"/>
                </a:lnTo>
                <a:close/>
              </a:path>
              <a:path w="330200" h="245110">
                <a:moveTo>
                  <a:pt x="40410" y="25145"/>
                </a:moveTo>
                <a:lnTo>
                  <a:pt x="11239" y="25145"/>
                </a:lnTo>
                <a:lnTo>
                  <a:pt x="9144" y="31241"/>
                </a:lnTo>
                <a:lnTo>
                  <a:pt x="4572" y="25145"/>
                </a:lnTo>
                <a:lnTo>
                  <a:pt x="4572" y="34289"/>
                </a:lnTo>
                <a:lnTo>
                  <a:pt x="39624" y="34289"/>
                </a:lnTo>
                <a:lnTo>
                  <a:pt x="39624" y="28193"/>
                </a:lnTo>
                <a:lnTo>
                  <a:pt x="40410" y="25145"/>
                </a:lnTo>
                <a:close/>
              </a:path>
              <a:path w="330200" h="245110">
                <a:moveTo>
                  <a:pt x="17526" y="6857"/>
                </a:moveTo>
                <a:lnTo>
                  <a:pt x="12954" y="9905"/>
                </a:lnTo>
                <a:lnTo>
                  <a:pt x="16489" y="9873"/>
                </a:lnTo>
                <a:lnTo>
                  <a:pt x="17526" y="6857"/>
                </a:lnTo>
                <a:close/>
              </a:path>
              <a:path w="330200" h="245110">
                <a:moveTo>
                  <a:pt x="16489" y="9873"/>
                </a:moveTo>
                <a:lnTo>
                  <a:pt x="12954" y="9905"/>
                </a:lnTo>
                <a:lnTo>
                  <a:pt x="12954" y="20158"/>
                </a:lnTo>
                <a:lnTo>
                  <a:pt x="16489" y="9873"/>
                </a:lnTo>
                <a:close/>
              </a:path>
              <a:path w="330200" h="245110">
                <a:moveTo>
                  <a:pt x="17526" y="9864"/>
                </a:moveTo>
                <a:lnTo>
                  <a:pt x="17526" y="6857"/>
                </a:lnTo>
                <a:lnTo>
                  <a:pt x="16489" y="9873"/>
                </a:lnTo>
                <a:lnTo>
                  <a:pt x="17526" y="9864"/>
                </a:lnTo>
                <a:close/>
              </a:path>
              <a:path w="330200" h="245110">
                <a:moveTo>
                  <a:pt x="44196" y="25145"/>
                </a:moveTo>
                <a:lnTo>
                  <a:pt x="40410" y="25145"/>
                </a:lnTo>
                <a:lnTo>
                  <a:pt x="39624" y="28193"/>
                </a:lnTo>
                <a:lnTo>
                  <a:pt x="44196" y="25145"/>
                </a:lnTo>
                <a:close/>
              </a:path>
              <a:path w="330200" h="245110">
                <a:moveTo>
                  <a:pt x="44196" y="34289"/>
                </a:moveTo>
                <a:lnTo>
                  <a:pt x="44196" y="25145"/>
                </a:lnTo>
                <a:lnTo>
                  <a:pt x="39624" y="28193"/>
                </a:lnTo>
                <a:lnTo>
                  <a:pt x="39624" y="34289"/>
                </a:lnTo>
                <a:lnTo>
                  <a:pt x="44196" y="34289"/>
                </a:lnTo>
                <a:close/>
              </a:path>
              <a:path w="330200" h="245110">
                <a:moveTo>
                  <a:pt x="52495" y="16035"/>
                </a:moveTo>
                <a:lnTo>
                  <a:pt x="47430" y="9589"/>
                </a:lnTo>
                <a:lnTo>
                  <a:pt x="44417" y="9617"/>
                </a:lnTo>
                <a:lnTo>
                  <a:pt x="40410" y="25145"/>
                </a:lnTo>
                <a:lnTo>
                  <a:pt x="44196" y="25145"/>
                </a:lnTo>
                <a:lnTo>
                  <a:pt x="44196" y="34289"/>
                </a:lnTo>
                <a:lnTo>
                  <a:pt x="46482" y="34289"/>
                </a:lnTo>
                <a:lnTo>
                  <a:pt x="48006" y="32765"/>
                </a:lnTo>
                <a:lnTo>
                  <a:pt x="48768" y="30479"/>
                </a:lnTo>
                <a:lnTo>
                  <a:pt x="52495" y="16035"/>
                </a:lnTo>
                <a:close/>
              </a:path>
              <a:path w="330200" h="245110">
                <a:moveTo>
                  <a:pt x="59751" y="9476"/>
                </a:moveTo>
                <a:lnTo>
                  <a:pt x="54102" y="2285"/>
                </a:lnTo>
                <a:lnTo>
                  <a:pt x="51054" y="761"/>
                </a:lnTo>
                <a:lnTo>
                  <a:pt x="49530" y="761"/>
                </a:lnTo>
                <a:lnTo>
                  <a:pt x="47244" y="1523"/>
                </a:lnTo>
                <a:lnTo>
                  <a:pt x="46482" y="2285"/>
                </a:lnTo>
                <a:lnTo>
                  <a:pt x="45720" y="4571"/>
                </a:lnTo>
                <a:lnTo>
                  <a:pt x="44417" y="9617"/>
                </a:lnTo>
                <a:lnTo>
                  <a:pt x="46482" y="9598"/>
                </a:lnTo>
                <a:lnTo>
                  <a:pt x="46482" y="8381"/>
                </a:lnTo>
                <a:lnTo>
                  <a:pt x="54864" y="6857"/>
                </a:lnTo>
                <a:lnTo>
                  <a:pt x="54864" y="9521"/>
                </a:lnTo>
                <a:lnTo>
                  <a:pt x="59751" y="9476"/>
                </a:lnTo>
                <a:close/>
              </a:path>
              <a:path w="330200" h="245110">
                <a:moveTo>
                  <a:pt x="54864" y="6857"/>
                </a:moveTo>
                <a:lnTo>
                  <a:pt x="46482" y="8381"/>
                </a:lnTo>
                <a:lnTo>
                  <a:pt x="47430" y="9589"/>
                </a:lnTo>
                <a:lnTo>
                  <a:pt x="54175" y="9527"/>
                </a:lnTo>
                <a:lnTo>
                  <a:pt x="54864" y="6857"/>
                </a:lnTo>
                <a:close/>
              </a:path>
              <a:path w="330200" h="245110">
                <a:moveTo>
                  <a:pt x="47430" y="9589"/>
                </a:moveTo>
                <a:lnTo>
                  <a:pt x="46482" y="8381"/>
                </a:lnTo>
                <a:lnTo>
                  <a:pt x="46482" y="9598"/>
                </a:lnTo>
                <a:lnTo>
                  <a:pt x="47430" y="9589"/>
                </a:lnTo>
                <a:close/>
              </a:path>
              <a:path w="330200" h="245110">
                <a:moveTo>
                  <a:pt x="54175" y="9527"/>
                </a:moveTo>
                <a:lnTo>
                  <a:pt x="47430" y="9589"/>
                </a:lnTo>
                <a:lnTo>
                  <a:pt x="52495" y="16035"/>
                </a:lnTo>
                <a:lnTo>
                  <a:pt x="54175" y="9527"/>
                </a:lnTo>
                <a:close/>
              </a:path>
              <a:path w="330200" h="245110">
                <a:moveTo>
                  <a:pt x="237267" y="235405"/>
                </a:moveTo>
                <a:lnTo>
                  <a:pt x="59751" y="9476"/>
                </a:lnTo>
                <a:lnTo>
                  <a:pt x="54175" y="9527"/>
                </a:lnTo>
                <a:lnTo>
                  <a:pt x="52495" y="16035"/>
                </a:lnTo>
                <a:lnTo>
                  <a:pt x="230886" y="243077"/>
                </a:lnTo>
                <a:lnTo>
                  <a:pt x="231648" y="243839"/>
                </a:lnTo>
                <a:lnTo>
                  <a:pt x="233172" y="244601"/>
                </a:lnTo>
                <a:lnTo>
                  <a:pt x="234696" y="244601"/>
                </a:lnTo>
                <a:lnTo>
                  <a:pt x="234696" y="235457"/>
                </a:lnTo>
                <a:lnTo>
                  <a:pt x="237267" y="235405"/>
                </a:lnTo>
                <a:close/>
              </a:path>
              <a:path w="330200" h="245110">
                <a:moveTo>
                  <a:pt x="54864" y="9521"/>
                </a:moveTo>
                <a:lnTo>
                  <a:pt x="54864" y="6857"/>
                </a:lnTo>
                <a:lnTo>
                  <a:pt x="54175" y="9527"/>
                </a:lnTo>
                <a:lnTo>
                  <a:pt x="54864" y="9521"/>
                </a:lnTo>
                <a:close/>
              </a:path>
              <a:path w="330200" h="245110">
                <a:moveTo>
                  <a:pt x="96012" y="9143"/>
                </a:moveTo>
                <a:lnTo>
                  <a:pt x="92202" y="7619"/>
                </a:lnTo>
                <a:lnTo>
                  <a:pt x="93429" y="9167"/>
                </a:lnTo>
                <a:lnTo>
                  <a:pt x="96012" y="9143"/>
                </a:lnTo>
                <a:close/>
              </a:path>
              <a:path w="330200" h="245110">
                <a:moveTo>
                  <a:pt x="93429" y="9167"/>
                </a:moveTo>
                <a:lnTo>
                  <a:pt x="92202" y="7619"/>
                </a:lnTo>
                <a:lnTo>
                  <a:pt x="92202" y="9178"/>
                </a:lnTo>
                <a:lnTo>
                  <a:pt x="93429" y="9167"/>
                </a:lnTo>
                <a:close/>
              </a:path>
              <a:path w="330200" h="245110">
                <a:moveTo>
                  <a:pt x="96012" y="12423"/>
                </a:moveTo>
                <a:lnTo>
                  <a:pt x="96012" y="9143"/>
                </a:lnTo>
                <a:lnTo>
                  <a:pt x="93429" y="9167"/>
                </a:lnTo>
                <a:lnTo>
                  <a:pt x="96012" y="12423"/>
                </a:lnTo>
                <a:close/>
              </a:path>
              <a:path w="330200" h="245110">
                <a:moveTo>
                  <a:pt x="238506" y="236981"/>
                </a:moveTo>
                <a:lnTo>
                  <a:pt x="237267" y="235405"/>
                </a:lnTo>
                <a:lnTo>
                  <a:pt x="234696" y="235457"/>
                </a:lnTo>
                <a:lnTo>
                  <a:pt x="238506" y="236981"/>
                </a:lnTo>
                <a:close/>
              </a:path>
              <a:path w="330200" h="245110">
                <a:moveTo>
                  <a:pt x="238506" y="244525"/>
                </a:moveTo>
                <a:lnTo>
                  <a:pt x="238506" y="236981"/>
                </a:lnTo>
                <a:lnTo>
                  <a:pt x="234696" y="235457"/>
                </a:lnTo>
                <a:lnTo>
                  <a:pt x="234696" y="244601"/>
                </a:lnTo>
                <a:lnTo>
                  <a:pt x="238506" y="244525"/>
                </a:lnTo>
                <a:close/>
              </a:path>
              <a:path w="330200" h="245110">
                <a:moveTo>
                  <a:pt x="309372" y="243093"/>
                </a:moveTo>
                <a:lnTo>
                  <a:pt x="309372" y="233933"/>
                </a:lnTo>
                <a:lnTo>
                  <a:pt x="305562" y="236219"/>
                </a:lnTo>
                <a:lnTo>
                  <a:pt x="305562" y="234011"/>
                </a:lnTo>
                <a:lnTo>
                  <a:pt x="237267" y="235405"/>
                </a:lnTo>
                <a:lnTo>
                  <a:pt x="238506" y="236981"/>
                </a:lnTo>
                <a:lnTo>
                  <a:pt x="238506" y="244525"/>
                </a:lnTo>
                <a:lnTo>
                  <a:pt x="305562" y="243170"/>
                </a:lnTo>
                <a:lnTo>
                  <a:pt x="305562" y="236219"/>
                </a:lnTo>
                <a:lnTo>
                  <a:pt x="306802" y="233986"/>
                </a:lnTo>
                <a:lnTo>
                  <a:pt x="306802" y="243145"/>
                </a:lnTo>
                <a:lnTo>
                  <a:pt x="309372" y="243093"/>
                </a:lnTo>
                <a:close/>
              </a:path>
              <a:path w="330200" h="245110">
                <a:moveTo>
                  <a:pt x="278130" y="226313"/>
                </a:moveTo>
                <a:lnTo>
                  <a:pt x="274182" y="221337"/>
                </a:lnTo>
                <a:lnTo>
                  <a:pt x="270510" y="227075"/>
                </a:lnTo>
                <a:lnTo>
                  <a:pt x="278130" y="226313"/>
                </a:lnTo>
                <a:close/>
              </a:path>
              <a:path w="330200" h="245110">
                <a:moveTo>
                  <a:pt x="278130" y="232409"/>
                </a:moveTo>
                <a:lnTo>
                  <a:pt x="278130" y="226313"/>
                </a:lnTo>
                <a:lnTo>
                  <a:pt x="270510" y="227075"/>
                </a:lnTo>
                <a:lnTo>
                  <a:pt x="270510" y="232409"/>
                </a:lnTo>
                <a:lnTo>
                  <a:pt x="271272" y="233933"/>
                </a:lnTo>
                <a:lnTo>
                  <a:pt x="272766" y="234681"/>
                </a:lnTo>
                <a:lnTo>
                  <a:pt x="274182" y="234002"/>
                </a:lnTo>
                <a:lnTo>
                  <a:pt x="275844" y="233933"/>
                </a:lnTo>
                <a:lnTo>
                  <a:pt x="277368" y="233171"/>
                </a:lnTo>
                <a:lnTo>
                  <a:pt x="278130" y="232409"/>
                </a:lnTo>
                <a:close/>
              </a:path>
              <a:path w="330200" h="245110">
                <a:moveTo>
                  <a:pt x="329946" y="211835"/>
                </a:moveTo>
                <a:lnTo>
                  <a:pt x="329946" y="209549"/>
                </a:lnTo>
                <a:lnTo>
                  <a:pt x="329184" y="208025"/>
                </a:lnTo>
                <a:lnTo>
                  <a:pt x="326898" y="205739"/>
                </a:lnTo>
                <a:lnTo>
                  <a:pt x="284988" y="205739"/>
                </a:lnTo>
                <a:lnTo>
                  <a:pt x="283464" y="206501"/>
                </a:lnTo>
                <a:lnTo>
                  <a:pt x="282702" y="208025"/>
                </a:lnTo>
                <a:lnTo>
                  <a:pt x="274182" y="221337"/>
                </a:lnTo>
                <a:lnTo>
                  <a:pt x="278130" y="226313"/>
                </a:lnTo>
                <a:lnTo>
                  <a:pt x="278130" y="232409"/>
                </a:lnTo>
                <a:lnTo>
                  <a:pt x="286512" y="220083"/>
                </a:lnTo>
                <a:lnTo>
                  <a:pt x="286512" y="215645"/>
                </a:lnTo>
                <a:lnTo>
                  <a:pt x="291084" y="213359"/>
                </a:lnTo>
                <a:lnTo>
                  <a:pt x="291084" y="215645"/>
                </a:lnTo>
                <a:lnTo>
                  <a:pt x="316992" y="215645"/>
                </a:lnTo>
                <a:lnTo>
                  <a:pt x="320802" y="208787"/>
                </a:lnTo>
                <a:lnTo>
                  <a:pt x="325374" y="215645"/>
                </a:lnTo>
                <a:lnTo>
                  <a:pt x="325374" y="220217"/>
                </a:lnTo>
                <a:lnTo>
                  <a:pt x="329184" y="213359"/>
                </a:lnTo>
                <a:lnTo>
                  <a:pt x="329946" y="211835"/>
                </a:lnTo>
                <a:close/>
              </a:path>
              <a:path w="330200" h="245110">
                <a:moveTo>
                  <a:pt x="291084" y="213359"/>
                </a:moveTo>
                <a:lnTo>
                  <a:pt x="286512" y="215645"/>
                </a:lnTo>
                <a:lnTo>
                  <a:pt x="289529" y="215645"/>
                </a:lnTo>
                <a:lnTo>
                  <a:pt x="291084" y="213359"/>
                </a:lnTo>
                <a:close/>
              </a:path>
              <a:path w="330200" h="245110">
                <a:moveTo>
                  <a:pt x="289529" y="215645"/>
                </a:moveTo>
                <a:lnTo>
                  <a:pt x="286512" y="215645"/>
                </a:lnTo>
                <a:lnTo>
                  <a:pt x="286512" y="220083"/>
                </a:lnTo>
                <a:lnTo>
                  <a:pt x="289529" y="215645"/>
                </a:lnTo>
                <a:close/>
              </a:path>
              <a:path w="330200" h="245110">
                <a:moveTo>
                  <a:pt x="291084" y="215645"/>
                </a:moveTo>
                <a:lnTo>
                  <a:pt x="291084" y="213359"/>
                </a:lnTo>
                <a:lnTo>
                  <a:pt x="289529" y="215645"/>
                </a:lnTo>
                <a:lnTo>
                  <a:pt x="291084" y="215645"/>
                </a:lnTo>
                <a:close/>
              </a:path>
              <a:path w="330200" h="245110">
                <a:moveTo>
                  <a:pt x="309372" y="233933"/>
                </a:moveTo>
                <a:lnTo>
                  <a:pt x="306802" y="233986"/>
                </a:lnTo>
                <a:lnTo>
                  <a:pt x="305562" y="236219"/>
                </a:lnTo>
                <a:lnTo>
                  <a:pt x="309372" y="233933"/>
                </a:lnTo>
                <a:close/>
              </a:path>
              <a:path w="330200" h="245110">
                <a:moveTo>
                  <a:pt x="325374" y="220217"/>
                </a:moveTo>
                <a:lnTo>
                  <a:pt x="325374" y="215645"/>
                </a:lnTo>
                <a:lnTo>
                  <a:pt x="316992" y="215645"/>
                </a:lnTo>
                <a:lnTo>
                  <a:pt x="306802" y="233986"/>
                </a:lnTo>
                <a:lnTo>
                  <a:pt x="309372" y="233933"/>
                </a:lnTo>
                <a:lnTo>
                  <a:pt x="309372" y="243093"/>
                </a:lnTo>
                <a:lnTo>
                  <a:pt x="311658" y="243077"/>
                </a:lnTo>
                <a:lnTo>
                  <a:pt x="313182" y="242315"/>
                </a:lnTo>
                <a:lnTo>
                  <a:pt x="313944" y="240791"/>
                </a:lnTo>
                <a:lnTo>
                  <a:pt x="325374" y="220217"/>
                </a:lnTo>
                <a:close/>
              </a:path>
              <a:path w="330200" h="245110">
                <a:moveTo>
                  <a:pt x="325374" y="215645"/>
                </a:moveTo>
                <a:lnTo>
                  <a:pt x="320802" y="208787"/>
                </a:lnTo>
                <a:lnTo>
                  <a:pt x="316992" y="215645"/>
                </a:lnTo>
                <a:lnTo>
                  <a:pt x="325374" y="2156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0" name="object 54"/>
          <p:cNvSpPr/>
          <p:nvPr/>
        </p:nvSpPr>
        <p:spPr>
          <a:xfrm>
            <a:off x="6355982" y="3377423"/>
            <a:ext cx="210893" cy="103836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1" name="object 55"/>
          <p:cNvSpPr/>
          <p:nvPr/>
        </p:nvSpPr>
        <p:spPr>
          <a:xfrm>
            <a:off x="6351956" y="3374602"/>
            <a:ext cx="218535" cy="108914"/>
          </a:xfrm>
          <a:custGeom>
            <a:avLst/>
            <a:gdLst/>
            <a:ahLst/>
            <a:cxnLst/>
            <a:rect l="l" t="t" r="r" b="b"/>
            <a:pathLst>
              <a:path w="330835" h="245110">
                <a:moveTo>
                  <a:pt x="274385" y="221376"/>
                </a:moveTo>
                <a:lnTo>
                  <a:pt x="100584" y="1523"/>
                </a:lnTo>
                <a:lnTo>
                  <a:pt x="99822" y="761"/>
                </a:lnTo>
                <a:lnTo>
                  <a:pt x="98298" y="0"/>
                </a:lnTo>
                <a:lnTo>
                  <a:pt x="18288" y="720"/>
                </a:lnTo>
                <a:lnTo>
                  <a:pt x="11430" y="761"/>
                </a:lnTo>
                <a:lnTo>
                  <a:pt x="9906" y="2285"/>
                </a:lnTo>
                <a:lnTo>
                  <a:pt x="9144" y="3809"/>
                </a:lnTo>
                <a:lnTo>
                  <a:pt x="762" y="28193"/>
                </a:lnTo>
                <a:lnTo>
                  <a:pt x="0" y="29717"/>
                </a:lnTo>
                <a:lnTo>
                  <a:pt x="1524" y="32765"/>
                </a:lnTo>
                <a:lnTo>
                  <a:pt x="2286" y="33527"/>
                </a:lnTo>
                <a:lnTo>
                  <a:pt x="3810" y="34289"/>
                </a:lnTo>
                <a:lnTo>
                  <a:pt x="5334" y="34289"/>
                </a:lnTo>
                <a:lnTo>
                  <a:pt x="5334" y="25145"/>
                </a:lnTo>
                <a:lnTo>
                  <a:pt x="12001" y="25145"/>
                </a:lnTo>
                <a:lnTo>
                  <a:pt x="13716" y="20158"/>
                </a:lnTo>
                <a:lnTo>
                  <a:pt x="13716" y="9905"/>
                </a:lnTo>
                <a:lnTo>
                  <a:pt x="18288" y="6857"/>
                </a:lnTo>
                <a:lnTo>
                  <a:pt x="18288" y="9905"/>
                </a:lnTo>
                <a:lnTo>
                  <a:pt x="44981" y="9905"/>
                </a:lnTo>
                <a:lnTo>
                  <a:pt x="46482" y="4571"/>
                </a:lnTo>
                <a:lnTo>
                  <a:pt x="46482" y="3047"/>
                </a:lnTo>
                <a:lnTo>
                  <a:pt x="48006" y="1523"/>
                </a:lnTo>
                <a:lnTo>
                  <a:pt x="50292" y="761"/>
                </a:lnTo>
                <a:lnTo>
                  <a:pt x="51816" y="761"/>
                </a:lnTo>
                <a:lnTo>
                  <a:pt x="53340" y="1523"/>
                </a:lnTo>
                <a:lnTo>
                  <a:pt x="54864" y="3047"/>
                </a:lnTo>
                <a:lnTo>
                  <a:pt x="60269" y="9905"/>
                </a:lnTo>
                <a:lnTo>
                  <a:pt x="92964" y="9905"/>
                </a:lnTo>
                <a:lnTo>
                  <a:pt x="92964" y="7619"/>
                </a:lnTo>
                <a:lnTo>
                  <a:pt x="96774" y="9905"/>
                </a:lnTo>
                <a:lnTo>
                  <a:pt x="96774" y="12423"/>
                </a:lnTo>
                <a:lnTo>
                  <a:pt x="270510" y="231449"/>
                </a:lnTo>
                <a:lnTo>
                  <a:pt x="270510" y="227075"/>
                </a:lnTo>
                <a:lnTo>
                  <a:pt x="274385" y="221376"/>
                </a:lnTo>
                <a:close/>
              </a:path>
              <a:path w="330835" h="245110">
                <a:moveTo>
                  <a:pt x="12001" y="25145"/>
                </a:moveTo>
                <a:lnTo>
                  <a:pt x="5334" y="25145"/>
                </a:lnTo>
                <a:lnTo>
                  <a:pt x="9906" y="31241"/>
                </a:lnTo>
                <a:lnTo>
                  <a:pt x="12001" y="25145"/>
                </a:lnTo>
                <a:close/>
              </a:path>
              <a:path w="330835" h="245110">
                <a:moveTo>
                  <a:pt x="40695" y="25145"/>
                </a:moveTo>
                <a:lnTo>
                  <a:pt x="12001" y="25145"/>
                </a:lnTo>
                <a:lnTo>
                  <a:pt x="9906" y="31241"/>
                </a:lnTo>
                <a:lnTo>
                  <a:pt x="5334" y="25145"/>
                </a:lnTo>
                <a:lnTo>
                  <a:pt x="5334" y="34289"/>
                </a:lnTo>
                <a:lnTo>
                  <a:pt x="39624" y="34289"/>
                </a:lnTo>
                <a:lnTo>
                  <a:pt x="39624" y="28955"/>
                </a:lnTo>
                <a:lnTo>
                  <a:pt x="40695" y="25145"/>
                </a:lnTo>
                <a:close/>
              </a:path>
              <a:path w="330835" h="245110">
                <a:moveTo>
                  <a:pt x="18288" y="6857"/>
                </a:moveTo>
                <a:lnTo>
                  <a:pt x="13716" y="9905"/>
                </a:lnTo>
                <a:lnTo>
                  <a:pt x="17240" y="9905"/>
                </a:lnTo>
                <a:lnTo>
                  <a:pt x="18288" y="6857"/>
                </a:lnTo>
                <a:close/>
              </a:path>
              <a:path w="330835" h="245110">
                <a:moveTo>
                  <a:pt x="17240" y="9905"/>
                </a:moveTo>
                <a:lnTo>
                  <a:pt x="13716" y="9905"/>
                </a:lnTo>
                <a:lnTo>
                  <a:pt x="13716" y="20158"/>
                </a:lnTo>
                <a:lnTo>
                  <a:pt x="17240" y="9905"/>
                </a:lnTo>
                <a:close/>
              </a:path>
              <a:path w="330835" h="245110">
                <a:moveTo>
                  <a:pt x="18288" y="9905"/>
                </a:moveTo>
                <a:lnTo>
                  <a:pt x="18288" y="6857"/>
                </a:lnTo>
                <a:lnTo>
                  <a:pt x="17240" y="9905"/>
                </a:lnTo>
                <a:lnTo>
                  <a:pt x="18288" y="9905"/>
                </a:lnTo>
                <a:close/>
              </a:path>
              <a:path w="330835" h="245110">
                <a:moveTo>
                  <a:pt x="44196" y="25145"/>
                </a:moveTo>
                <a:lnTo>
                  <a:pt x="40695" y="25145"/>
                </a:lnTo>
                <a:lnTo>
                  <a:pt x="39624" y="28955"/>
                </a:lnTo>
                <a:lnTo>
                  <a:pt x="44196" y="25145"/>
                </a:lnTo>
                <a:close/>
              </a:path>
              <a:path w="330835" h="245110">
                <a:moveTo>
                  <a:pt x="44196" y="34289"/>
                </a:moveTo>
                <a:lnTo>
                  <a:pt x="44196" y="25145"/>
                </a:lnTo>
                <a:lnTo>
                  <a:pt x="39624" y="28955"/>
                </a:lnTo>
                <a:lnTo>
                  <a:pt x="39624" y="34289"/>
                </a:lnTo>
                <a:lnTo>
                  <a:pt x="44196" y="34289"/>
                </a:lnTo>
                <a:close/>
              </a:path>
              <a:path w="330835" h="245110">
                <a:moveTo>
                  <a:pt x="53313" y="16107"/>
                </a:moveTo>
                <a:lnTo>
                  <a:pt x="48441" y="9905"/>
                </a:lnTo>
                <a:lnTo>
                  <a:pt x="44981" y="9905"/>
                </a:lnTo>
                <a:lnTo>
                  <a:pt x="40695" y="25145"/>
                </a:lnTo>
                <a:lnTo>
                  <a:pt x="44196" y="25145"/>
                </a:lnTo>
                <a:lnTo>
                  <a:pt x="44196" y="34289"/>
                </a:lnTo>
                <a:lnTo>
                  <a:pt x="46482" y="34289"/>
                </a:lnTo>
                <a:lnTo>
                  <a:pt x="48768" y="32765"/>
                </a:lnTo>
                <a:lnTo>
                  <a:pt x="49530" y="31241"/>
                </a:lnTo>
                <a:lnTo>
                  <a:pt x="53313" y="16107"/>
                </a:lnTo>
                <a:close/>
              </a:path>
              <a:path w="330835" h="245110">
                <a:moveTo>
                  <a:pt x="60269" y="9905"/>
                </a:moveTo>
                <a:lnTo>
                  <a:pt x="54864" y="3047"/>
                </a:lnTo>
                <a:lnTo>
                  <a:pt x="53313" y="1510"/>
                </a:lnTo>
                <a:lnTo>
                  <a:pt x="51816" y="761"/>
                </a:lnTo>
                <a:lnTo>
                  <a:pt x="50292" y="761"/>
                </a:lnTo>
                <a:lnTo>
                  <a:pt x="48006" y="1523"/>
                </a:lnTo>
                <a:lnTo>
                  <a:pt x="46482" y="3047"/>
                </a:lnTo>
                <a:lnTo>
                  <a:pt x="46482" y="4571"/>
                </a:lnTo>
                <a:lnTo>
                  <a:pt x="44981" y="9905"/>
                </a:lnTo>
                <a:lnTo>
                  <a:pt x="47244" y="9905"/>
                </a:lnTo>
                <a:lnTo>
                  <a:pt x="47244" y="8381"/>
                </a:lnTo>
                <a:lnTo>
                  <a:pt x="55626" y="6857"/>
                </a:lnTo>
                <a:lnTo>
                  <a:pt x="55626" y="9905"/>
                </a:lnTo>
                <a:lnTo>
                  <a:pt x="60269" y="9905"/>
                </a:lnTo>
                <a:close/>
              </a:path>
              <a:path w="330835" h="245110">
                <a:moveTo>
                  <a:pt x="55626" y="6857"/>
                </a:moveTo>
                <a:lnTo>
                  <a:pt x="47244" y="8381"/>
                </a:lnTo>
                <a:lnTo>
                  <a:pt x="48441" y="9905"/>
                </a:lnTo>
                <a:lnTo>
                  <a:pt x="54864" y="9905"/>
                </a:lnTo>
                <a:lnTo>
                  <a:pt x="55626" y="6857"/>
                </a:lnTo>
                <a:close/>
              </a:path>
              <a:path w="330835" h="245110">
                <a:moveTo>
                  <a:pt x="48441" y="9905"/>
                </a:moveTo>
                <a:lnTo>
                  <a:pt x="47244" y="8381"/>
                </a:lnTo>
                <a:lnTo>
                  <a:pt x="47244" y="9905"/>
                </a:lnTo>
                <a:lnTo>
                  <a:pt x="48441" y="9905"/>
                </a:lnTo>
                <a:close/>
              </a:path>
              <a:path w="330835" h="245110">
                <a:moveTo>
                  <a:pt x="54864" y="9905"/>
                </a:moveTo>
                <a:lnTo>
                  <a:pt x="48441" y="9905"/>
                </a:lnTo>
                <a:lnTo>
                  <a:pt x="53313" y="16107"/>
                </a:lnTo>
                <a:lnTo>
                  <a:pt x="54864" y="9905"/>
                </a:lnTo>
                <a:close/>
              </a:path>
              <a:path w="330835" h="245110">
                <a:moveTo>
                  <a:pt x="238013" y="235390"/>
                </a:moveTo>
                <a:lnTo>
                  <a:pt x="60269" y="9905"/>
                </a:lnTo>
                <a:lnTo>
                  <a:pt x="54864" y="9905"/>
                </a:lnTo>
                <a:lnTo>
                  <a:pt x="53313" y="16107"/>
                </a:lnTo>
                <a:lnTo>
                  <a:pt x="231648" y="243077"/>
                </a:lnTo>
                <a:lnTo>
                  <a:pt x="232410" y="243839"/>
                </a:lnTo>
                <a:lnTo>
                  <a:pt x="233934" y="244601"/>
                </a:lnTo>
                <a:lnTo>
                  <a:pt x="234696" y="244601"/>
                </a:lnTo>
                <a:lnTo>
                  <a:pt x="234696" y="235457"/>
                </a:lnTo>
                <a:lnTo>
                  <a:pt x="238013" y="235390"/>
                </a:lnTo>
                <a:close/>
              </a:path>
              <a:path w="330835" h="245110">
                <a:moveTo>
                  <a:pt x="55626" y="9905"/>
                </a:moveTo>
                <a:lnTo>
                  <a:pt x="55626" y="6857"/>
                </a:lnTo>
                <a:lnTo>
                  <a:pt x="54864" y="9905"/>
                </a:lnTo>
                <a:lnTo>
                  <a:pt x="55626" y="9905"/>
                </a:lnTo>
                <a:close/>
              </a:path>
              <a:path w="330835" h="245110">
                <a:moveTo>
                  <a:pt x="96774" y="9905"/>
                </a:moveTo>
                <a:lnTo>
                  <a:pt x="92964" y="7619"/>
                </a:lnTo>
                <a:lnTo>
                  <a:pt x="94777" y="9905"/>
                </a:lnTo>
                <a:lnTo>
                  <a:pt x="96774" y="9905"/>
                </a:lnTo>
                <a:close/>
              </a:path>
              <a:path w="330835" h="245110">
                <a:moveTo>
                  <a:pt x="94777" y="9905"/>
                </a:moveTo>
                <a:lnTo>
                  <a:pt x="92964" y="7619"/>
                </a:lnTo>
                <a:lnTo>
                  <a:pt x="92964" y="9905"/>
                </a:lnTo>
                <a:lnTo>
                  <a:pt x="94777" y="9905"/>
                </a:lnTo>
                <a:close/>
              </a:path>
              <a:path w="330835" h="245110">
                <a:moveTo>
                  <a:pt x="96774" y="12423"/>
                </a:moveTo>
                <a:lnTo>
                  <a:pt x="96774" y="9905"/>
                </a:lnTo>
                <a:lnTo>
                  <a:pt x="94777" y="9905"/>
                </a:lnTo>
                <a:lnTo>
                  <a:pt x="96774" y="12423"/>
                </a:lnTo>
                <a:close/>
              </a:path>
              <a:path w="330835" h="245110">
                <a:moveTo>
                  <a:pt x="239268" y="236981"/>
                </a:moveTo>
                <a:lnTo>
                  <a:pt x="238013" y="235390"/>
                </a:lnTo>
                <a:lnTo>
                  <a:pt x="234696" y="235457"/>
                </a:lnTo>
                <a:lnTo>
                  <a:pt x="239268" y="236981"/>
                </a:lnTo>
                <a:close/>
              </a:path>
              <a:path w="330835" h="245110">
                <a:moveTo>
                  <a:pt x="239268" y="244563"/>
                </a:moveTo>
                <a:lnTo>
                  <a:pt x="239268" y="236981"/>
                </a:lnTo>
                <a:lnTo>
                  <a:pt x="234696" y="235457"/>
                </a:lnTo>
                <a:lnTo>
                  <a:pt x="234696" y="244601"/>
                </a:lnTo>
                <a:lnTo>
                  <a:pt x="239268" y="244563"/>
                </a:lnTo>
                <a:close/>
              </a:path>
              <a:path w="330835" h="245110">
                <a:moveTo>
                  <a:pt x="310134" y="243839"/>
                </a:moveTo>
                <a:lnTo>
                  <a:pt x="310134" y="233933"/>
                </a:lnTo>
                <a:lnTo>
                  <a:pt x="306324" y="236219"/>
                </a:lnTo>
                <a:lnTo>
                  <a:pt x="306324" y="234010"/>
                </a:lnTo>
                <a:lnTo>
                  <a:pt x="238013" y="235390"/>
                </a:lnTo>
                <a:lnTo>
                  <a:pt x="239268" y="236981"/>
                </a:lnTo>
                <a:lnTo>
                  <a:pt x="239268" y="244563"/>
                </a:lnTo>
                <a:lnTo>
                  <a:pt x="306324" y="243878"/>
                </a:lnTo>
                <a:lnTo>
                  <a:pt x="306324" y="236219"/>
                </a:lnTo>
                <a:lnTo>
                  <a:pt x="307565" y="233985"/>
                </a:lnTo>
                <a:lnTo>
                  <a:pt x="307565" y="243866"/>
                </a:lnTo>
                <a:lnTo>
                  <a:pt x="310134" y="243839"/>
                </a:lnTo>
                <a:close/>
              </a:path>
              <a:path w="330835" h="245110">
                <a:moveTo>
                  <a:pt x="278892" y="227075"/>
                </a:moveTo>
                <a:lnTo>
                  <a:pt x="274385" y="221376"/>
                </a:lnTo>
                <a:lnTo>
                  <a:pt x="270510" y="227075"/>
                </a:lnTo>
                <a:lnTo>
                  <a:pt x="278892" y="227075"/>
                </a:lnTo>
                <a:close/>
              </a:path>
              <a:path w="330835" h="245110">
                <a:moveTo>
                  <a:pt x="278892" y="232409"/>
                </a:moveTo>
                <a:lnTo>
                  <a:pt x="278892" y="227075"/>
                </a:lnTo>
                <a:lnTo>
                  <a:pt x="270510" y="227075"/>
                </a:lnTo>
                <a:lnTo>
                  <a:pt x="270510" y="231449"/>
                </a:lnTo>
                <a:lnTo>
                  <a:pt x="271272" y="232409"/>
                </a:lnTo>
                <a:lnTo>
                  <a:pt x="272034" y="233933"/>
                </a:lnTo>
                <a:lnTo>
                  <a:pt x="273513" y="234673"/>
                </a:lnTo>
                <a:lnTo>
                  <a:pt x="276782" y="234607"/>
                </a:lnTo>
                <a:lnTo>
                  <a:pt x="278130" y="233933"/>
                </a:lnTo>
                <a:lnTo>
                  <a:pt x="278892" y="232409"/>
                </a:lnTo>
                <a:close/>
              </a:path>
              <a:path w="330835" h="245110">
                <a:moveTo>
                  <a:pt x="330708" y="211835"/>
                </a:moveTo>
                <a:lnTo>
                  <a:pt x="330708" y="210311"/>
                </a:lnTo>
                <a:lnTo>
                  <a:pt x="329184" y="207263"/>
                </a:lnTo>
                <a:lnTo>
                  <a:pt x="327660" y="206501"/>
                </a:lnTo>
                <a:lnTo>
                  <a:pt x="285750" y="206501"/>
                </a:lnTo>
                <a:lnTo>
                  <a:pt x="284226" y="207263"/>
                </a:lnTo>
                <a:lnTo>
                  <a:pt x="283464" y="208025"/>
                </a:lnTo>
                <a:lnTo>
                  <a:pt x="274385" y="221376"/>
                </a:lnTo>
                <a:lnTo>
                  <a:pt x="278892" y="227075"/>
                </a:lnTo>
                <a:lnTo>
                  <a:pt x="278892" y="232409"/>
                </a:lnTo>
                <a:lnTo>
                  <a:pt x="287274" y="219313"/>
                </a:lnTo>
                <a:lnTo>
                  <a:pt x="287274" y="215645"/>
                </a:lnTo>
                <a:lnTo>
                  <a:pt x="291084" y="213359"/>
                </a:lnTo>
                <a:lnTo>
                  <a:pt x="291084" y="215645"/>
                </a:lnTo>
                <a:lnTo>
                  <a:pt x="317754" y="215645"/>
                </a:lnTo>
                <a:lnTo>
                  <a:pt x="321564" y="208787"/>
                </a:lnTo>
                <a:lnTo>
                  <a:pt x="325374" y="215645"/>
                </a:lnTo>
                <a:lnTo>
                  <a:pt x="325374" y="221589"/>
                </a:lnTo>
                <a:lnTo>
                  <a:pt x="329946" y="213359"/>
                </a:lnTo>
                <a:lnTo>
                  <a:pt x="330708" y="211835"/>
                </a:lnTo>
                <a:close/>
              </a:path>
              <a:path w="330835" h="245110">
                <a:moveTo>
                  <a:pt x="291084" y="213359"/>
                </a:moveTo>
                <a:lnTo>
                  <a:pt x="287274" y="215645"/>
                </a:lnTo>
                <a:lnTo>
                  <a:pt x="289620" y="215645"/>
                </a:lnTo>
                <a:lnTo>
                  <a:pt x="291084" y="213359"/>
                </a:lnTo>
                <a:close/>
              </a:path>
              <a:path w="330835" h="245110">
                <a:moveTo>
                  <a:pt x="289620" y="215645"/>
                </a:moveTo>
                <a:lnTo>
                  <a:pt x="287274" y="215645"/>
                </a:lnTo>
                <a:lnTo>
                  <a:pt x="287274" y="219313"/>
                </a:lnTo>
                <a:lnTo>
                  <a:pt x="289620" y="215645"/>
                </a:lnTo>
                <a:close/>
              </a:path>
              <a:path w="330835" h="245110">
                <a:moveTo>
                  <a:pt x="291084" y="215645"/>
                </a:moveTo>
                <a:lnTo>
                  <a:pt x="291084" y="213359"/>
                </a:lnTo>
                <a:lnTo>
                  <a:pt x="289620" y="215645"/>
                </a:lnTo>
                <a:lnTo>
                  <a:pt x="291084" y="215645"/>
                </a:lnTo>
                <a:close/>
              </a:path>
              <a:path w="330835" h="245110">
                <a:moveTo>
                  <a:pt x="310134" y="233933"/>
                </a:moveTo>
                <a:lnTo>
                  <a:pt x="307565" y="233985"/>
                </a:lnTo>
                <a:lnTo>
                  <a:pt x="306324" y="236219"/>
                </a:lnTo>
                <a:lnTo>
                  <a:pt x="310134" y="233933"/>
                </a:lnTo>
                <a:close/>
              </a:path>
              <a:path w="330835" h="245110">
                <a:moveTo>
                  <a:pt x="325374" y="221589"/>
                </a:moveTo>
                <a:lnTo>
                  <a:pt x="325374" y="215645"/>
                </a:lnTo>
                <a:lnTo>
                  <a:pt x="317754" y="215645"/>
                </a:lnTo>
                <a:lnTo>
                  <a:pt x="307565" y="233985"/>
                </a:lnTo>
                <a:lnTo>
                  <a:pt x="310134" y="233933"/>
                </a:lnTo>
                <a:lnTo>
                  <a:pt x="310134" y="243839"/>
                </a:lnTo>
                <a:lnTo>
                  <a:pt x="312420" y="243839"/>
                </a:lnTo>
                <a:lnTo>
                  <a:pt x="313944" y="242315"/>
                </a:lnTo>
                <a:lnTo>
                  <a:pt x="314706" y="240791"/>
                </a:lnTo>
                <a:lnTo>
                  <a:pt x="325374" y="221589"/>
                </a:lnTo>
                <a:close/>
              </a:path>
              <a:path w="330835" h="245110">
                <a:moveTo>
                  <a:pt x="325374" y="215645"/>
                </a:moveTo>
                <a:lnTo>
                  <a:pt x="321564" y="208787"/>
                </a:lnTo>
                <a:lnTo>
                  <a:pt x="317754" y="215645"/>
                </a:lnTo>
                <a:lnTo>
                  <a:pt x="325374" y="2156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2" name="object 56"/>
          <p:cNvSpPr/>
          <p:nvPr/>
        </p:nvSpPr>
        <p:spPr>
          <a:xfrm>
            <a:off x="6220583" y="3389950"/>
            <a:ext cx="272300" cy="78441"/>
          </a:xfrm>
          <a:prstGeom prst="rect">
            <a:avLst/>
          </a:prstGeom>
          <a:blipFill>
            <a:blip r:embed="rId4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3" name="object 57"/>
          <p:cNvSpPr/>
          <p:nvPr/>
        </p:nvSpPr>
        <p:spPr>
          <a:xfrm>
            <a:off x="6217059" y="3387128"/>
            <a:ext cx="278936" cy="83521"/>
          </a:xfrm>
          <a:custGeom>
            <a:avLst/>
            <a:gdLst/>
            <a:ahLst/>
            <a:cxnLst/>
            <a:rect l="l" t="t" r="r" b="b"/>
            <a:pathLst>
              <a:path w="422275" h="187960">
                <a:moveTo>
                  <a:pt x="422148" y="182880"/>
                </a:moveTo>
                <a:lnTo>
                  <a:pt x="422148" y="180594"/>
                </a:lnTo>
                <a:lnTo>
                  <a:pt x="420624" y="179832"/>
                </a:lnTo>
                <a:lnTo>
                  <a:pt x="275844" y="2286"/>
                </a:lnTo>
                <a:lnTo>
                  <a:pt x="275082" y="762"/>
                </a:lnTo>
                <a:lnTo>
                  <a:pt x="273558" y="0"/>
                </a:lnTo>
                <a:lnTo>
                  <a:pt x="3048" y="762"/>
                </a:lnTo>
                <a:lnTo>
                  <a:pt x="1524" y="1524"/>
                </a:lnTo>
                <a:lnTo>
                  <a:pt x="0" y="4572"/>
                </a:lnTo>
                <a:lnTo>
                  <a:pt x="0" y="6858"/>
                </a:lnTo>
                <a:lnTo>
                  <a:pt x="1524" y="8382"/>
                </a:lnTo>
                <a:lnTo>
                  <a:pt x="5334" y="13238"/>
                </a:lnTo>
                <a:lnTo>
                  <a:pt x="5334" y="9906"/>
                </a:lnTo>
                <a:lnTo>
                  <a:pt x="9144" y="2286"/>
                </a:lnTo>
                <a:lnTo>
                  <a:pt x="15096" y="9906"/>
                </a:lnTo>
                <a:lnTo>
                  <a:pt x="268224" y="9906"/>
                </a:lnTo>
                <a:lnTo>
                  <a:pt x="268224" y="7620"/>
                </a:lnTo>
                <a:lnTo>
                  <a:pt x="272034" y="9906"/>
                </a:lnTo>
                <a:lnTo>
                  <a:pt x="272034" y="12267"/>
                </a:lnTo>
                <a:lnTo>
                  <a:pt x="407519" y="177546"/>
                </a:lnTo>
                <a:lnTo>
                  <a:pt x="417576" y="177546"/>
                </a:lnTo>
                <a:lnTo>
                  <a:pt x="417576" y="187452"/>
                </a:lnTo>
                <a:lnTo>
                  <a:pt x="419100" y="187452"/>
                </a:lnTo>
                <a:lnTo>
                  <a:pt x="420624" y="185928"/>
                </a:lnTo>
                <a:lnTo>
                  <a:pt x="422148" y="182880"/>
                </a:lnTo>
                <a:close/>
              </a:path>
              <a:path w="422275" h="187960">
                <a:moveTo>
                  <a:pt x="15096" y="9906"/>
                </a:moveTo>
                <a:lnTo>
                  <a:pt x="9144" y="2286"/>
                </a:lnTo>
                <a:lnTo>
                  <a:pt x="5334" y="9906"/>
                </a:lnTo>
                <a:lnTo>
                  <a:pt x="15096" y="9906"/>
                </a:lnTo>
                <a:close/>
              </a:path>
              <a:path w="422275" h="187960">
                <a:moveTo>
                  <a:pt x="146042" y="177546"/>
                </a:moveTo>
                <a:lnTo>
                  <a:pt x="15096" y="9906"/>
                </a:lnTo>
                <a:lnTo>
                  <a:pt x="5334" y="9906"/>
                </a:lnTo>
                <a:lnTo>
                  <a:pt x="5334" y="13238"/>
                </a:lnTo>
                <a:lnTo>
                  <a:pt x="140208" y="185166"/>
                </a:lnTo>
                <a:lnTo>
                  <a:pt x="140970" y="186690"/>
                </a:lnTo>
                <a:lnTo>
                  <a:pt x="142494" y="187452"/>
                </a:lnTo>
                <a:lnTo>
                  <a:pt x="144018" y="187452"/>
                </a:lnTo>
                <a:lnTo>
                  <a:pt x="144018" y="177546"/>
                </a:lnTo>
                <a:lnTo>
                  <a:pt x="146042" y="177546"/>
                </a:lnTo>
                <a:close/>
              </a:path>
              <a:path w="422275" h="187960">
                <a:moveTo>
                  <a:pt x="147828" y="179832"/>
                </a:moveTo>
                <a:lnTo>
                  <a:pt x="146042" y="177546"/>
                </a:lnTo>
                <a:lnTo>
                  <a:pt x="144018" y="177546"/>
                </a:lnTo>
                <a:lnTo>
                  <a:pt x="147828" y="179832"/>
                </a:lnTo>
                <a:close/>
              </a:path>
              <a:path w="422275" h="187960">
                <a:moveTo>
                  <a:pt x="147828" y="187452"/>
                </a:moveTo>
                <a:lnTo>
                  <a:pt x="147828" y="179832"/>
                </a:lnTo>
                <a:lnTo>
                  <a:pt x="144018" y="177546"/>
                </a:lnTo>
                <a:lnTo>
                  <a:pt x="144018" y="187452"/>
                </a:lnTo>
                <a:lnTo>
                  <a:pt x="147828" y="187452"/>
                </a:lnTo>
                <a:close/>
              </a:path>
              <a:path w="422275" h="187960">
                <a:moveTo>
                  <a:pt x="417576" y="187452"/>
                </a:moveTo>
                <a:lnTo>
                  <a:pt x="417576" y="177546"/>
                </a:lnTo>
                <a:lnTo>
                  <a:pt x="413766" y="185166"/>
                </a:lnTo>
                <a:lnTo>
                  <a:pt x="407519" y="177546"/>
                </a:lnTo>
                <a:lnTo>
                  <a:pt x="146042" y="177546"/>
                </a:lnTo>
                <a:lnTo>
                  <a:pt x="147828" y="179832"/>
                </a:lnTo>
                <a:lnTo>
                  <a:pt x="147828" y="187452"/>
                </a:lnTo>
                <a:lnTo>
                  <a:pt x="417576" y="187452"/>
                </a:lnTo>
                <a:close/>
              </a:path>
              <a:path w="422275" h="187960">
                <a:moveTo>
                  <a:pt x="272034" y="9906"/>
                </a:moveTo>
                <a:lnTo>
                  <a:pt x="268224" y="7620"/>
                </a:lnTo>
                <a:lnTo>
                  <a:pt x="270097" y="9906"/>
                </a:lnTo>
                <a:lnTo>
                  <a:pt x="272034" y="9906"/>
                </a:lnTo>
                <a:close/>
              </a:path>
              <a:path w="422275" h="187960">
                <a:moveTo>
                  <a:pt x="270097" y="9906"/>
                </a:moveTo>
                <a:lnTo>
                  <a:pt x="268224" y="7620"/>
                </a:lnTo>
                <a:lnTo>
                  <a:pt x="268224" y="9906"/>
                </a:lnTo>
                <a:lnTo>
                  <a:pt x="270097" y="9906"/>
                </a:lnTo>
                <a:close/>
              </a:path>
              <a:path w="422275" h="187960">
                <a:moveTo>
                  <a:pt x="272034" y="12267"/>
                </a:moveTo>
                <a:lnTo>
                  <a:pt x="272034" y="9906"/>
                </a:lnTo>
                <a:lnTo>
                  <a:pt x="270097" y="9906"/>
                </a:lnTo>
                <a:lnTo>
                  <a:pt x="272034" y="12267"/>
                </a:lnTo>
                <a:close/>
              </a:path>
              <a:path w="422275" h="187960">
                <a:moveTo>
                  <a:pt x="417576" y="177546"/>
                </a:moveTo>
                <a:lnTo>
                  <a:pt x="407519" y="177546"/>
                </a:lnTo>
                <a:lnTo>
                  <a:pt x="413766" y="185166"/>
                </a:lnTo>
                <a:lnTo>
                  <a:pt x="417576" y="1775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4" name="object 58"/>
          <p:cNvSpPr/>
          <p:nvPr/>
        </p:nvSpPr>
        <p:spPr>
          <a:xfrm>
            <a:off x="6567881" y="3376745"/>
            <a:ext cx="210909" cy="103836"/>
          </a:xfrm>
          <a:prstGeom prst="rect">
            <a:avLst/>
          </a:prstGeom>
          <a:blipFill>
            <a:blip r:embed="rId4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5" name="object 59"/>
          <p:cNvSpPr/>
          <p:nvPr/>
        </p:nvSpPr>
        <p:spPr>
          <a:xfrm>
            <a:off x="6563855" y="3373924"/>
            <a:ext cx="218535" cy="109197"/>
          </a:xfrm>
          <a:custGeom>
            <a:avLst/>
            <a:gdLst/>
            <a:ahLst/>
            <a:cxnLst/>
            <a:rect l="l" t="t" r="r" b="b"/>
            <a:pathLst>
              <a:path w="330834" h="245745">
                <a:moveTo>
                  <a:pt x="274112" y="221989"/>
                </a:moveTo>
                <a:lnTo>
                  <a:pt x="100584" y="2285"/>
                </a:lnTo>
                <a:lnTo>
                  <a:pt x="99822" y="761"/>
                </a:lnTo>
                <a:lnTo>
                  <a:pt x="98298" y="0"/>
                </a:lnTo>
                <a:lnTo>
                  <a:pt x="18288" y="720"/>
                </a:lnTo>
                <a:lnTo>
                  <a:pt x="11430" y="761"/>
                </a:lnTo>
                <a:lnTo>
                  <a:pt x="9906" y="2285"/>
                </a:lnTo>
                <a:lnTo>
                  <a:pt x="9144" y="3809"/>
                </a:lnTo>
                <a:lnTo>
                  <a:pt x="762" y="28193"/>
                </a:lnTo>
                <a:lnTo>
                  <a:pt x="0" y="29717"/>
                </a:lnTo>
                <a:lnTo>
                  <a:pt x="2286" y="34289"/>
                </a:lnTo>
                <a:lnTo>
                  <a:pt x="3810" y="35051"/>
                </a:lnTo>
                <a:lnTo>
                  <a:pt x="5334" y="35051"/>
                </a:lnTo>
                <a:lnTo>
                  <a:pt x="5334" y="25145"/>
                </a:lnTo>
                <a:lnTo>
                  <a:pt x="12001" y="25145"/>
                </a:lnTo>
                <a:lnTo>
                  <a:pt x="13716" y="20158"/>
                </a:lnTo>
                <a:lnTo>
                  <a:pt x="13716" y="10667"/>
                </a:lnTo>
                <a:lnTo>
                  <a:pt x="18288" y="6857"/>
                </a:lnTo>
                <a:lnTo>
                  <a:pt x="18288" y="10626"/>
                </a:lnTo>
                <a:lnTo>
                  <a:pt x="44847" y="10382"/>
                </a:lnTo>
                <a:lnTo>
                  <a:pt x="46482" y="4571"/>
                </a:lnTo>
                <a:lnTo>
                  <a:pt x="46482" y="3047"/>
                </a:lnTo>
                <a:lnTo>
                  <a:pt x="48006" y="1523"/>
                </a:lnTo>
                <a:lnTo>
                  <a:pt x="49530" y="1523"/>
                </a:lnTo>
                <a:lnTo>
                  <a:pt x="51816" y="761"/>
                </a:lnTo>
                <a:lnTo>
                  <a:pt x="53340" y="1523"/>
                </a:lnTo>
                <a:lnTo>
                  <a:pt x="54864" y="3047"/>
                </a:lnTo>
                <a:lnTo>
                  <a:pt x="60508" y="10238"/>
                </a:lnTo>
                <a:lnTo>
                  <a:pt x="92964" y="9940"/>
                </a:lnTo>
                <a:lnTo>
                  <a:pt x="92964" y="7619"/>
                </a:lnTo>
                <a:lnTo>
                  <a:pt x="96774" y="9905"/>
                </a:lnTo>
                <a:lnTo>
                  <a:pt x="96774" y="12439"/>
                </a:lnTo>
                <a:lnTo>
                  <a:pt x="270510" y="232208"/>
                </a:lnTo>
                <a:lnTo>
                  <a:pt x="270510" y="227075"/>
                </a:lnTo>
                <a:lnTo>
                  <a:pt x="274112" y="221989"/>
                </a:lnTo>
                <a:close/>
              </a:path>
              <a:path w="330834" h="245745">
                <a:moveTo>
                  <a:pt x="12001" y="25145"/>
                </a:moveTo>
                <a:lnTo>
                  <a:pt x="5334" y="25145"/>
                </a:lnTo>
                <a:lnTo>
                  <a:pt x="9906" y="31241"/>
                </a:lnTo>
                <a:lnTo>
                  <a:pt x="12001" y="25145"/>
                </a:lnTo>
                <a:close/>
              </a:path>
              <a:path w="330834" h="245745">
                <a:moveTo>
                  <a:pt x="40695" y="25145"/>
                </a:moveTo>
                <a:lnTo>
                  <a:pt x="12001" y="25145"/>
                </a:lnTo>
                <a:lnTo>
                  <a:pt x="9906" y="31241"/>
                </a:lnTo>
                <a:lnTo>
                  <a:pt x="5334" y="25145"/>
                </a:lnTo>
                <a:lnTo>
                  <a:pt x="5334" y="35051"/>
                </a:lnTo>
                <a:lnTo>
                  <a:pt x="39624" y="35051"/>
                </a:lnTo>
                <a:lnTo>
                  <a:pt x="39624" y="28955"/>
                </a:lnTo>
                <a:lnTo>
                  <a:pt x="40695" y="25145"/>
                </a:lnTo>
                <a:close/>
              </a:path>
              <a:path w="330834" h="245745">
                <a:moveTo>
                  <a:pt x="18288" y="6857"/>
                </a:moveTo>
                <a:lnTo>
                  <a:pt x="13716" y="10667"/>
                </a:lnTo>
                <a:lnTo>
                  <a:pt x="16988" y="10637"/>
                </a:lnTo>
                <a:lnTo>
                  <a:pt x="18288" y="6857"/>
                </a:lnTo>
                <a:close/>
              </a:path>
              <a:path w="330834" h="245745">
                <a:moveTo>
                  <a:pt x="16988" y="10637"/>
                </a:moveTo>
                <a:lnTo>
                  <a:pt x="13716" y="10667"/>
                </a:lnTo>
                <a:lnTo>
                  <a:pt x="13716" y="20158"/>
                </a:lnTo>
                <a:lnTo>
                  <a:pt x="16988" y="10637"/>
                </a:lnTo>
                <a:close/>
              </a:path>
              <a:path w="330834" h="245745">
                <a:moveTo>
                  <a:pt x="18288" y="10626"/>
                </a:moveTo>
                <a:lnTo>
                  <a:pt x="18288" y="6857"/>
                </a:lnTo>
                <a:lnTo>
                  <a:pt x="16988" y="10637"/>
                </a:lnTo>
                <a:lnTo>
                  <a:pt x="18288" y="10626"/>
                </a:lnTo>
                <a:close/>
              </a:path>
              <a:path w="330834" h="245745">
                <a:moveTo>
                  <a:pt x="44196" y="25145"/>
                </a:moveTo>
                <a:lnTo>
                  <a:pt x="40695" y="25145"/>
                </a:lnTo>
                <a:lnTo>
                  <a:pt x="39624" y="28955"/>
                </a:lnTo>
                <a:lnTo>
                  <a:pt x="44196" y="25145"/>
                </a:lnTo>
                <a:close/>
              </a:path>
              <a:path w="330834" h="245745">
                <a:moveTo>
                  <a:pt x="44196" y="35051"/>
                </a:moveTo>
                <a:lnTo>
                  <a:pt x="44196" y="25145"/>
                </a:lnTo>
                <a:lnTo>
                  <a:pt x="39624" y="28955"/>
                </a:lnTo>
                <a:lnTo>
                  <a:pt x="39624" y="35051"/>
                </a:lnTo>
                <a:lnTo>
                  <a:pt x="44196" y="35051"/>
                </a:lnTo>
                <a:close/>
              </a:path>
              <a:path w="330834" h="245745">
                <a:moveTo>
                  <a:pt x="53173" y="16666"/>
                </a:moveTo>
                <a:lnTo>
                  <a:pt x="48195" y="10351"/>
                </a:lnTo>
                <a:lnTo>
                  <a:pt x="44847" y="10382"/>
                </a:lnTo>
                <a:lnTo>
                  <a:pt x="40695" y="25145"/>
                </a:lnTo>
                <a:lnTo>
                  <a:pt x="44196" y="25145"/>
                </a:lnTo>
                <a:lnTo>
                  <a:pt x="44196" y="35051"/>
                </a:lnTo>
                <a:lnTo>
                  <a:pt x="46482" y="35051"/>
                </a:lnTo>
                <a:lnTo>
                  <a:pt x="48768" y="33527"/>
                </a:lnTo>
                <a:lnTo>
                  <a:pt x="49530" y="31241"/>
                </a:lnTo>
                <a:lnTo>
                  <a:pt x="53173" y="16666"/>
                </a:lnTo>
                <a:close/>
              </a:path>
              <a:path w="330834" h="245745">
                <a:moveTo>
                  <a:pt x="60508" y="10238"/>
                </a:moveTo>
                <a:lnTo>
                  <a:pt x="54864" y="3047"/>
                </a:lnTo>
                <a:lnTo>
                  <a:pt x="53340" y="1523"/>
                </a:lnTo>
                <a:lnTo>
                  <a:pt x="51816" y="761"/>
                </a:lnTo>
                <a:lnTo>
                  <a:pt x="49530" y="1523"/>
                </a:lnTo>
                <a:lnTo>
                  <a:pt x="48006" y="1523"/>
                </a:lnTo>
                <a:lnTo>
                  <a:pt x="46482" y="3047"/>
                </a:lnTo>
                <a:lnTo>
                  <a:pt x="46482" y="4571"/>
                </a:lnTo>
                <a:lnTo>
                  <a:pt x="44847" y="10382"/>
                </a:lnTo>
                <a:lnTo>
                  <a:pt x="47244" y="10360"/>
                </a:lnTo>
                <a:lnTo>
                  <a:pt x="47244" y="9143"/>
                </a:lnTo>
                <a:lnTo>
                  <a:pt x="55626" y="6857"/>
                </a:lnTo>
                <a:lnTo>
                  <a:pt x="55626" y="10283"/>
                </a:lnTo>
                <a:lnTo>
                  <a:pt x="60508" y="10238"/>
                </a:lnTo>
                <a:close/>
              </a:path>
              <a:path w="330834" h="245745">
                <a:moveTo>
                  <a:pt x="55626" y="6857"/>
                </a:moveTo>
                <a:lnTo>
                  <a:pt x="47244" y="9143"/>
                </a:lnTo>
                <a:lnTo>
                  <a:pt x="48195" y="10351"/>
                </a:lnTo>
                <a:lnTo>
                  <a:pt x="54767" y="10291"/>
                </a:lnTo>
                <a:lnTo>
                  <a:pt x="55626" y="6857"/>
                </a:lnTo>
                <a:close/>
              </a:path>
              <a:path w="330834" h="245745">
                <a:moveTo>
                  <a:pt x="48195" y="10351"/>
                </a:moveTo>
                <a:lnTo>
                  <a:pt x="47244" y="9143"/>
                </a:lnTo>
                <a:lnTo>
                  <a:pt x="47244" y="10360"/>
                </a:lnTo>
                <a:lnTo>
                  <a:pt x="48195" y="10351"/>
                </a:lnTo>
                <a:close/>
              </a:path>
              <a:path w="330834" h="245745">
                <a:moveTo>
                  <a:pt x="54767" y="10291"/>
                </a:moveTo>
                <a:lnTo>
                  <a:pt x="48195" y="10351"/>
                </a:lnTo>
                <a:lnTo>
                  <a:pt x="53173" y="16666"/>
                </a:lnTo>
                <a:lnTo>
                  <a:pt x="54767" y="10291"/>
                </a:lnTo>
                <a:close/>
              </a:path>
              <a:path w="330834" h="245745">
                <a:moveTo>
                  <a:pt x="237268" y="235406"/>
                </a:moveTo>
                <a:lnTo>
                  <a:pt x="60508" y="10238"/>
                </a:lnTo>
                <a:lnTo>
                  <a:pt x="54767" y="10291"/>
                </a:lnTo>
                <a:lnTo>
                  <a:pt x="53173" y="16666"/>
                </a:lnTo>
                <a:lnTo>
                  <a:pt x="231648" y="243077"/>
                </a:lnTo>
                <a:lnTo>
                  <a:pt x="232410" y="244601"/>
                </a:lnTo>
                <a:lnTo>
                  <a:pt x="233934" y="245363"/>
                </a:lnTo>
                <a:lnTo>
                  <a:pt x="234696" y="245363"/>
                </a:lnTo>
                <a:lnTo>
                  <a:pt x="234696" y="235457"/>
                </a:lnTo>
                <a:lnTo>
                  <a:pt x="237268" y="235406"/>
                </a:lnTo>
                <a:close/>
              </a:path>
              <a:path w="330834" h="245745">
                <a:moveTo>
                  <a:pt x="55626" y="10283"/>
                </a:moveTo>
                <a:lnTo>
                  <a:pt x="55626" y="6857"/>
                </a:lnTo>
                <a:lnTo>
                  <a:pt x="54767" y="10291"/>
                </a:lnTo>
                <a:lnTo>
                  <a:pt x="55626" y="10283"/>
                </a:lnTo>
                <a:close/>
              </a:path>
              <a:path w="330834" h="245745">
                <a:moveTo>
                  <a:pt x="96774" y="9905"/>
                </a:moveTo>
                <a:lnTo>
                  <a:pt x="92964" y="7619"/>
                </a:lnTo>
                <a:lnTo>
                  <a:pt x="94785" y="9924"/>
                </a:lnTo>
                <a:lnTo>
                  <a:pt x="96774" y="9905"/>
                </a:lnTo>
                <a:close/>
              </a:path>
              <a:path w="330834" h="245745">
                <a:moveTo>
                  <a:pt x="94785" y="9924"/>
                </a:moveTo>
                <a:lnTo>
                  <a:pt x="92964" y="7619"/>
                </a:lnTo>
                <a:lnTo>
                  <a:pt x="92964" y="9940"/>
                </a:lnTo>
                <a:lnTo>
                  <a:pt x="94785" y="9924"/>
                </a:lnTo>
                <a:close/>
              </a:path>
              <a:path w="330834" h="245745">
                <a:moveTo>
                  <a:pt x="96774" y="12439"/>
                </a:moveTo>
                <a:lnTo>
                  <a:pt x="96774" y="9905"/>
                </a:lnTo>
                <a:lnTo>
                  <a:pt x="94785" y="9924"/>
                </a:lnTo>
                <a:lnTo>
                  <a:pt x="96774" y="12439"/>
                </a:lnTo>
                <a:close/>
              </a:path>
              <a:path w="330834" h="245745">
                <a:moveTo>
                  <a:pt x="238506" y="236981"/>
                </a:moveTo>
                <a:lnTo>
                  <a:pt x="237268" y="235406"/>
                </a:lnTo>
                <a:lnTo>
                  <a:pt x="234696" y="235457"/>
                </a:lnTo>
                <a:lnTo>
                  <a:pt x="238506" y="236981"/>
                </a:lnTo>
                <a:close/>
              </a:path>
              <a:path w="330834" h="245745">
                <a:moveTo>
                  <a:pt x="238506" y="245301"/>
                </a:moveTo>
                <a:lnTo>
                  <a:pt x="238506" y="236981"/>
                </a:lnTo>
                <a:lnTo>
                  <a:pt x="234696" y="235457"/>
                </a:lnTo>
                <a:lnTo>
                  <a:pt x="234696" y="245363"/>
                </a:lnTo>
                <a:lnTo>
                  <a:pt x="238506" y="245301"/>
                </a:lnTo>
                <a:close/>
              </a:path>
              <a:path w="330834" h="245745">
                <a:moveTo>
                  <a:pt x="310134" y="243839"/>
                </a:moveTo>
                <a:lnTo>
                  <a:pt x="310134" y="233933"/>
                </a:lnTo>
                <a:lnTo>
                  <a:pt x="306324" y="236981"/>
                </a:lnTo>
                <a:lnTo>
                  <a:pt x="306324" y="234010"/>
                </a:lnTo>
                <a:lnTo>
                  <a:pt x="237268" y="235406"/>
                </a:lnTo>
                <a:lnTo>
                  <a:pt x="238506" y="236981"/>
                </a:lnTo>
                <a:lnTo>
                  <a:pt x="238506" y="245301"/>
                </a:lnTo>
                <a:lnTo>
                  <a:pt x="306324" y="243917"/>
                </a:lnTo>
                <a:lnTo>
                  <a:pt x="306324" y="236981"/>
                </a:lnTo>
                <a:lnTo>
                  <a:pt x="307947" y="233978"/>
                </a:lnTo>
                <a:lnTo>
                  <a:pt x="307947" y="243884"/>
                </a:lnTo>
                <a:lnTo>
                  <a:pt x="310134" y="243839"/>
                </a:lnTo>
                <a:close/>
              </a:path>
              <a:path w="330834" h="245745">
                <a:moveTo>
                  <a:pt x="278130" y="227075"/>
                </a:moveTo>
                <a:lnTo>
                  <a:pt x="274112" y="221989"/>
                </a:lnTo>
                <a:lnTo>
                  <a:pt x="270510" y="227075"/>
                </a:lnTo>
                <a:lnTo>
                  <a:pt x="278130" y="227075"/>
                </a:lnTo>
                <a:close/>
              </a:path>
              <a:path w="330834" h="245745">
                <a:moveTo>
                  <a:pt x="278130" y="233933"/>
                </a:moveTo>
                <a:lnTo>
                  <a:pt x="278130" y="227075"/>
                </a:lnTo>
                <a:lnTo>
                  <a:pt x="270510" y="227075"/>
                </a:lnTo>
                <a:lnTo>
                  <a:pt x="270510" y="232208"/>
                </a:lnTo>
                <a:lnTo>
                  <a:pt x="271272" y="233171"/>
                </a:lnTo>
                <a:lnTo>
                  <a:pt x="272034" y="233933"/>
                </a:lnTo>
                <a:lnTo>
                  <a:pt x="273513" y="234673"/>
                </a:lnTo>
                <a:lnTo>
                  <a:pt x="276782" y="234607"/>
                </a:lnTo>
                <a:lnTo>
                  <a:pt x="278130" y="233933"/>
                </a:lnTo>
                <a:close/>
              </a:path>
              <a:path w="330834" h="245745">
                <a:moveTo>
                  <a:pt x="330708" y="211835"/>
                </a:moveTo>
                <a:lnTo>
                  <a:pt x="330708" y="210311"/>
                </a:lnTo>
                <a:lnTo>
                  <a:pt x="329184" y="207263"/>
                </a:lnTo>
                <a:lnTo>
                  <a:pt x="327660" y="206501"/>
                </a:lnTo>
                <a:lnTo>
                  <a:pt x="285750" y="206501"/>
                </a:lnTo>
                <a:lnTo>
                  <a:pt x="284226" y="207263"/>
                </a:lnTo>
                <a:lnTo>
                  <a:pt x="283464" y="208787"/>
                </a:lnTo>
                <a:lnTo>
                  <a:pt x="274112" y="221989"/>
                </a:lnTo>
                <a:lnTo>
                  <a:pt x="278130" y="227075"/>
                </a:lnTo>
                <a:lnTo>
                  <a:pt x="278130" y="233933"/>
                </a:lnTo>
                <a:lnTo>
                  <a:pt x="278892" y="232409"/>
                </a:lnTo>
                <a:lnTo>
                  <a:pt x="287274" y="219836"/>
                </a:lnTo>
                <a:lnTo>
                  <a:pt x="287274" y="215645"/>
                </a:lnTo>
                <a:lnTo>
                  <a:pt x="291084" y="214121"/>
                </a:lnTo>
                <a:lnTo>
                  <a:pt x="291084" y="215645"/>
                </a:lnTo>
                <a:lnTo>
                  <a:pt x="317856" y="215645"/>
                </a:lnTo>
                <a:lnTo>
                  <a:pt x="321564" y="208787"/>
                </a:lnTo>
                <a:lnTo>
                  <a:pt x="325374" y="215645"/>
                </a:lnTo>
                <a:lnTo>
                  <a:pt x="325374" y="221818"/>
                </a:lnTo>
                <a:lnTo>
                  <a:pt x="329946" y="213359"/>
                </a:lnTo>
                <a:lnTo>
                  <a:pt x="330708" y="211835"/>
                </a:lnTo>
                <a:close/>
              </a:path>
              <a:path w="330834" h="245745">
                <a:moveTo>
                  <a:pt x="291084" y="214121"/>
                </a:moveTo>
                <a:lnTo>
                  <a:pt x="287274" y="215645"/>
                </a:lnTo>
                <a:lnTo>
                  <a:pt x="290068" y="215645"/>
                </a:lnTo>
                <a:lnTo>
                  <a:pt x="291084" y="214121"/>
                </a:lnTo>
                <a:close/>
              </a:path>
              <a:path w="330834" h="245745">
                <a:moveTo>
                  <a:pt x="290068" y="215645"/>
                </a:moveTo>
                <a:lnTo>
                  <a:pt x="287274" y="215645"/>
                </a:lnTo>
                <a:lnTo>
                  <a:pt x="287274" y="219836"/>
                </a:lnTo>
                <a:lnTo>
                  <a:pt x="290068" y="215645"/>
                </a:lnTo>
                <a:close/>
              </a:path>
              <a:path w="330834" h="245745">
                <a:moveTo>
                  <a:pt x="291084" y="215645"/>
                </a:moveTo>
                <a:lnTo>
                  <a:pt x="291084" y="214121"/>
                </a:lnTo>
                <a:lnTo>
                  <a:pt x="290068" y="215645"/>
                </a:lnTo>
                <a:lnTo>
                  <a:pt x="291084" y="215645"/>
                </a:lnTo>
                <a:close/>
              </a:path>
              <a:path w="330834" h="245745">
                <a:moveTo>
                  <a:pt x="310134" y="233933"/>
                </a:moveTo>
                <a:lnTo>
                  <a:pt x="307947" y="233978"/>
                </a:lnTo>
                <a:lnTo>
                  <a:pt x="306324" y="236981"/>
                </a:lnTo>
                <a:lnTo>
                  <a:pt x="310134" y="233933"/>
                </a:lnTo>
                <a:close/>
              </a:path>
              <a:path w="330834" h="245745">
                <a:moveTo>
                  <a:pt x="325374" y="221818"/>
                </a:moveTo>
                <a:lnTo>
                  <a:pt x="325374" y="215645"/>
                </a:lnTo>
                <a:lnTo>
                  <a:pt x="317856" y="215645"/>
                </a:lnTo>
                <a:lnTo>
                  <a:pt x="307947" y="233978"/>
                </a:lnTo>
                <a:lnTo>
                  <a:pt x="310134" y="233933"/>
                </a:lnTo>
                <a:lnTo>
                  <a:pt x="310134" y="243839"/>
                </a:lnTo>
                <a:lnTo>
                  <a:pt x="312420" y="243839"/>
                </a:lnTo>
                <a:lnTo>
                  <a:pt x="313944" y="243077"/>
                </a:lnTo>
                <a:lnTo>
                  <a:pt x="314706" y="241553"/>
                </a:lnTo>
                <a:lnTo>
                  <a:pt x="325374" y="221818"/>
                </a:lnTo>
                <a:close/>
              </a:path>
              <a:path w="330834" h="245745">
                <a:moveTo>
                  <a:pt x="325374" y="215645"/>
                </a:moveTo>
                <a:lnTo>
                  <a:pt x="321564" y="208787"/>
                </a:lnTo>
                <a:lnTo>
                  <a:pt x="317856" y="215645"/>
                </a:lnTo>
                <a:lnTo>
                  <a:pt x="325374" y="2156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6" name="object 60"/>
          <p:cNvSpPr/>
          <p:nvPr/>
        </p:nvSpPr>
        <p:spPr>
          <a:xfrm>
            <a:off x="6432490" y="3389272"/>
            <a:ext cx="272300" cy="78441"/>
          </a:xfrm>
          <a:prstGeom prst="rect">
            <a:avLst/>
          </a:prstGeom>
          <a:blipFill>
            <a:blip r:embed="rId4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7" name="object 61"/>
          <p:cNvSpPr/>
          <p:nvPr/>
        </p:nvSpPr>
        <p:spPr>
          <a:xfrm>
            <a:off x="6428967" y="3386789"/>
            <a:ext cx="278936" cy="82956"/>
          </a:xfrm>
          <a:custGeom>
            <a:avLst/>
            <a:gdLst/>
            <a:ahLst/>
            <a:cxnLst/>
            <a:rect l="l" t="t" r="r" b="b"/>
            <a:pathLst>
              <a:path w="422275" h="186689">
                <a:moveTo>
                  <a:pt x="422148" y="182118"/>
                </a:moveTo>
                <a:lnTo>
                  <a:pt x="422148" y="180594"/>
                </a:lnTo>
                <a:lnTo>
                  <a:pt x="420624" y="179070"/>
                </a:lnTo>
                <a:lnTo>
                  <a:pt x="275844" y="1524"/>
                </a:lnTo>
                <a:lnTo>
                  <a:pt x="275082" y="0"/>
                </a:lnTo>
                <a:lnTo>
                  <a:pt x="3048" y="0"/>
                </a:lnTo>
                <a:lnTo>
                  <a:pt x="1524" y="762"/>
                </a:lnTo>
                <a:lnTo>
                  <a:pt x="762" y="2286"/>
                </a:lnTo>
                <a:lnTo>
                  <a:pt x="0" y="4572"/>
                </a:lnTo>
                <a:lnTo>
                  <a:pt x="0" y="6096"/>
                </a:lnTo>
                <a:lnTo>
                  <a:pt x="1524" y="7620"/>
                </a:lnTo>
                <a:lnTo>
                  <a:pt x="5334" y="12497"/>
                </a:lnTo>
                <a:lnTo>
                  <a:pt x="5334" y="9144"/>
                </a:lnTo>
                <a:lnTo>
                  <a:pt x="9144" y="1524"/>
                </a:lnTo>
                <a:lnTo>
                  <a:pt x="15096" y="9144"/>
                </a:lnTo>
                <a:lnTo>
                  <a:pt x="268224" y="9144"/>
                </a:lnTo>
                <a:lnTo>
                  <a:pt x="268224" y="7620"/>
                </a:lnTo>
                <a:lnTo>
                  <a:pt x="272034" y="9144"/>
                </a:lnTo>
                <a:lnTo>
                  <a:pt x="272034" y="12267"/>
                </a:lnTo>
                <a:lnTo>
                  <a:pt x="407519" y="177546"/>
                </a:lnTo>
                <a:lnTo>
                  <a:pt x="417576" y="177546"/>
                </a:lnTo>
                <a:lnTo>
                  <a:pt x="417576" y="186690"/>
                </a:lnTo>
                <a:lnTo>
                  <a:pt x="419100" y="186690"/>
                </a:lnTo>
                <a:lnTo>
                  <a:pt x="420624" y="185928"/>
                </a:lnTo>
                <a:lnTo>
                  <a:pt x="421386" y="183642"/>
                </a:lnTo>
                <a:lnTo>
                  <a:pt x="422148" y="182118"/>
                </a:lnTo>
                <a:close/>
              </a:path>
              <a:path w="422275" h="186689">
                <a:moveTo>
                  <a:pt x="15096" y="9144"/>
                </a:moveTo>
                <a:lnTo>
                  <a:pt x="9144" y="1524"/>
                </a:lnTo>
                <a:lnTo>
                  <a:pt x="5334" y="9144"/>
                </a:lnTo>
                <a:lnTo>
                  <a:pt x="15096" y="9144"/>
                </a:lnTo>
                <a:close/>
              </a:path>
              <a:path w="422275" h="186689">
                <a:moveTo>
                  <a:pt x="146637" y="177546"/>
                </a:moveTo>
                <a:lnTo>
                  <a:pt x="15096" y="9144"/>
                </a:lnTo>
                <a:lnTo>
                  <a:pt x="5334" y="9144"/>
                </a:lnTo>
                <a:lnTo>
                  <a:pt x="5334" y="12497"/>
                </a:lnTo>
                <a:lnTo>
                  <a:pt x="140208" y="185166"/>
                </a:lnTo>
                <a:lnTo>
                  <a:pt x="140970" y="185928"/>
                </a:lnTo>
                <a:lnTo>
                  <a:pt x="142494" y="186690"/>
                </a:lnTo>
                <a:lnTo>
                  <a:pt x="144018" y="186690"/>
                </a:lnTo>
                <a:lnTo>
                  <a:pt x="144018" y="177546"/>
                </a:lnTo>
                <a:lnTo>
                  <a:pt x="146637" y="177546"/>
                </a:lnTo>
                <a:close/>
              </a:path>
              <a:path w="422275" h="186689">
                <a:moveTo>
                  <a:pt x="147828" y="179070"/>
                </a:moveTo>
                <a:lnTo>
                  <a:pt x="146637" y="177546"/>
                </a:lnTo>
                <a:lnTo>
                  <a:pt x="144018" y="177546"/>
                </a:lnTo>
                <a:lnTo>
                  <a:pt x="147828" y="179070"/>
                </a:lnTo>
                <a:close/>
              </a:path>
              <a:path w="422275" h="186689">
                <a:moveTo>
                  <a:pt x="147828" y="186690"/>
                </a:moveTo>
                <a:lnTo>
                  <a:pt x="147828" y="179070"/>
                </a:lnTo>
                <a:lnTo>
                  <a:pt x="144018" y="177546"/>
                </a:lnTo>
                <a:lnTo>
                  <a:pt x="144018" y="186690"/>
                </a:lnTo>
                <a:lnTo>
                  <a:pt x="147828" y="186690"/>
                </a:lnTo>
                <a:close/>
              </a:path>
              <a:path w="422275" h="186689">
                <a:moveTo>
                  <a:pt x="417576" y="186690"/>
                </a:moveTo>
                <a:lnTo>
                  <a:pt x="417576" y="177546"/>
                </a:lnTo>
                <a:lnTo>
                  <a:pt x="413766" y="185166"/>
                </a:lnTo>
                <a:lnTo>
                  <a:pt x="407519" y="177546"/>
                </a:lnTo>
                <a:lnTo>
                  <a:pt x="146637" y="177546"/>
                </a:lnTo>
                <a:lnTo>
                  <a:pt x="147828" y="179070"/>
                </a:lnTo>
                <a:lnTo>
                  <a:pt x="147828" y="186690"/>
                </a:lnTo>
                <a:lnTo>
                  <a:pt x="417576" y="186690"/>
                </a:lnTo>
                <a:close/>
              </a:path>
              <a:path w="422275" h="186689">
                <a:moveTo>
                  <a:pt x="272034" y="9144"/>
                </a:moveTo>
                <a:lnTo>
                  <a:pt x="268224" y="7620"/>
                </a:lnTo>
                <a:lnTo>
                  <a:pt x="269473" y="9144"/>
                </a:lnTo>
                <a:lnTo>
                  <a:pt x="272034" y="9144"/>
                </a:lnTo>
                <a:close/>
              </a:path>
              <a:path w="422275" h="186689">
                <a:moveTo>
                  <a:pt x="269473" y="9144"/>
                </a:moveTo>
                <a:lnTo>
                  <a:pt x="268224" y="7620"/>
                </a:lnTo>
                <a:lnTo>
                  <a:pt x="268224" y="9144"/>
                </a:lnTo>
                <a:lnTo>
                  <a:pt x="269473" y="9144"/>
                </a:lnTo>
                <a:close/>
              </a:path>
              <a:path w="422275" h="186689">
                <a:moveTo>
                  <a:pt x="272034" y="12267"/>
                </a:moveTo>
                <a:lnTo>
                  <a:pt x="272034" y="9144"/>
                </a:lnTo>
                <a:lnTo>
                  <a:pt x="269473" y="9144"/>
                </a:lnTo>
                <a:lnTo>
                  <a:pt x="272034" y="12267"/>
                </a:lnTo>
                <a:close/>
              </a:path>
              <a:path w="422275" h="186689">
                <a:moveTo>
                  <a:pt x="417576" y="177546"/>
                </a:moveTo>
                <a:lnTo>
                  <a:pt x="407519" y="177546"/>
                </a:lnTo>
                <a:lnTo>
                  <a:pt x="413766" y="185166"/>
                </a:lnTo>
                <a:lnTo>
                  <a:pt x="417576" y="1775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8" name="object 62"/>
          <p:cNvSpPr/>
          <p:nvPr/>
        </p:nvSpPr>
        <p:spPr>
          <a:xfrm>
            <a:off x="6777784" y="3376068"/>
            <a:ext cx="210901" cy="103836"/>
          </a:xfrm>
          <a:prstGeom prst="rect">
            <a:avLst/>
          </a:prstGeom>
          <a:blipFill>
            <a:blip r:embed="rId4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9" name="object 63"/>
          <p:cNvSpPr/>
          <p:nvPr/>
        </p:nvSpPr>
        <p:spPr>
          <a:xfrm>
            <a:off x="6773757" y="3373247"/>
            <a:ext cx="218535" cy="108914"/>
          </a:xfrm>
          <a:custGeom>
            <a:avLst/>
            <a:gdLst/>
            <a:ahLst/>
            <a:cxnLst/>
            <a:rect l="l" t="t" r="r" b="b"/>
            <a:pathLst>
              <a:path w="330834" h="245110">
                <a:moveTo>
                  <a:pt x="274119" y="221980"/>
                </a:moveTo>
                <a:lnTo>
                  <a:pt x="100583" y="1523"/>
                </a:lnTo>
                <a:lnTo>
                  <a:pt x="99821" y="761"/>
                </a:lnTo>
                <a:lnTo>
                  <a:pt x="98297" y="0"/>
                </a:lnTo>
                <a:lnTo>
                  <a:pt x="11429" y="761"/>
                </a:lnTo>
                <a:lnTo>
                  <a:pt x="9143" y="2285"/>
                </a:lnTo>
                <a:lnTo>
                  <a:pt x="9143" y="3809"/>
                </a:lnTo>
                <a:lnTo>
                  <a:pt x="761" y="28193"/>
                </a:lnTo>
                <a:lnTo>
                  <a:pt x="0" y="29717"/>
                </a:lnTo>
                <a:lnTo>
                  <a:pt x="1523" y="32765"/>
                </a:lnTo>
                <a:lnTo>
                  <a:pt x="2285" y="33527"/>
                </a:lnTo>
                <a:lnTo>
                  <a:pt x="3809" y="34289"/>
                </a:lnTo>
                <a:lnTo>
                  <a:pt x="5333" y="34289"/>
                </a:lnTo>
                <a:lnTo>
                  <a:pt x="5333" y="25145"/>
                </a:lnTo>
                <a:lnTo>
                  <a:pt x="11810" y="25145"/>
                </a:lnTo>
                <a:lnTo>
                  <a:pt x="13715" y="19049"/>
                </a:lnTo>
                <a:lnTo>
                  <a:pt x="13715" y="9905"/>
                </a:lnTo>
                <a:lnTo>
                  <a:pt x="17525" y="6857"/>
                </a:lnTo>
                <a:lnTo>
                  <a:pt x="17525" y="9905"/>
                </a:lnTo>
                <a:lnTo>
                  <a:pt x="44981" y="9905"/>
                </a:lnTo>
                <a:lnTo>
                  <a:pt x="46481" y="4571"/>
                </a:lnTo>
                <a:lnTo>
                  <a:pt x="46481" y="3047"/>
                </a:lnTo>
                <a:lnTo>
                  <a:pt x="48005" y="1523"/>
                </a:lnTo>
                <a:lnTo>
                  <a:pt x="49529" y="1523"/>
                </a:lnTo>
                <a:lnTo>
                  <a:pt x="51815" y="761"/>
                </a:lnTo>
                <a:lnTo>
                  <a:pt x="53339" y="1523"/>
                </a:lnTo>
                <a:lnTo>
                  <a:pt x="54101" y="3047"/>
                </a:lnTo>
                <a:lnTo>
                  <a:pt x="59507" y="9905"/>
                </a:lnTo>
                <a:lnTo>
                  <a:pt x="92963" y="9905"/>
                </a:lnTo>
                <a:lnTo>
                  <a:pt x="92963" y="7619"/>
                </a:lnTo>
                <a:lnTo>
                  <a:pt x="96773" y="9905"/>
                </a:lnTo>
                <a:lnTo>
                  <a:pt x="96773" y="12443"/>
                </a:lnTo>
                <a:lnTo>
                  <a:pt x="270509" y="232409"/>
                </a:lnTo>
                <a:lnTo>
                  <a:pt x="270509" y="227075"/>
                </a:lnTo>
                <a:lnTo>
                  <a:pt x="274119" y="221980"/>
                </a:lnTo>
                <a:close/>
              </a:path>
              <a:path w="330834" h="245110">
                <a:moveTo>
                  <a:pt x="11810" y="25145"/>
                </a:moveTo>
                <a:lnTo>
                  <a:pt x="5333" y="25145"/>
                </a:lnTo>
                <a:lnTo>
                  <a:pt x="9905" y="31241"/>
                </a:lnTo>
                <a:lnTo>
                  <a:pt x="11810" y="25145"/>
                </a:lnTo>
                <a:close/>
              </a:path>
              <a:path w="330834" h="245110">
                <a:moveTo>
                  <a:pt x="40695" y="25145"/>
                </a:moveTo>
                <a:lnTo>
                  <a:pt x="11810" y="25145"/>
                </a:lnTo>
                <a:lnTo>
                  <a:pt x="9905" y="31241"/>
                </a:lnTo>
                <a:lnTo>
                  <a:pt x="5333" y="25145"/>
                </a:lnTo>
                <a:lnTo>
                  <a:pt x="5333" y="34289"/>
                </a:lnTo>
                <a:lnTo>
                  <a:pt x="39623" y="34289"/>
                </a:lnTo>
                <a:lnTo>
                  <a:pt x="39623" y="28955"/>
                </a:lnTo>
                <a:lnTo>
                  <a:pt x="40695" y="25145"/>
                </a:lnTo>
                <a:close/>
              </a:path>
              <a:path w="330834" h="245110">
                <a:moveTo>
                  <a:pt x="17525" y="6857"/>
                </a:moveTo>
                <a:lnTo>
                  <a:pt x="13715" y="9905"/>
                </a:lnTo>
                <a:lnTo>
                  <a:pt x="16573" y="9905"/>
                </a:lnTo>
                <a:lnTo>
                  <a:pt x="17525" y="6857"/>
                </a:lnTo>
                <a:close/>
              </a:path>
              <a:path w="330834" h="245110">
                <a:moveTo>
                  <a:pt x="16573" y="9905"/>
                </a:moveTo>
                <a:lnTo>
                  <a:pt x="13715" y="9905"/>
                </a:lnTo>
                <a:lnTo>
                  <a:pt x="13715" y="19049"/>
                </a:lnTo>
                <a:lnTo>
                  <a:pt x="16573" y="9905"/>
                </a:lnTo>
                <a:close/>
              </a:path>
              <a:path w="330834" h="245110">
                <a:moveTo>
                  <a:pt x="17525" y="9905"/>
                </a:moveTo>
                <a:lnTo>
                  <a:pt x="17525" y="6857"/>
                </a:lnTo>
                <a:lnTo>
                  <a:pt x="16573" y="9905"/>
                </a:lnTo>
                <a:lnTo>
                  <a:pt x="17525" y="9905"/>
                </a:lnTo>
                <a:close/>
              </a:path>
              <a:path w="330834" h="245110">
                <a:moveTo>
                  <a:pt x="44195" y="25145"/>
                </a:moveTo>
                <a:lnTo>
                  <a:pt x="40695" y="25145"/>
                </a:lnTo>
                <a:lnTo>
                  <a:pt x="39623" y="28955"/>
                </a:lnTo>
                <a:lnTo>
                  <a:pt x="44195" y="25145"/>
                </a:lnTo>
                <a:close/>
              </a:path>
              <a:path w="330834" h="245110">
                <a:moveTo>
                  <a:pt x="44195" y="34289"/>
                </a:moveTo>
                <a:lnTo>
                  <a:pt x="44195" y="25145"/>
                </a:lnTo>
                <a:lnTo>
                  <a:pt x="39623" y="28955"/>
                </a:lnTo>
                <a:lnTo>
                  <a:pt x="39623" y="34289"/>
                </a:lnTo>
                <a:lnTo>
                  <a:pt x="44195" y="34289"/>
                </a:lnTo>
                <a:close/>
              </a:path>
              <a:path w="330834" h="245110">
                <a:moveTo>
                  <a:pt x="52941" y="16402"/>
                </a:moveTo>
                <a:lnTo>
                  <a:pt x="47842" y="9905"/>
                </a:lnTo>
                <a:lnTo>
                  <a:pt x="44981" y="9905"/>
                </a:lnTo>
                <a:lnTo>
                  <a:pt x="40695" y="25145"/>
                </a:lnTo>
                <a:lnTo>
                  <a:pt x="44195" y="25145"/>
                </a:lnTo>
                <a:lnTo>
                  <a:pt x="44195" y="34289"/>
                </a:lnTo>
                <a:lnTo>
                  <a:pt x="46481" y="34289"/>
                </a:lnTo>
                <a:lnTo>
                  <a:pt x="48767" y="33527"/>
                </a:lnTo>
                <a:lnTo>
                  <a:pt x="48767" y="31241"/>
                </a:lnTo>
                <a:lnTo>
                  <a:pt x="52941" y="16402"/>
                </a:lnTo>
                <a:close/>
              </a:path>
              <a:path w="330834" h="245110">
                <a:moveTo>
                  <a:pt x="59507" y="9905"/>
                </a:moveTo>
                <a:lnTo>
                  <a:pt x="54101" y="3047"/>
                </a:lnTo>
                <a:lnTo>
                  <a:pt x="53339" y="1523"/>
                </a:lnTo>
                <a:lnTo>
                  <a:pt x="51815" y="761"/>
                </a:lnTo>
                <a:lnTo>
                  <a:pt x="49529" y="1523"/>
                </a:lnTo>
                <a:lnTo>
                  <a:pt x="48005" y="1523"/>
                </a:lnTo>
                <a:lnTo>
                  <a:pt x="46481" y="3047"/>
                </a:lnTo>
                <a:lnTo>
                  <a:pt x="46481" y="4571"/>
                </a:lnTo>
                <a:lnTo>
                  <a:pt x="44981" y="9905"/>
                </a:lnTo>
                <a:lnTo>
                  <a:pt x="47243" y="9905"/>
                </a:lnTo>
                <a:lnTo>
                  <a:pt x="47243" y="9143"/>
                </a:lnTo>
                <a:lnTo>
                  <a:pt x="55625" y="6857"/>
                </a:lnTo>
                <a:lnTo>
                  <a:pt x="55625" y="9905"/>
                </a:lnTo>
                <a:lnTo>
                  <a:pt x="59507" y="9905"/>
                </a:lnTo>
                <a:close/>
              </a:path>
              <a:path w="330834" h="245110">
                <a:moveTo>
                  <a:pt x="55625" y="6857"/>
                </a:moveTo>
                <a:lnTo>
                  <a:pt x="47243" y="9143"/>
                </a:lnTo>
                <a:lnTo>
                  <a:pt x="47842" y="9905"/>
                </a:lnTo>
                <a:lnTo>
                  <a:pt x="54768" y="9905"/>
                </a:lnTo>
                <a:lnTo>
                  <a:pt x="55625" y="6857"/>
                </a:lnTo>
                <a:close/>
              </a:path>
              <a:path w="330834" h="245110">
                <a:moveTo>
                  <a:pt x="47842" y="9905"/>
                </a:moveTo>
                <a:lnTo>
                  <a:pt x="47243" y="9143"/>
                </a:lnTo>
                <a:lnTo>
                  <a:pt x="47243" y="9905"/>
                </a:lnTo>
                <a:lnTo>
                  <a:pt x="47842" y="9905"/>
                </a:lnTo>
                <a:close/>
              </a:path>
              <a:path w="330834" h="245110">
                <a:moveTo>
                  <a:pt x="54768" y="9905"/>
                </a:moveTo>
                <a:lnTo>
                  <a:pt x="47842" y="9905"/>
                </a:lnTo>
                <a:lnTo>
                  <a:pt x="52941" y="16402"/>
                </a:lnTo>
                <a:lnTo>
                  <a:pt x="54768" y="9905"/>
                </a:lnTo>
                <a:close/>
              </a:path>
              <a:path w="330834" h="245110">
                <a:moveTo>
                  <a:pt x="237263" y="235406"/>
                </a:moveTo>
                <a:lnTo>
                  <a:pt x="59507" y="9905"/>
                </a:lnTo>
                <a:lnTo>
                  <a:pt x="54768" y="9905"/>
                </a:lnTo>
                <a:lnTo>
                  <a:pt x="52941" y="16402"/>
                </a:lnTo>
                <a:lnTo>
                  <a:pt x="230885" y="243077"/>
                </a:lnTo>
                <a:lnTo>
                  <a:pt x="232409" y="244601"/>
                </a:lnTo>
                <a:lnTo>
                  <a:pt x="234695" y="244601"/>
                </a:lnTo>
                <a:lnTo>
                  <a:pt x="234695" y="235457"/>
                </a:lnTo>
                <a:lnTo>
                  <a:pt x="237263" y="235406"/>
                </a:lnTo>
                <a:close/>
              </a:path>
              <a:path w="330834" h="245110">
                <a:moveTo>
                  <a:pt x="55625" y="9905"/>
                </a:moveTo>
                <a:lnTo>
                  <a:pt x="55625" y="6857"/>
                </a:lnTo>
                <a:lnTo>
                  <a:pt x="54768" y="9905"/>
                </a:lnTo>
                <a:lnTo>
                  <a:pt x="55625" y="9905"/>
                </a:lnTo>
                <a:close/>
              </a:path>
              <a:path w="330834" h="245110">
                <a:moveTo>
                  <a:pt x="96773" y="9905"/>
                </a:moveTo>
                <a:lnTo>
                  <a:pt x="92963" y="7619"/>
                </a:lnTo>
                <a:lnTo>
                  <a:pt x="94769" y="9905"/>
                </a:lnTo>
                <a:lnTo>
                  <a:pt x="96773" y="9905"/>
                </a:lnTo>
                <a:close/>
              </a:path>
              <a:path w="330834" h="245110">
                <a:moveTo>
                  <a:pt x="94769" y="9905"/>
                </a:moveTo>
                <a:lnTo>
                  <a:pt x="92963" y="7619"/>
                </a:lnTo>
                <a:lnTo>
                  <a:pt x="92963" y="9905"/>
                </a:lnTo>
                <a:lnTo>
                  <a:pt x="94769" y="9905"/>
                </a:lnTo>
                <a:close/>
              </a:path>
              <a:path w="330834" h="245110">
                <a:moveTo>
                  <a:pt x="96773" y="12443"/>
                </a:moveTo>
                <a:lnTo>
                  <a:pt x="96773" y="9905"/>
                </a:lnTo>
                <a:lnTo>
                  <a:pt x="94769" y="9905"/>
                </a:lnTo>
                <a:lnTo>
                  <a:pt x="96773" y="12443"/>
                </a:lnTo>
                <a:close/>
              </a:path>
              <a:path w="330834" h="245110">
                <a:moveTo>
                  <a:pt x="238505" y="236981"/>
                </a:moveTo>
                <a:lnTo>
                  <a:pt x="237263" y="235406"/>
                </a:lnTo>
                <a:lnTo>
                  <a:pt x="234695" y="235457"/>
                </a:lnTo>
                <a:lnTo>
                  <a:pt x="238505" y="236981"/>
                </a:lnTo>
                <a:close/>
              </a:path>
              <a:path w="330834" h="245110">
                <a:moveTo>
                  <a:pt x="238505" y="244563"/>
                </a:moveTo>
                <a:lnTo>
                  <a:pt x="238505" y="236981"/>
                </a:lnTo>
                <a:lnTo>
                  <a:pt x="234695" y="235457"/>
                </a:lnTo>
                <a:lnTo>
                  <a:pt x="234695" y="244601"/>
                </a:lnTo>
                <a:lnTo>
                  <a:pt x="238505" y="244563"/>
                </a:lnTo>
                <a:close/>
              </a:path>
              <a:path w="330834" h="245110">
                <a:moveTo>
                  <a:pt x="310133" y="243839"/>
                </a:moveTo>
                <a:lnTo>
                  <a:pt x="310133" y="233933"/>
                </a:lnTo>
                <a:lnTo>
                  <a:pt x="306323" y="236219"/>
                </a:lnTo>
                <a:lnTo>
                  <a:pt x="306323" y="234010"/>
                </a:lnTo>
                <a:lnTo>
                  <a:pt x="237263" y="235406"/>
                </a:lnTo>
                <a:lnTo>
                  <a:pt x="238505" y="236981"/>
                </a:lnTo>
                <a:lnTo>
                  <a:pt x="238505" y="244563"/>
                </a:lnTo>
                <a:lnTo>
                  <a:pt x="306323" y="243878"/>
                </a:lnTo>
                <a:lnTo>
                  <a:pt x="306323" y="236219"/>
                </a:lnTo>
                <a:lnTo>
                  <a:pt x="307565" y="233985"/>
                </a:lnTo>
                <a:lnTo>
                  <a:pt x="307565" y="243865"/>
                </a:lnTo>
                <a:lnTo>
                  <a:pt x="310133" y="243839"/>
                </a:lnTo>
                <a:close/>
              </a:path>
              <a:path w="330834" h="245110">
                <a:moveTo>
                  <a:pt x="278129" y="227075"/>
                </a:moveTo>
                <a:lnTo>
                  <a:pt x="274119" y="221980"/>
                </a:lnTo>
                <a:lnTo>
                  <a:pt x="270509" y="227075"/>
                </a:lnTo>
                <a:lnTo>
                  <a:pt x="278129" y="227075"/>
                </a:lnTo>
                <a:close/>
              </a:path>
              <a:path w="330834" h="245110">
                <a:moveTo>
                  <a:pt x="278129" y="233171"/>
                </a:moveTo>
                <a:lnTo>
                  <a:pt x="278129" y="227075"/>
                </a:lnTo>
                <a:lnTo>
                  <a:pt x="270509" y="227075"/>
                </a:lnTo>
                <a:lnTo>
                  <a:pt x="270509" y="232409"/>
                </a:lnTo>
                <a:lnTo>
                  <a:pt x="272033" y="233933"/>
                </a:lnTo>
                <a:lnTo>
                  <a:pt x="273513" y="234673"/>
                </a:lnTo>
                <a:lnTo>
                  <a:pt x="276692" y="234609"/>
                </a:lnTo>
                <a:lnTo>
                  <a:pt x="278129" y="233171"/>
                </a:lnTo>
                <a:close/>
              </a:path>
              <a:path w="330834" h="245110">
                <a:moveTo>
                  <a:pt x="330707" y="211835"/>
                </a:moveTo>
                <a:lnTo>
                  <a:pt x="330707" y="210311"/>
                </a:lnTo>
                <a:lnTo>
                  <a:pt x="329945" y="208787"/>
                </a:lnTo>
                <a:lnTo>
                  <a:pt x="328421" y="207263"/>
                </a:lnTo>
                <a:lnTo>
                  <a:pt x="326897" y="206501"/>
                </a:lnTo>
                <a:lnTo>
                  <a:pt x="285749" y="206501"/>
                </a:lnTo>
                <a:lnTo>
                  <a:pt x="284225" y="207263"/>
                </a:lnTo>
                <a:lnTo>
                  <a:pt x="283463" y="208787"/>
                </a:lnTo>
                <a:lnTo>
                  <a:pt x="274119" y="221980"/>
                </a:lnTo>
                <a:lnTo>
                  <a:pt x="278129" y="227075"/>
                </a:lnTo>
                <a:lnTo>
                  <a:pt x="278129" y="233171"/>
                </a:lnTo>
                <a:lnTo>
                  <a:pt x="278891" y="232409"/>
                </a:lnTo>
                <a:lnTo>
                  <a:pt x="287273" y="219836"/>
                </a:lnTo>
                <a:lnTo>
                  <a:pt x="287273" y="215645"/>
                </a:lnTo>
                <a:lnTo>
                  <a:pt x="291083" y="214121"/>
                </a:lnTo>
                <a:lnTo>
                  <a:pt x="291083" y="215645"/>
                </a:lnTo>
                <a:lnTo>
                  <a:pt x="317753" y="215645"/>
                </a:lnTo>
                <a:lnTo>
                  <a:pt x="321563" y="208787"/>
                </a:lnTo>
                <a:lnTo>
                  <a:pt x="325373" y="215645"/>
                </a:lnTo>
                <a:lnTo>
                  <a:pt x="325373" y="221589"/>
                </a:lnTo>
                <a:lnTo>
                  <a:pt x="329945" y="213359"/>
                </a:lnTo>
                <a:lnTo>
                  <a:pt x="330707" y="211835"/>
                </a:lnTo>
                <a:close/>
              </a:path>
              <a:path w="330834" h="245110">
                <a:moveTo>
                  <a:pt x="291083" y="214121"/>
                </a:moveTo>
                <a:lnTo>
                  <a:pt x="287273" y="215645"/>
                </a:lnTo>
                <a:lnTo>
                  <a:pt x="290067" y="215645"/>
                </a:lnTo>
                <a:lnTo>
                  <a:pt x="291083" y="214121"/>
                </a:lnTo>
                <a:close/>
              </a:path>
              <a:path w="330834" h="245110">
                <a:moveTo>
                  <a:pt x="290067" y="215645"/>
                </a:moveTo>
                <a:lnTo>
                  <a:pt x="287273" y="215645"/>
                </a:lnTo>
                <a:lnTo>
                  <a:pt x="287273" y="219836"/>
                </a:lnTo>
                <a:lnTo>
                  <a:pt x="290067" y="215645"/>
                </a:lnTo>
                <a:close/>
              </a:path>
              <a:path w="330834" h="245110">
                <a:moveTo>
                  <a:pt x="291083" y="215645"/>
                </a:moveTo>
                <a:lnTo>
                  <a:pt x="291083" y="214121"/>
                </a:lnTo>
                <a:lnTo>
                  <a:pt x="290067" y="215645"/>
                </a:lnTo>
                <a:lnTo>
                  <a:pt x="291083" y="215645"/>
                </a:lnTo>
                <a:close/>
              </a:path>
              <a:path w="330834" h="245110">
                <a:moveTo>
                  <a:pt x="310133" y="233933"/>
                </a:moveTo>
                <a:lnTo>
                  <a:pt x="307565" y="233985"/>
                </a:lnTo>
                <a:lnTo>
                  <a:pt x="306323" y="236219"/>
                </a:lnTo>
                <a:lnTo>
                  <a:pt x="310133" y="233933"/>
                </a:lnTo>
                <a:close/>
              </a:path>
              <a:path w="330834" h="245110">
                <a:moveTo>
                  <a:pt x="325373" y="221589"/>
                </a:moveTo>
                <a:lnTo>
                  <a:pt x="325373" y="215645"/>
                </a:lnTo>
                <a:lnTo>
                  <a:pt x="317753" y="215645"/>
                </a:lnTo>
                <a:lnTo>
                  <a:pt x="307565" y="233985"/>
                </a:lnTo>
                <a:lnTo>
                  <a:pt x="310133" y="233933"/>
                </a:lnTo>
                <a:lnTo>
                  <a:pt x="310133" y="243839"/>
                </a:lnTo>
                <a:lnTo>
                  <a:pt x="311657" y="243839"/>
                </a:lnTo>
                <a:lnTo>
                  <a:pt x="314705" y="240791"/>
                </a:lnTo>
                <a:lnTo>
                  <a:pt x="325373" y="221589"/>
                </a:lnTo>
                <a:close/>
              </a:path>
              <a:path w="330834" h="245110">
                <a:moveTo>
                  <a:pt x="325373" y="215645"/>
                </a:moveTo>
                <a:lnTo>
                  <a:pt x="321563" y="208787"/>
                </a:lnTo>
                <a:lnTo>
                  <a:pt x="317753" y="215645"/>
                </a:lnTo>
                <a:lnTo>
                  <a:pt x="325373" y="2156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0" name="object 64"/>
          <p:cNvSpPr/>
          <p:nvPr/>
        </p:nvSpPr>
        <p:spPr>
          <a:xfrm>
            <a:off x="6641873" y="3388596"/>
            <a:ext cx="272317" cy="78441"/>
          </a:xfrm>
          <a:prstGeom prst="rect">
            <a:avLst/>
          </a:prstGeom>
          <a:blipFill>
            <a:blip r:embed="rId4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1" name="object 65"/>
          <p:cNvSpPr/>
          <p:nvPr/>
        </p:nvSpPr>
        <p:spPr>
          <a:xfrm>
            <a:off x="6638854" y="3385774"/>
            <a:ext cx="278936" cy="83521"/>
          </a:xfrm>
          <a:custGeom>
            <a:avLst/>
            <a:gdLst/>
            <a:ahLst/>
            <a:cxnLst/>
            <a:rect l="l" t="t" r="r" b="b"/>
            <a:pathLst>
              <a:path w="422275" h="187960">
                <a:moveTo>
                  <a:pt x="422148" y="182880"/>
                </a:moveTo>
                <a:lnTo>
                  <a:pt x="422148" y="181356"/>
                </a:lnTo>
                <a:lnTo>
                  <a:pt x="420624" y="179832"/>
                </a:lnTo>
                <a:lnTo>
                  <a:pt x="275844" y="2286"/>
                </a:lnTo>
                <a:lnTo>
                  <a:pt x="275082" y="762"/>
                </a:lnTo>
                <a:lnTo>
                  <a:pt x="273558" y="0"/>
                </a:lnTo>
                <a:lnTo>
                  <a:pt x="3048" y="762"/>
                </a:lnTo>
                <a:lnTo>
                  <a:pt x="1524" y="1524"/>
                </a:lnTo>
                <a:lnTo>
                  <a:pt x="0" y="4572"/>
                </a:lnTo>
                <a:lnTo>
                  <a:pt x="0" y="6858"/>
                </a:lnTo>
                <a:lnTo>
                  <a:pt x="762" y="8382"/>
                </a:lnTo>
                <a:lnTo>
                  <a:pt x="4572" y="13212"/>
                </a:lnTo>
                <a:lnTo>
                  <a:pt x="4572" y="9906"/>
                </a:lnTo>
                <a:lnTo>
                  <a:pt x="8382" y="2286"/>
                </a:lnTo>
                <a:lnTo>
                  <a:pt x="14334" y="9906"/>
                </a:lnTo>
                <a:lnTo>
                  <a:pt x="268224" y="9906"/>
                </a:lnTo>
                <a:lnTo>
                  <a:pt x="268224" y="8382"/>
                </a:lnTo>
                <a:lnTo>
                  <a:pt x="272034" y="9906"/>
                </a:lnTo>
                <a:lnTo>
                  <a:pt x="272034" y="13029"/>
                </a:lnTo>
                <a:lnTo>
                  <a:pt x="406894" y="177546"/>
                </a:lnTo>
                <a:lnTo>
                  <a:pt x="416814" y="177546"/>
                </a:lnTo>
                <a:lnTo>
                  <a:pt x="416814" y="187452"/>
                </a:lnTo>
                <a:lnTo>
                  <a:pt x="419100" y="187452"/>
                </a:lnTo>
                <a:lnTo>
                  <a:pt x="420624" y="185928"/>
                </a:lnTo>
                <a:lnTo>
                  <a:pt x="422148" y="182880"/>
                </a:lnTo>
                <a:close/>
              </a:path>
              <a:path w="422275" h="187960">
                <a:moveTo>
                  <a:pt x="14334" y="9906"/>
                </a:moveTo>
                <a:lnTo>
                  <a:pt x="8382" y="2286"/>
                </a:lnTo>
                <a:lnTo>
                  <a:pt x="4572" y="9906"/>
                </a:lnTo>
                <a:lnTo>
                  <a:pt x="14334" y="9906"/>
                </a:lnTo>
                <a:close/>
              </a:path>
              <a:path w="422275" h="187960">
                <a:moveTo>
                  <a:pt x="145280" y="177546"/>
                </a:moveTo>
                <a:lnTo>
                  <a:pt x="14334" y="9906"/>
                </a:lnTo>
                <a:lnTo>
                  <a:pt x="4572" y="9906"/>
                </a:lnTo>
                <a:lnTo>
                  <a:pt x="4572" y="13212"/>
                </a:lnTo>
                <a:lnTo>
                  <a:pt x="140208" y="185166"/>
                </a:lnTo>
                <a:lnTo>
                  <a:pt x="140970" y="186690"/>
                </a:lnTo>
                <a:lnTo>
                  <a:pt x="142494" y="187452"/>
                </a:lnTo>
                <a:lnTo>
                  <a:pt x="144018" y="187452"/>
                </a:lnTo>
                <a:lnTo>
                  <a:pt x="144018" y="177546"/>
                </a:lnTo>
                <a:lnTo>
                  <a:pt x="145280" y="177546"/>
                </a:lnTo>
                <a:close/>
              </a:path>
              <a:path w="422275" h="187960">
                <a:moveTo>
                  <a:pt x="147066" y="179832"/>
                </a:moveTo>
                <a:lnTo>
                  <a:pt x="145280" y="177546"/>
                </a:lnTo>
                <a:lnTo>
                  <a:pt x="144018" y="177546"/>
                </a:lnTo>
                <a:lnTo>
                  <a:pt x="147066" y="179832"/>
                </a:lnTo>
                <a:close/>
              </a:path>
              <a:path w="422275" h="187960">
                <a:moveTo>
                  <a:pt x="147066" y="187452"/>
                </a:moveTo>
                <a:lnTo>
                  <a:pt x="147066" y="179832"/>
                </a:lnTo>
                <a:lnTo>
                  <a:pt x="144018" y="177546"/>
                </a:lnTo>
                <a:lnTo>
                  <a:pt x="144018" y="187452"/>
                </a:lnTo>
                <a:lnTo>
                  <a:pt x="147066" y="187452"/>
                </a:lnTo>
                <a:close/>
              </a:path>
              <a:path w="422275" h="187960">
                <a:moveTo>
                  <a:pt x="416814" y="187452"/>
                </a:moveTo>
                <a:lnTo>
                  <a:pt x="416814" y="177546"/>
                </a:lnTo>
                <a:lnTo>
                  <a:pt x="413766" y="185928"/>
                </a:lnTo>
                <a:lnTo>
                  <a:pt x="406894" y="177546"/>
                </a:lnTo>
                <a:lnTo>
                  <a:pt x="145280" y="177546"/>
                </a:lnTo>
                <a:lnTo>
                  <a:pt x="147066" y="179832"/>
                </a:lnTo>
                <a:lnTo>
                  <a:pt x="147066" y="187452"/>
                </a:lnTo>
                <a:lnTo>
                  <a:pt x="416814" y="187452"/>
                </a:lnTo>
                <a:close/>
              </a:path>
              <a:path w="422275" h="187960">
                <a:moveTo>
                  <a:pt x="272034" y="9906"/>
                </a:moveTo>
                <a:lnTo>
                  <a:pt x="268224" y="8382"/>
                </a:lnTo>
                <a:lnTo>
                  <a:pt x="269473" y="9906"/>
                </a:lnTo>
                <a:lnTo>
                  <a:pt x="272034" y="9906"/>
                </a:lnTo>
                <a:close/>
              </a:path>
              <a:path w="422275" h="187960">
                <a:moveTo>
                  <a:pt x="269473" y="9906"/>
                </a:moveTo>
                <a:lnTo>
                  <a:pt x="268224" y="8382"/>
                </a:lnTo>
                <a:lnTo>
                  <a:pt x="268224" y="9906"/>
                </a:lnTo>
                <a:lnTo>
                  <a:pt x="269473" y="9906"/>
                </a:lnTo>
                <a:close/>
              </a:path>
              <a:path w="422275" h="187960">
                <a:moveTo>
                  <a:pt x="272034" y="13029"/>
                </a:moveTo>
                <a:lnTo>
                  <a:pt x="272034" y="9906"/>
                </a:lnTo>
                <a:lnTo>
                  <a:pt x="269473" y="9906"/>
                </a:lnTo>
                <a:lnTo>
                  <a:pt x="272034" y="13029"/>
                </a:lnTo>
                <a:close/>
              </a:path>
              <a:path w="422275" h="187960">
                <a:moveTo>
                  <a:pt x="416814" y="177546"/>
                </a:moveTo>
                <a:lnTo>
                  <a:pt x="406894" y="177546"/>
                </a:lnTo>
                <a:lnTo>
                  <a:pt x="413766" y="185928"/>
                </a:lnTo>
                <a:lnTo>
                  <a:pt x="416814" y="1775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2" name="object 66"/>
          <p:cNvSpPr/>
          <p:nvPr/>
        </p:nvSpPr>
        <p:spPr>
          <a:xfrm>
            <a:off x="6989692" y="3375391"/>
            <a:ext cx="210893" cy="103836"/>
          </a:xfrm>
          <a:prstGeom prst="rect">
            <a:avLst/>
          </a:prstGeom>
          <a:blipFill>
            <a:blip r:embed="rId4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3" name="object 67"/>
          <p:cNvSpPr/>
          <p:nvPr/>
        </p:nvSpPr>
        <p:spPr>
          <a:xfrm>
            <a:off x="6985665" y="3372570"/>
            <a:ext cx="218535" cy="109197"/>
          </a:xfrm>
          <a:custGeom>
            <a:avLst/>
            <a:gdLst/>
            <a:ahLst/>
            <a:cxnLst/>
            <a:rect l="l" t="t" r="r" b="b"/>
            <a:pathLst>
              <a:path w="330834" h="245745">
                <a:moveTo>
                  <a:pt x="274112" y="221989"/>
                </a:moveTo>
                <a:lnTo>
                  <a:pt x="100583" y="2285"/>
                </a:lnTo>
                <a:lnTo>
                  <a:pt x="99821" y="761"/>
                </a:lnTo>
                <a:lnTo>
                  <a:pt x="98297" y="0"/>
                </a:lnTo>
                <a:lnTo>
                  <a:pt x="11429" y="761"/>
                </a:lnTo>
                <a:lnTo>
                  <a:pt x="9143" y="2285"/>
                </a:lnTo>
                <a:lnTo>
                  <a:pt x="9143" y="4571"/>
                </a:lnTo>
                <a:lnTo>
                  <a:pt x="761" y="28193"/>
                </a:lnTo>
                <a:lnTo>
                  <a:pt x="0" y="29717"/>
                </a:lnTo>
                <a:lnTo>
                  <a:pt x="2285" y="34289"/>
                </a:lnTo>
                <a:lnTo>
                  <a:pt x="3809" y="35051"/>
                </a:lnTo>
                <a:lnTo>
                  <a:pt x="5333" y="35051"/>
                </a:lnTo>
                <a:lnTo>
                  <a:pt x="5333" y="25145"/>
                </a:lnTo>
                <a:lnTo>
                  <a:pt x="11810" y="25145"/>
                </a:lnTo>
                <a:lnTo>
                  <a:pt x="12953" y="21488"/>
                </a:lnTo>
                <a:lnTo>
                  <a:pt x="12953" y="10667"/>
                </a:lnTo>
                <a:lnTo>
                  <a:pt x="17525" y="6857"/>
                </a:lnTo>
                <a:lnTo>
                  <a:pt x="17525" y="10626"/>
                </a:lnTo>
                <a:lnTo>
                  <a:pt x="44267" y="10383"/>
                </a:lnTo>
                <a:lnTo>
                  <a:pt x="45719" y="4571"/>
                </a:lnTo>
                <a:lnTo>
                  <a:pt x="46481" y="3047"/>
                </a:lnTo>
                <a:lnTo>
                  <a:pt x="48005" y="1523"/>
                </a:lnTo>
                <a:lnTo>
                  <a:pt x="49529" y="1523"/>
                </a:lnTo>
                <a:lnTo>
                  <a:pt x="51815" y="761"/>
                </a:lnTo>
                <a:lnTo>
                  <a:pt x="53339" y="1523"/>
                </a:lnTo>
                <a:lnTo>
                  <a:pt x="54101" y="3047"/>
                </a:lnTo>
                <a:lnTo>
                  <a:pt x="59754" y="10242"/>
                </a:lnTo>
                <a:lnTo>
                  <a:pt x="92963" y="9940"/>
                </a:lnTo>
                <a:lnTo>
                  <a:pt x="92963" y="7619"/>
                </a:lnTo>
                <a:lnTo>
                  <a:pt x="96773" y="9905"/>
                </a:lnTo>
                <a:lnTo>
                  <a:pt x="96773" y="12460"/>
                </a:lnTo>
                <a:lnTo>
                  <a:pt x="270509" y="233171"/>
                </a:lnTo>
                <a:lnTo>
                  <a:pt x="270509" y="227075"/>
                </a:lnTo>
                <a:lnTo>
                  <a:pt x="274112" y="221989"/>
                </a:lnTo>
                <a:close/>
              </a:path>
              <a:path w="330834" h="245745">
                <a:moveTo>
                  <a:pt x="11810" y="25145"/>
                </a:moveTo>
                <a:lnTo>
                  <a:pt x="5333" y="25145"/>
                </a:lnTo>
                <a:lnTo>
                  <a:pt x="9905" y="31241"/>
                </a:lnTo>
                <a:lnTo>
                  <a:pt x="11810" y="25145"/>
                </a:lnTo>
                <a:close/>
              </a:path>
              <a:path w="330834" h="245745">
                <a:moveTo>
                  <a:pt x="40576" y="25145"/>
                </a:moveTo>
                <a:lnTo>
                  <a:pt x="11810" y="25145"/>
                </a:lnTo>
                <a:lnTo>
                  <a:pt x="9905" y="31241"/>
                </a:lnTo>
                <a:lnTo>
                  <a:pt x="5333" y="25145"/>
                </a:lnTo>
                <a:lnTo>
                  <a:pt x="5333" y="35051"/>
                </a:lnTo>
                <a:lnTo>
                  <a:pt x="39623" y="35051"/>
                </a:lnTo>
                <a:lnTo>
                  <a:pt x="39623" y="28955"/>
                </a:lnTo>
                <a:lnTo>
                  <a:pt x="40576" y="25145"/>
                </a:lnTo>
                <a:close/>
              </a:path>
              <a:path w="330834" h="245745">
                <a:moveTo>
                  <a:pt x="17525" y="6857"/>
                </a:moveTo>
                <a:lnTo>
                  <a:pt x="12953" y="10667"/>
                </a:lnTo>
                <a:lnTo>
                  <a:pt x="16345" y="10637"/>
                </a:lnTo>
                <a:lnTo>
                  <a:pt x="17525" y="6857"/>
                </a:lnTo>
                <a:close/>
              </a:path>
              <a:path w="330834" h="245745">
                <a:moveTo>
                  <a:pt x="16345" y="10637"/>
                </a:moveTo>
                <a:lnTo>
                  <a:pt x="12953" y="10667"/>
                </a:lnTo>
                <a:lnTo>
                  <a:pt x="12953" y="21488"/>
                </a:lnTo>
                <a:lnTo>
                  <a:pt x="16345" y="10637"/>
                </a:lnTo>
                <a:close/>
              </a:path>
              <a:path w="330834" h="245745">
                <a:moveTo>
                  <a:pt x="17525" y="10626"/>
                </a:moveTo>
                <a:lnTo>
                  <a:pt x="17525" y="6857"/>
                </a:lnTo>
                <a:lnTo>
                  <a:pt x="16345" y="10637"/>
                </a:lnTo>
                <a:lnTo>
                  <a:pt x="17525" y="10626"/>
                </a:lnTo>
                <a:close/>
              </a:path>
              <a:path w="330834" h="245745">
                <a:moveTo>
                  <a:pt x="44195" y="25145"/>
                </a:moveTo>
                <a:lnTo>
                  <a:pt x="40576" y="25145"/>
                </a:lnTo>
                <a:lnTo>
                  <a:pt x="39623" y="28955"/>
                </a:lnTo>
                <a:lnTo>
                  <a:pt x="44195" y="25145"/>
                </a:lnTo>
                <a:close/>
              </a:path>
              <a:path w="330834" h="245745">
                <a:moveTo>
                  <a:pt x="44195" y="35051"/>
                </a:moveTo>
                <a:lnTo>
                  <a:pt x="44195" y="25145"/>
                </a:lnTo>
                <a:lnTo>
                  <a:pt x="39623" y="28955"/>
                </a:lnTo>
                <a:lnTo>
                  <a:pt x="39623" y="35051"/>
                </a:lnTo>
                <a:lnTo>
                  <a:pt x="44195" y="35051"/>
                </a:lnTo>
                <a:close/>
              </a:path>
              <a:path w="330834" h="245745">
                <a:moveTo>
                  <a:pt x="52941" y="16402"/>
                </a:moveTo>
                <a:lnTo>
                  <a:pt x="48188" y="10347"/>
                </a:lnTo>
                <a:lnTo>
                  <a:pt x="44267" y="10383"/>
                </a:lnTo>
                <a:lnTo>
                  <a:pt x="40576" y="25145"/>
                </a:lnTo>
                <a:lnTo>
                  <a:pt x="44195" y="25145"/>
                </a:lnTo>
                <a:lnTo>
                  <a:pt x="44195" y="35051"/>
                </a:lnTo>
                <a:lnTo>
                  <a:pt x="46481" y="35051"/>
                </a:lnTo>
                <a:lnTo>
                  <a:pt x="48767" y="33527"/>
                </a:lnTo>
                <a:lnTo>
                  <a:pt x="48767" y="31241"/>
                </a:lnTo>
                <a:lnTo>
                  <a:pt x="52941" y="16402"/>
                </a:lnTo>
                <a:close/>
              </a:path>
              <a:path w="330834" h="245745">
                <a:moveTo>
                  <a:pt x="59754" y="10242"/>
                </a:moveTo>
                <a:lnTo>
                  <a:pt x="54101" y="3047"/>
                </a:lnTo>
                <a:lnTo>
                  <a:pt x="53339" y="1523"/>
                </a:lnTo>
                <a:lnTo>
                  <a:pt x="51815" y="761"/>
                </a:lnTo>
                <a:lnTo>
                  <a:pt x="49529" y="1523"/>
                </a:lnTo>
                <a:lnTo>
                  <a:pt x="48005" y="1523"/>
                </a:lnTo>
                <a:lnTo>
                  <a:pt x="46481" y="3047"/>
                </a:lnTo>
                <a:lnTo>
                  <a:pt x="45719" y="4571"/>
                </a:lnTo>
                <a:lnTo>
                  <a:pt x="44267" y="10383"/>
                </a:lnTo>
                <a:lnTo>
                  <a:pt x="47243" y="10356"/>
                </a:lnTo>
                <a:lnTo>
                  <a:pt x="47243" y="9143"/>
                </a:lnTo>
                <a:lnTo>
                  <a:pt x="55625" y="6857"/>
                </a:lnTo>
                <a:lnTo>
                  <a:pt x="55625" y="10280"/>
                </a:lnTo>
                <a:lnTo>
                  <a:pt x="59754" y="10242"/>
                </a:lnTo>
                <a:close/>
              </a:path>
              <a:path w="330834" h="245745">
                <a:moveTo>
                  <a:pt x="55625" y="6857"/>
                </a:moveTo>
                <a:lnTo>
                  <a:pt x="47243" y="9143"/>
                </a:lnTo>
                <a:lnTo>
                  <a:pt x="48188" y="10347"/>
                </a:lnTo>
                <a:lnTo>
                  <a:pt x="54661" y="10288"/>
                </a:lnTo>
                <a:lnTo>
                  <a:pt x="55625" y="6857"/>
                </a:lnTo>
                <a:close/>
              </a:path>
              <a:path w="330834" h="245745">
                <a:moveTo>
                  <a:pt x="48188" y="10347"/>
                </a:moveTo>
                <a:lnTo>
                  <a:pt x="47243" y="9143"/>
                </a:lnTo>
                <a:lnTo>
                  <a:pt x="47243" y="10356"/>
                </a:lnTo>
                <a:lnTo>
                  <a:pt x="48188" y="10347"/>
                </a:lnTo>
                <a:close/>
              </a:path>
              <a:path w="330834" h="245745">
                <a:moveTo>
                  <a:pt x="54661" y="10288"/>
                </a:moveTo>
                <a:lnTo>
                  <a:pt x="48188" y="10347"/>
                </a:lnTo>
                <a:lnTo>
                  <a:pt x="52941" y="16402"/>
                </a:lnTo>
                <a:lnTo>
                  <a:pt x="54661" y="10288"/>
                </a:lnTo>
                <a:close/>
              </a:path>
              <a:path w="330834" h="245745">
                <a:moveTo>
                  <a:pt x="236678" y="235417"/>
                </a:moveTo>
                <a:lnTo>
                  <a:pt x="59754" y="10242"/>
                </a:lnTo>
                <a:lnTo>
                  <a:pt x="54661" y="10288"/>
                </a:lnTo>
                <a:lnTo>
                  <a:pt x="52941" y="16402"/>
                </a:lnTo>
                <a:lnTo>
                  <a:pt x="230885" y="243077"/>
                </a:lnTo>
                <a:lnTo>
                  <a:pt x="233171" y="245363"/>
                </a:lnTo>
                <a:lnTo>
                  <a:pt x="234695" y="245363"/>
                </a:lnTo>
                <a:lnTo>
                  <a:pt x="234695" y="235457"/>
                </a:lnTo>
                <a:lnTo>
                  <a:pt x="236678" y="235417"/>
                </a:lnTo>
                <a:close/>
              </a:path>
              <a:path w="330834" h="245745">
                <a:moveTo>
                  <a:pt x="55625" y="10280"/>
                </a:moveTo>
                <a:lnTo>
                  <a:pt x="55625" y="6857"/>
                </a:lnTo>
                <a:lnTo>
                  <a:pt x="54661" y="10288"/>
                </a:lnTo>
                <a:lnTo>
                  <a:pt x="55625" y="10280"/>
                </a:lnTo>
                <a:close/>
              </a:path>
              <a:path w="330834" h="245745">
                <a:moveTo>
                  <a:pt x="96773" y="9905"/>
                </a:moveTo>
                <a:lnTo>
                  <a:pt x="92963" y="7619"/>
                </a:lnTo>
                <a:lnTo>
                  <a:pt x="94777" y="9924"/>
                </a:lnTo>
                <a:lnTo>
                  <a:pt x="96773" y="9905"/>
                </a:lnTo>
                <a:close/>
              </a:path>
              <a:path w="330834" h="245745">
                <a:moveTo>
                  <a:pt x="94777" y="9924"/>
                </a:moveTo>
                <a:lnTo>
                  <a:pt x="92963" y="7619"/>
                </a:lnTo>
                <a:lnTo>
                  <a:pt x="92963" y="9940"/>
                </a:lnTo>
                <a:lnTo>
                  <a:pt x="94777" y="9924"/>
                </a:lnTo>
                <a:close/>
              </a:path>
              <a:path w="330834" h="245745">
                <a:moveTo>
                  <a:pt x="96773" y="12460"/>
                </a:moveTo>
                <a:lnTo>
                  <a:pt x="96773" y="9905"/>
                </a:lnTo>
                <a:lnTo>
                  <a:pt x="94777" y="9924"/>
                </a:lnTo>
                <a:lnTo>
                  <a:pt x="96773" y="12460"/>
                </a:lnTo>
                <a:close/>
              </a:path>
              <a:path w="330834" h="245745">
                <a:moveTo>
                  <a:pt x="238505" y="237743"/>
                </a:moveTo>
                <a:lnTo>
                  <a:pt x="236678" y="235417"/>
                </a:lnTo>
                <a:lnTo>
                  <a:pt x="234695" y="235457"/>
                </a:lnTo>
                <a:lnTo>
                  <a:pt x="238505" y="237743"/>
                </a:lnTo>
                <a:close/>
              </a:path>
              <a:path w="330834" h="245745">
                <a:moveTo>
                  <a:pt x="238505" y="245287"/>
                </a:moveTo>
                <a:lnTo>
                  <a:pt x="238505" y="237743"/>
                </a:lnTo>
                <a:lnTo>
                  <a:pt x="234695" y="235457"/>
                </a:lnTo>
                <a:lnTo>
                  <a:pt x="234695" y="245363"/>
                </a:lnTo>
                <a:lnTo>
                  <a:pt x="238505" y="245287"/>
                </a:lnTo>
                <a:close/>
              </a:path>
              <a:path w="330834" h="245745">
                <a:moveTo>
                  <a:pt x="310133" y="243839"/>
                </a:moveTo>
                <a:lnTo>
                  <a:pt x="310133" y="233933"/>
                </a:lnTo>
                <a:lnTo>
                  <a:pt x="306323" y="236981"/>
                </a:lnTo>
                <a:lnTo>
                  <a:pt x="306323" y="234010"/>
                </a:lnTo>
                <a:lnTo>
                  <a:pt x="236678" y="235417"/>
                </a:lnTo>
                <a:lnTo>
                  <a:pt x="238505" y="237743"/>
                </a:lnTo>
                <a:lnTo>
                  <a:pt x="238505" y="245287"/>
                </a:lnTo>
                <a:lnTo>
                  <a:pt x="306323" y="243916"/>
                </a:lnTo>
                <a:lnTo>
                  <a:pt x="306323" y="236981"/>
                </a:lnTo>
                <a:lnTo>
                  <a:pt x="307947" y="233978"/>
                </a:lnTo>
                <a:lnTo>
                  <a:pt x="307947" y="243884"/>
                </a:lnTo>
                <a:lnTo>
                  <a:pt x="310133" y="243839"/>
                </a:lnTo>
                <a:close/>
              </a:path>
              <a:path w="330834" h="245745">
                <a:moveTo>
                  <a:pt x="278129" y="227075"/>
                </a:moveTo>
                <a:lnTo>
                  <a:pt x="274112" y="221989"/>
                </a:lnTo>
                <a:lnTo>
                  <a:pt x="270509" y="227075"/>
                </a:lnTo>
                <a:lnTo>
                  <a:pt x="278129" y="227075"/>
                </a:lnTo>
                <a:close/>
              </a:path>
              <a:path w="330834" h="245745">
                <a:moveTo>
                  <a:pt x="278129" y="233171"/>
                </a:moveTo>
                <a:lnTo>
                  <a:pt x="278129" y="227075"/>
                </a:lnTo>
                <a:lnTo>
                  <a:pt x="270509" y="227075"/>
                </a:lnTo>
                <a:lnTo>
                  <a:pt x="270509" y="233171"/>
                </a:lnTo>
                <a:lnTo>
                  <a:pt x="273513" y="234673"/>
                </a:lnTo>
                <a:lnTo>
                  <a:pt x="276692" y="234609"/>
                </a:lnTo>
                <a:lnTo>
                  <a:pt x="278129" y="233171"/>
                </a:lnTo>
                <a:close/>
              </a:path>
              <a:path w="330834" h="245745">
                <a:moveTo>
                  <a:pt x="330707" y="211835"/>
                </a:moveTo>
                <a:lnTo>
                  <a:pt x="330707" y="210311"/>
                </a:lnTo>
                <a:lnTo>
                  <a:pt x="329945" y="208787"/>
                </a:lnTo>
                <a:lnTo>
                  <a:pt x="328421" y="207263"/>
                </a:lnTo>
                <a:lnTo>
                  <a:pt x="326897" y="206501"/>
                </a:lnTo>
                <a:lnTo>
                  <a:pt x="285749" y="206501"/>
                </a:lnTo>
                <a:lnTo>
                  <a:pt x="284225" y="207263"/>
                </a:lnTo>
                <a:lnTo>
                  <a:pt x="283463" y="208787"/>
                </a:lnTo>
                <a:lnTo>
                  <a:pt x="274112" y="221989"/>
                </a:lnTo>
                <a:lnTo>
                  <a:pt x="278129" y="227075"/>
                </a:lnTo>
                <a:lnTo>
                  <a:pt x="278129" y="233171"/>
                </a:lnTo>
                <a:lnTo>
                  <a:pt x="278891" y="232409"/>
                </a:lnTo>
                <a:lnTo>
                  <a:pt x="287273" y="219836"/>
                </a:lnTo>
                <a:lnTo>
                  <a:pt x="287273" y="216407"/>
                </a:lnTo>
                <a:lnTo>
                  <a:pt x="291083" y="214121"/>
                </a:lnTo>
                <a:lnTo>
                  <a:pt x="291083" y="216407"/>
                </a:lnTo>
                <a:lnTo>
                  <a:pt x="317445" y="216407"/>
                </a:lnTo>
                <a:lnTo>
                  <a:pt x="321563" y="208787"/>
                </a:lnTo>
                <a:lnTo>
                  <a:pt x="325373" y="216407"/>
                </a:lnTo>
                <a:lnTo>
                  <a:pt x="325373" y="221818"/>
                </a:lnTo>
                <a:lnTo>
                  <a:pt x="329945" y="213359"/>
                </a:lnTo>
                <a:lnTo>
                  <a:pt x="330707" y="211835"/>
                </a:lnTo>
                <a:close/>
              </a:path>
              <a:path w="330834" h="245745">
                <a:moveTo>
                  <a:pt x="291083" y="214121"/>
                </a:moveTo>
                <a:lnTo>
                  <a:pt x="287273" y="216407"/>
                </a:lnTo>
                <a:lnTo>
                  <a:pt x="289559" y="216407"/>
                </a:lnTo>
                <a:lnTo>
                  <a:pt x="291083" y="214121"/>
                </a:lnTo>
                <a:close/>
              </a:path>
              <a:path w="330834" h="245745">
                <a:moveTo>
                  <a:pt x="289559" y="216407"/>
                </a:moveTo>
                <a:lnTo>
                  <a:pt x="287273" y="216407"/>
                </a:lnTo>
                <a:lnTo>
                  <a:pt x="287273" y="219836"/>
                </a:lnTo>
                <a:lnTo>
                  <a:pt x="289559" y="216407"/>
                </a:lnTo>
                <a:close/>
              </a:path>
              <a:path w="330834" h="245745">
                <a:moveTo>
                  <a:pt x="291083" y="216407"/>
                </a:moveTo>
                <a:lnTo>
                  <a:pt x="291083" y="214121"/>
                </a:lnTo>
                <a:lnTo>
                  <a:pt x="289559" y="216407"/>
                </a:lnTo>
                <a:lnTo>
                  <a:pt x="291083" y="216407"/>
                </a:lnTo>
                <a:close/>
              </a:path>
              <a:path w="330834" h="245745">
                <a:moveTo>
                  <a:pt x="310133" y="233933"/>
                </a:moveTo>
                <a:lnTo>
                  <a:pt x="307947" y="233978"/>
                </a:lnTo>
                <a:lnTo>
                  <a:pt x="306323" y="236981"/>
                </a:lnTo>
                <a:lnTo>
                  <a:pt x="310133" y="233933"/>
                </a:lnTo>
                <a:close/>
              </a:path>
              <a:path w="330834" h="245745">
                <a:moveTo>
                  <a:pt x="325373" y="221818"/>
                </a:moveTo>
                <a:lnTo>
                  <a:pt x="325373" y="216407"/>
                </a:lnTo>
                <a:lnTo>
                  <a:pt x="317445" y="216407"/>
                </a:lnTo>
                <a:lnTo>
                  <a:pt x="307947" y="233978"/>
                </a:lnTo>
                <a:lnTo>
                  <a:pt x="310133" y="233933"/>
                </a:lnTo>
                <a:lnTo>
                  <a:pt x="310133" y="243839"/>
                </a:lnTo>
                <a:lnTo>
                  <a:pt x="311657" y="243839"/>
                </a:lnTo>
                <a:lnTo>
                  <a:pt x="313181" y="243077"/>
                </a:lnTo>
                <a:lnTo>
                  <a:pt x="314705" y="241553"/>
                </a:lnTo>
                <a:lnTo>
                  <a:pt x="325373" y="221818"/>
                </a:lnTo>
                <a:close/>
              </a:path>
              <a:path w="330834" h="245745">
                <a:moveTo>
                  <a:pt x="325373" y="216407"/>
                </a:moveTo>
                <a:lnTo>
                  <a:pt x="321563" y="208787"/>
                </a:lnTo>
                <a:lnTo>
                  <a:pt x="317445" y="216407"/>
                </a:lnTo>
                <a:lnTo>
                  <a:pt x="325373" y="2164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4" name="object 68"/>
          <p:cNvSpPr/>
          <p:nvPr/>
        </p:nvSpPr>
        <p:spPr>
          <a:xfrm>
            <a:off x="6853789" y="3387918"/>
            <a:ext cx="272309" cy="78441"/>
          </a:xfrm>
          <a:prstGeom prst="rect">
            <a:avLst/>
          </a:prstGeom>
          <a:blipFill>
            <a:blip r:embed="rId4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5" name="object 69"/>
          <p:cNvSpPr/>
          <p:nvPr/>
        </p:nvSpPr>
        <p:spPr>
          <a:xfrm>
            <a:off x="6850769" y="3385435"/>
            <a:ext cx="278936" cy="82956"/>
          </a:xfrm>
          <a:custGeom>
            <a:avLst/>
            <a:gdLst/>
            <a:ahLst/>
            <a:cxnLst/>
            <a:rect l="l" t="t" r="r" b="b"/>
            <a:pathLst>
              <a:path w="422275" h="186689">
                <a:moveTo>
                  <a:pt x="422148" y="182118"/>
                </a:moveTo>
                <a:lnTo>
                  <a:pt x="422148" y="180594"/>
                </a:lnTo>
                <a:lnTo>
                  <a:pt x="420624" y="179070"/>
                </a:lnTo>
                <a:lnTo>
                  <a:pt x="275844" y="1524"/>
                </a:lnTo>
                <a:lnTo>
                  <a:pt x="275082" y="0"/>
                </a:lnTo>
                <a:lnTo>
                  <a:pt x="3048" y="0"/>
                </a:lnTo>
                <a:lnTo>
                  <a:pt x="1524" y="762"/>
                </a:lnTo>
                <a:lnTo>
                  <a:pt x="762" y="3048"/>
                </a:lnTo>
                <a:lnTo>
                  <a:pt x="0" y="4572"/>
                </a:lnTo>
                <a:lnTo>
                  <a:pt x="0" y="6096"/>
                </a:lnTo>
                <a:lnTo>
                  <a:pt x="762" y="7620"/>
                </a:lnTo>
                <a:lnTo>
                  <a:pt x="4572" y="12470"/>
                </a:lnTo>
                <a:lnTo>
                  <a:pt x="4572" y="9906"/>
                </a:lnTo>
                <a:lnTo>
                  <a:pt x="8382" y="1524"/>
                </a:lnTo>
                <a:lnTo>
                  <a:pt x="14906" y="9876"/>
                </a:lnTo>
                <a:lnTo>
                  <a:pt x="268224" y="9154"/>
                </a:lnTo>
                <a:lnTo>
                  <a:pt x="268224" y="7620"/>
                </a:lnTo>
                <a:lnTo>
                  <a:pt x="272034" y="9144"/>
                </a:lnTo>
                <a:lnTo>
                  <a:pt x="272034" y="12267"/>
                </a:lnTo>
                <a:lnTo>
                  <a:pt x="407519" y="177546"/>
                </a:lnTo>
                <a:lnTo>
                  <a:pt x="416814" y="177546"/>
                </a:lnTo>
                <a:lnTo>
                  <a:pt x="416814" y="186690"/>
                </a:lnTo>
                <a:lnTo>
                  <a:pt x="419100" y="186690"/>
                </a:lnTo>
                <a:lnTo>
                  <a:pt x="420624" y="185928"/>
                </a:lnTo>
                <a:lnTo>
                  <a:pt x="421386" y="184404"/>
                </a:lnTo>
                <a:lnTo>
                  <a:pt x="422148" y="182118"/>
                </a:lnTo>
                <a:close/>
              </a:path>
              <a:path w="422275" h="186689">
                <a:moveTo>
                  <a:pt x="14906" y="9876"/>
                </a:moveTo>
                <a:lnTo>
                  <a:pt x="8382" y="1524"/>
                </a:lnTo>
                <a:lnTo>
                  <a:pt x="4572" y="9906"/>
                </a:lnTo>
                <a:lnTo>
                  <a:pt x="14906" y="9876"/>
                </a:lnTo>
                <a:close/>
              </a:path>
              <a:path w="422275" h="186689">
                <a:moveTo>
                  <a:pt x="145875" y="177546"/>
                </a:moveTo>
                <a:lnTo>
                  <a:pt x="14906" y="9876"/>
                </a:lnTo>
                <a:lnTo>
                  <a:pt x="4572" y="9906"/>
                </a:lnTo>
                <a:lnTo>
                  <a:pt x="4572" y="12470"/>
                </a:lnTo>
                <a:lnTo>
                  <a:pt x="140208" y="185166"/>
                </a:lnTo>
                <a:lnTo>
                  <a:pt x="140970" y="185928"/>
                </a:lnTo>
                <a:lnTo>
                  <a:pt x="142494" y="186690"/>
                </a:lnTo>
                <a:lnTo>
                  <a:pt x="143256" y="186690"/>
                </a:lnTo>
                <a:lnTo>
                  <a:pt x="143256" y="177546"/>
                </a:lnTo>
                <a:lnTo>
                  <a:pt x="145875" y="177546"/>
                </a:lnTo>
                <a:close/>
              </a:path>
              <a:path w="422275" h="186689">
                <a:moveTo>
                  <a:pt x="147066" y="179070"/>
                </a:moveTo>
                <a:lnTo>
                  <a:pt x="145875" y="177546"/>
                </a:lnTo>
                <a:lnTo>
                  <a:pt x="143256" y="177546"/>
                </a:lnTo>
                <a:lnTo>
                  <a:pt x="147066" y="179070"/>
                </a:lnTo>
                <a:close/>
              </a:path>
              <a:path w="422275" h="186689">
                <a:moveTo>
                  <a:pt x="147066" y="186690"/>
                </a:moveTo>
                <a:lnTo>
                  <a:pt x="147066" y="179070"/>
                </a:lnTo>
                <a:lnTo>
                  <a:pt x="143256" y="177546"/>
                </a:lnTo>
                <a:lnTo>
                  <a:pt x="143256" y="186690"/>
                </a:lnTo>
                <a:lnTo>
                  <a:pt x="147066" y="186690"/>
                </a:lnTo>
                <a:close/>
              </a:path>
              <a:path w="422275" h="186689">
                <a:moveTo>
                  <a:pt x="416814" y="186690"/>
                </a:moveTo>
                <a:lnTo>
                  <a:pt x="416814" y="177546"/>
                </a:lnTo>
                <a:lnTo>
                  <a:pt x="413766" y="185166"/>
                </a:lnTo>
                <a:lnTo>
                  <a:pt x="407519" y="177546"/>
                </a:lnTo>
                <a:lnTo>
                  <a:pt x="145875" y="177546"/>
                </a:lnTo>
                <a:lnTo>
                  <a:pt x="147066" y="179070"/>
                </a:lnTo>
                <a:lnTo>
                  <a:pt x="147066" y="186690"/>
                </a:lnTo>
                <a:lnTo>
                  <a:pt x="416814" y="186690"/>
                </a:lnTo>
                <a:close/>
              </a:path>
              <a:path w="422275" h="186689">
                <a:moveTo>
                  <a:pt x="272034" y="9144"/>
                </a:moveTo>
                <a:lnTo>
                  <a:pt x="268224" y="7620"/>
                </a:lnTo>
                <a:lnTo>
                  <a:pt x="269479" y="9151"/>
                </a:lnTo>
                <a:lnTo>
                  <a:pt x="272034" y="9144"/>
                </a:lnTo>
                <a:close/>
              </a:path>
              <a:path w="422275" h="186689">
                <a:moveTo>
                  <a:pt x="269479" y="9151"/>
                </a:moveTo>
                <a:lnTo>
                  <a:pt x="268224" y="7620"/>
                </a:lnTo>
                <a:lnTo>
                  <a:pt x="268224" y="9154"/>
                </a:lnTo>
                <a:lnTo>
                  <a:pt x="269479" y="9151"/>
                </a:lnTo>
                <a:close/>
              </a:path>
              <a:path w="422275" h="186689">
                <a:moveTo>
                  <a:pt x="272034" y="12267"/>
                </a:moveTo>
                <a:lnTo>
                  <a:pt x="272034" y="9144"/>
                </a:lnTo>
                <a:lnTo>
                  <a:pt x="269479" y="9151"/>
                </a:lnTo>
                <a:lnTo>
                  <a:pt x="272034" y="12267"/>
                </a:lnTo>
                <a:close/>
              </a:path>
              <a:path w="422275" h="186689">
                <a:moveTo>
                  <a:pt x="416814" y="177546"/>
                </a:moveTo>
                <a:lnTo>
                  <a:pt x="407519" y="177546"/>
                </a:lnTo>
                <a:lnTo>
                  <a:pt x="413766" y="185166"/>
                </a:lnTo>
                <a:lnTo>
                  <a:pt x="416814" y="1775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6" name="object 70"/>
          <p:cNvSpPr/>
          <p:nvPr/>
        </p:nvSpPr>
        <p:spPr>
          <a:xfrm>
            <a:off x="7230290" y="3375391"/>
            <a:ext cx="181195" cy="103836"/>
          </a:xfrm>
          <a:prstGeom prst="rect">
            <a:avLst/>
          </a:prstGeom>
          <a:blipFill>
            <a:blip r:embed="rId4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7" name="object 71"/>
          <p:cNvSpPr/>
          <p:nvPr/>
        </p:nvSpPr>
        <p:spPr>
          <a:xfrm>
            <a:off x="7196558" y="3372570"/>
            <a:ext cx="218115" cy="108914"/>
          </a:xfrm>
          <a:custGeom>
            <a:avLst/>
            <a:gdLst/>
            <a:ahLst/>
            <a:cxnLst/>
            <a:rect l="l" t="t" r="r" b="b"/>
            <a:pathLst>
              <a:path w="330200" h="245110">
                <a:moveTo>
                  <a:pt x="274182" y="221337"/>
                </a:moveTo>
                <a:lnTo>
                  <a:pt x="99822" y="1523"/>
                </a:lnTo>
                <a:lnTo>
                  <a:pt x="99060" y="761"/>
                </a:lnTo>
                <a:lnTo>
                  <a:pt x="97536" y="0"/>
                </a:lnTo>
                <a:lnTo>
                  <a:pt x="17526" y="720"/>
                </a:lnTo>
                <a:lnTo>
                  <a:pt x="10668" y="761"/>
                </a:lnTo>
                <a:lnTo>
                  <a:pt x="9144" y="2285"/>
                </a:lnTo>
                <a:lnTo>
                  <a:pt x="8382" y="3809"/>
                </a:lnTo>
                <a:lnTo>
                  <a:pt x="0" y="28193"/>
                </a:lnTo>
                <a:lnTo>
                  <a:pt x="0" y="31241"/>
                </a:lnTo>
                <a:lnTo>
                  <a:pt x="762" y="32765"/>
                </a:lnTo>
                <a:lnTo>
                  <a:pt x="1524" y="33527"/>
                </a:lnTo>
                <a:lnTo>
                  <a:pt x="3048" y="34289"/>
                </a:lnTo>
                <a:lnTo>
                  <a:pt x="4572" y="34289"/>
                </a:lnTo>
                <a:lnTo>
                  <a:pt x="4572" y="25145"/>
                </a:lnTo>
                <a:lnTo>
                  <a:pt x="11239" y="25145"/>
                </a:lnTo>
                <a:lnTo>
                  <a:pt x="12954" y="20158"/>
                </a:lnTo>
                <a:lnTo>
                  <a:pt x="12954" y="9905"/>
                </a:lnTo>
                <a:lnTo>
                  <a:pt x="17526" y="6857"/>
                </a:lnTo>
                <a:lnTo>
                  <a:pt x="17526" y="9864"/>
                </a:lnTo>
                <a:lnTo>
                  <a:pt x="44417" y="9617"/>
                </a:lnTo>
                <a:lnTo>
                  <a:pt x="45720" y="4571"/>
                </a:lnTo>
                <a:lnTo>
                  <a:pt x="46482" y="3047"/>
                </a:lnTo>
                <a:lnTo>
                  <a:pt x="48006" y="1523"/>
                </a:lnTo>
                <a:lnTo>
                  <a:pt x="49530" y="761"/>
                </a:lnTo>
                <a:lnTo>
                  <a:pt x="51054" y="761"/>
                </a:lnTo>
                <a:lnTo>
                  <a:pt x="53340" y="1523"/>
                </a:lnTo>
                <a:lnTo>
                  <a:pt x="54102" y="3047"/>
                </a:lnTo>
                <a:lnTo>
                  <a:pt x="59173" y="9481"/>
                </a:lnTo>
                <a:lnTo>
                  <a:pt x="92964" y="9171"/>
                </a:lnTo>
                <a:lnTo>
                  <a:pt x="92964" y="7619"/>
                </a:lnTo>
                <a:lnTo>
                  <a:pt x="96012" y="9143"/>
                </a:lnTo>
                <a:lnTo>
                  <a:pt x="96012" y="11479"/>
                </a:lnTo>
                <a:lnTo>
                  <a:pt x="270510" y="232409"/>
                </a:lnTo>
                <a:lnTo>
                  <a:pt x="270510" y="227075"/>
                </a:lnTo>
                <a:lnTo>
                  <a:pt x="274182" y="221337"/>
                </a:lnTo>
                <a:close/>
              </a:path>
              <a:path w="330200" h="245110">
                <a:moveTo>
                  <a:pt x="11239" y="25145"/>
                </a:moveTo>
                <a:lnTo>
                  <a:pt x="4572" y="25145"/>
                </a:lnTo>
                <a:lnTo>
                  <a:pt x="9144" y="31241"/>
                </a:lnTo>
                <a:lnTo>
                  <a:pt x="11239" y="25145"/>
                </a:lnTo>
                <a:close/>
              </a:path>
              <a:path w="330200" h="245110">
                <a:moveTo>
                  <a:pt x="40410" y="25145"/>
                </a:moveTo>
                <a:lnTo>
                  <a:pt x="11239" y="25145"/>
                </a:lnTo>
                <a:lnTo>
                  <a:pt x="9144" y="31241"/>
                </a:lnTo>
                <a:lnTo>
                  <a:pt x="4572" y="25145"/>
                </a:lnTo>
                <a:lnTo>
                  <a:pt x="4572" y="34289"/>
                </a:lnTo>
                <a:lnTo>
                  <a:pt x="39624" y="34289"/>
                </a:lnTo>
                <a:lnTo>
                  <a:pt x="39624" y="28193"/>
                </a:lnTo>
                <a:lnTo>
                  <a:pt x="40410" y="25145"/>
                </a:lnTo>
                <a:close/>
              </a:path>
              <a:path w="330200" h="245110">
                <a:moveTo>
                  <a:pt x="17526" y="6857"/>
                </a:moveTo>
                <a:lnTo>
                  <a:pt x="12954" y="9905"/>
                </a:lnTo>
                <a:lnTo>
                  <a:pt x="16489" y="9873"/>
                </a:lnTo>
                <a:lnTo>
                  <a:pt x="17526" y="6857"/>
                </a:lnTo>
                <a:close/>
              </a:path>
              <a:path w="330200" h="245110">
                <a:moveTo>
                  <a:pt x="16489" y="9873"/>
                </a:moveTo>
                <a:lnTo>
                  <a:pt x="12954" y="9905"/>
                </a:lnTo>
                <a:lnTo>
                  <a:pt x="12954" y="20158"/>
                </a:lnTo>
                <a:lnTo>
                  <a:pt x="16489" y="9873"/>
                </a:lnTo>
                <a:close/>
              </a:path>
              <a:path w="330200" h="245110">
                <a:moveTo>
                  <a:pt x="17526" y="9864"/>
                </a:moveTo>
                <a:lnTo>
                  <a:pt x="17526" y="6857"/>
                </a:lnTo>
                <a:lnTo>
                  <a:pt x="16489" y="9873"/>
                </a:lnTo>
                <a:lnTo>
                  <a:pt x="17526" y="9864"/>
                </a:lnTo>
                <a:close/>
              </a:path>
              <a:path w="330200" h="245110">
                <a:moveTo>
                  <a:pt x="44196" y="25145"/>
                </a:moveTo>
                <a:lnTo>
                  <a:pt x="40410" y="25145"/>
                </a:lnTo>
                <a:lnTo>
                  <a:pt x="39624" y="28193"/>
                </a:lnTo>
                <a:lnTo>
                  <a:pt x="44196" y="25145"/>
                </a:lnTo>
                <a:close/>
              </a:path>
              <a:path w="330200" h="245110">
                <a:moveTo>
                  <a:pt x="44196" y="34289"/>
                </a:moveTo>
                <a:lnTo>
                  <a:pt x="44196" y="25145"/>
                </a:lnTo>
                <a:lnTo>
                  <a:pt x="39624" y="28193"/>
                </a:lnTo>
                <a:lnTo>
                  <a:pt x="39624" y="34289"/>
                </a:lnTo>
                <a:lnTo>
                  <a:pt x="44196" y="34289"/>
                </a:lnTo>
                <a:close/>
              </a:path>
              <a:path w="330200" h="245110">
                <a:moveTo>
                  <a:pt x="52551" y="16107"/>
                </a:moveTo>
                <a:lnTo>
                  <a:pt x="47430" y="9589"/>
                </a:lnTo>
                <a:lnTo>
                  <a:pt x="44417" y="9617"/>
                </a:lnTo>
                <a:lnTo>
                  <a:pt x="40410" y="25145"/>
                </a:lnTo>
                <a:lnTo>
                  <a:pt x="44196" y="25145"/>
                </a:lnTo>
                <a:lnTo>
                  <a:pt x="44196" y="34289"/>
                </a:lnTo>
                <a:lnTo>
                  <a:pt x="46482" y="34289"/>
                </a:lnTo>
                <a:lnTo>
                  <a:pt x="48006" y="32765"/>
                </a:lnTo>
                <a:lnTo>
                  <a:pt x="48768" y="31241"/>
                </a:lnTo>
                <a:lnTo>
                  <a:pt x="52551" y="16107"/>
                </a:lnTo>
                <a:close/>
              </a:path>
              <a:path w="330200" h="245110">
                <a:moveTo>
                  <a:pt x="59173" y="9481"/>
                </a:moveTo>
                <a:lnTo>
                  <a:pt x="54102" y="3047"/>
                </a:lnTo>
                <a:lnTo>
                  <a:pt x="53340" y="1523"/>
                </a:lnTo>
                <a:lnTo>
                  <a:pt x="51054" y="761"/>
                </a:lnTo>
                <a:lnTo>
                  <a:pt x="44417" y="9617"/>
                </a:lnTo>
                <a:lnTo>
                  <a:pt x="46482" y="9598"/>
                </a:lnTo>
                <a:lnTo>
                  <a:pt x="46482" y="8381"/>
                </a:lnTo>
                <a:lnTo>
                  <a:pt x="54864" y="6857"/>
                </a:lnTo>
                <a:lnTo>
                  <a:pt x="54864" y="9521"/>
                </a:lnTo>
                <a:lnTo>
                  <a:pt x="59173" y="9481"/>
                </a:lnTo>
                <a:close/>
              </a:path>
              <a:path w="330200" h="245110">
                <a:moveTo>
                  <a:pt x="54864" y="6857"/>
                </a:moveTo>
                <a:lnTo>
                  <a:pt x="46482" y="8381"/>
                </a:lnTo>
                <a:lnTo>
                  <a:pt x="47430" y="9589"/>
                </a:lnTo>
                <a:lnTo>
                  <a:pt x="54196" y="9527"/>
                </a:lnTo>
                <a:lnTo>
                  <a:pt x="54864" y="6857"/>
                </a:lnTo>
                <a:close/>
              </a:path>
              <a:path w="330200" h="245110">
                <a:moveTo>
                  <a:pt x="47430" y="9589"/>
                </a:moveTo>
                <a:lnTo>
                  <a:pt x="46482" y="8381"/>
                </a:lnTo>
                <a:lnTo>
                  <a:pt x="46482" y="9598"/>
                </a:lnTo>
                <a:lnTo>
                  <a:pt x="47430" y="9589"/>
                </a:lnTo>
                <a:close/>
              </a:path>
              <a:path w="330200" h="245110">
                <a:moveTo>
                  <a:pt x="54196" y="9527"/>
                </a:moveTo>
                <a:lnTo>
                  <a:pt x="47430" y="9589"/>
                </a:lnTo>
                <a:lnTo>
                  <a:pt x="52551" y="16107"/>
                </a:lnTo>
                <a:lnTo>
                  <a:pt x="54196" y="9527"/>
                </a:lnTo>
                <a:close/>
              </a:path>
              <a:path w="330200" h="245110">
                <a:moveTo>
                  <a:pt x="237263" y="235406"/>
                </a:moveTo>
                <a:lnTo>
                  <a:pt x="59173" y="9481"/>
                </a:lnTo>
                <a:lnTo>
                  <a:pt x="54196" y="9527"/>
                </a:lnTo>
                <a:lnTo>
                  <a:pt x="52551" y="16107"/>
                </a:lnTo>
                <a:lnTo>
                  <a:pt x="230886" y="243077"/>
                </a:lnTo>
                <a:lnTo>
                  <a:pt x="231648" y="243839"/>
                </a:lnTo>
                <a:lnTo>
                  <a:pt x="233172" y="244601"/>
                </a:lnTo>
                <a:lnTo>
                  <a:pt x="234696" y="244601"/>
                </a:lnTo>
                <a:lnTo>
                  <a:pt x="234696" y="235457"/>
                </a:lnTo>
                <a:lnTo>
                  <a:pt x="237263" y="235406"/>
                </a:lnTo>
                <a:close/>
              </a:path>
              <a:path w="330200" h="245110">
                <a:moveTo>
                  <a:pt x="54864" y="9521"/>
                </a:moveTo>
                <a:lnTo>
                  <a:pt x="54864" y="6857"/>
                </a:lnTo>
                <a:lnTo>
                  <a:pt x="54196" y="9527"/>
                </a:lnTo>
                <a:lnTo>
                  <a:pt x="54864" y="9521"/>
                </a:lnTo>
                <a:close/>
              </a:path>
              <a:path w="330200" h="245110">
                <a:moveTo>
                  <a:pt x="96012" y="9143"/>
                </a:moveTo>
                <a:lnTo>
                  <a:pt x="92964" y="7619"/>
                </a:lnTo>
                <a:lnTo>
                  <a:pt x="94180" y="9160"/>
                </a:lnTo>
                <a:lnTo>
                  <a:pt x="96012" y="9143"/>
                </a:lnTo>
                <a:close/>
              </a:path>
              <a:path w="330200" h="245110">
                <a:moveTo>
                  <a:pt x="94180" y="9160"/>
                </a:moveTo>
                <a:lnTo>
                  <a:pt x="92964" y="7619"/>
                </a:lnTo>
                <a:lnTo>
                  <a:pt x="92964" y="9171"/>
                </a:lnTo>
                <a:lnTo>
                  <a:pt x="94180" y="9160"/>
                </a:lnTo>
                <a:close/>
              </a:path>
              <a:path w="330200" h="245110">
                <a:moveTo>
                  <a:pt x="96012" y="11479"/>
                </a:moveTo>
                <a:lnTo>
                  <a:pt x="96012" y="9143"/>
                </a:lnTo>
                <a:lnTo>
                  <a:pt x="94180" y="9160"/>
                </a:lnTo>
                <a:lnTo>
                  <a:pt x="96012" y="11479"/>
                </a:lnTo>
                <a:close/>
              </a:path>
              <a:path w="330200" h="245110">
                <a:moveTo>
                  <a:pt x="238506" y="236981"/>
                </a:moveTo>
                <a:lnTo>
                  <a:pt x="237263" y="235406"/>
                </a:lnTo>
                <a:lnTo>
                  <a:pt x="234696" y="235457"/>
                </a:lnTo>
                <a:lnTo>
                  <a:pt x="238506" y="236981"/>
                </a:lnTo>
                <a:close/>
              </a:path>
              <a:path w="330200" h="245110">
                <a:moveTo>
                  <a:pt x="238506" y="244525"/>
                </a:moveTo>
                <a:lnTo>
                  <a:pt x="238506" y="236981"/>
                </a:lnTo>
                <a:lnTo>
                  <a:pt x="234696" y="235457"/>
                </a:lnTo>
                <a:lnTo>
                  <a:pt x="234696" y="244601"/>
                </a:lnTo>
                <a:lnTo>
                  <a:pt x="238506" y="244525"/>
                </a:lnTo>
                <a:close/>
              </a:path>
              <a:path w="330200" h="245110">
                <a:moveTo>
                  <a:pt x="310134" y="243077"/>
                </a:moveTo>
                <a:lnTo>
                  <a:pt x="310134" y="233933"/>
                </a:lnTo>
                <a:lnTo>
                  <a:pt x="305562" y="236219"/>
                </a:lnTo>
                <a:lnTo>
                  <a:pt x="305562" y="234026"/>
                </a:lnTo>
                <a:lnTo>
                  <a:pt x="237263" y="235406"/>
                </a:lnTo>
                <a:lnTo>
                  <a:pt x="238506" y="236981"/>
                </a:lnTo>
                <a:lnTo>
                  <a:pt x="238506" y="244525"/>
                </a:lnTo>
                <a:lnTo>
                  <a:pt x="305562" y="243170"/>
                </a:lnTo>
                <a:lnTo>
                  <a:pt x="305562" y="236219"/>
                </a:lnTo>
                <a:lnTo>
                  <a:pt x="306794" y="234001"/>
                </a:lnTo>
                <a:lnTo>
                  <a:pt x="306794" y="243145"/>
                </a:lnTo>
                <a:lnTo>
                  <a:pt x="310134" y="243077"/>
                </a:lnTo>
                <a:close/>
              </a:path>
              <a:path w="330200" h="245110">
                <a:moveTo>
                  <a:pt x="278130" y="226313"/>
                </a:moveTo>
                <a:lnTo>
                  <a:pt x="274182" y="221337"/>
                </a:lnTo>
                <a:lnTo>
                  <a:pt x="270510" y="227075"/>
                </a:lnTo>
                <a:lnTo>
                  <a:pt x="278130" y="226313"/>
                </a:lnTo>
                <a:close/>
              </a:path>
              <a:path w="330200" h="245110">
                <a:moveTo>
                  <a:pt x="278130" y="232409"/>
                </a:moveTo>
                <a:lnTo>
                  <a:pt x="278130" y="226313"/>
                </a:lnTo>
                <a:lnTo>
                  <a:pt x="270510" y="227075"/>
                </a:lnTo>
                <a:lnTo>
                  <a:pt x="270510" y="232409"/>
                </a:lnTo>
                <a:lnTo>
                  <a:pt x="271272" y="233933"/>
                </a:lnTo>
                <a:lnTo>
                  <a:pt x="272781" y="234688"/>
                </a:lnTo>
                <a:lnTo>
                  <a:pt x="275988" y="234623"/>
                </a:lnTo>
                <a:lnTo>
                  <a:pt x="277368" y="233933"/>
                </a:lnTo>
                <a:lnTo>
                  <a:pt x="278130" y="232409"/>
                </a:lnTo>
                <a:close/>
              </a:path>
              <a:path w="330200" h="245110">
                <a:moveTo>
                  <a:pt x="329946" y="211835"/>
                </a:moveTo>
                <a:lnTo>
                  <a:pt x="329946" y="210311"/>
                </a:lnTo>
                <a:lnTo>
                  <a:pt x="328422" y="207263"/>
                </a:lnTo>
                <a:lnTo>
                  <a:pt x="326898" y="206501"/>
                </a:lnTo>
                <a:lnTo>
                  <a:pt x="284988" y="206501"/>
                </a:lnTo>
                <a:lnTo>
                  <a:pt x="283464" y="207263"/>
                </a:lnTo>
                <a:lnTo>
                  <a:pt x="282702" y="208025"/>
                </a:lnTo>
                <a:lnTo>
                  <a:pt x="274182" y="221337"/>
                </a:lnTo>
                <a:lnTo>
                  <a:pt x="278130" y="226313"/>
                </a:lnTo>
                <a:lnTo>
                  <a:pt x="278130" y="232409"/>
                </a:lnTo>
                <a:lnTo>
                  <a:pt x="287274" y="218962"/>
                </a:lnTo>
                <a:lnTo>
                  <a:pt x="287274" y="215645"/>
                </a:lnTo>
                <a:lnTo>
                  <a:pt x="291084" y="213359"/>
                </a:lnTo>
                <a:lnTo>
                  <a:pt x="291084" y="215645"/>
                </a:lnTo>
                <a:lnTo>
                  <a:pt x="316992" y="215645"/>
                </a:lnTo>
                <a:lnTo>
                  <a:pt x="320802" y="208787"/>
                </a:lnTo>
                <a:lnTo>
                  <a:pt x="325374" y="215645"/>
                </a:lnTo>
                <a:lnTo>
                  <a:pt x="325374" y="220217"/>
                </a:lnTo>
                <a:lnTo>
                  <a:pt x="329184" y="213359"/>
                </a:lnTo>
                <a:lnTo>
                  <a:pt x="329946" y="211835"/>
                </a:lnTo>
                <a:close/>
              </a:path>
              <a:path w="330200" h="245110">
                <a:moveTo>
                  <a:pt x="291084" y="213359"/>
                </a:moveTo>
                <a:lnTo>
                  <a:pt x="287274" y="215645"/>
                </a:lnTo>
                <a:lnTo>
                  <a:pt x="289529" y="215645"/>
                </a:lnTo>
                <a:lnTo>
                  <a:pt x="291084" y="213359"/>
                </a:lnTo>
                <a:close/>
              </a:path>
              <a:path w="330200" h="245110">
                <a:moveTo>
                  <a:pt x="289529" y="215645"/>
                </a:moveTo>
                <a:lnTo>
                  <a:pt x="287274" y="215645"/>
                </a:lnTo>
                <a:lnTo>
                  <a:pt x="287274" y="218962"/>
                </a:lnTo>
                <a:lnTo>
                  <a:pt x="289529" y="215645"/>
                </a:lnTo>
                <a:close/>
              </a:path>
              <a:path w="330200" h="245110">
                <a:moveTo>
                  <a:pt x="291084" y="215645"/>
                </a:moveTo>
                <a:lnTo>
                  <a:pt x="291084" y="213359"/>
                </a:lnTo>
                <a:lnTo>
                  <a:pt x="289529" y="215645"/>
                </a:lnTo>
                <a:lnTo>
                  <a:pt x="291084" y="215645"/>
                </a:lnTo>
                <a:close/>
              </a:path>
              <a:path w="330200" h="245110">
                <a:moveTo>
                  <a:pt x="310134" y="233933"/>
                </a:moveTo>
                <a:lnTo>
                  <a:pt x="306794" y="234001"/>
                </a:lnTo>
                <a:lnTo>
                  <a:pt x="305562" y="236219"/>
                </a:lnTo>
                <a:lnTo>
                  <a:pt x="310134" y="233933"/>
                </a:lnTo>
                <a:close/>
              </a:path>
              <a:path w="330200" h="245110">
                <a:moveTo>
                  <a:pt x="325374" y="220217"/>
                </a:moveTo>
                <a:lnTo>
                  <a:pt x="325374" y="215645"/>
                </a:lnTo>
                <a:lnTo>
                  <a:pt x="316992" y="215645"/>
                </a:lnTo>
                <a:lnTo>
                  <a:pt x="306794" y="234001"/>
                </a:lnTo>
                <a:lnTo>
                  <a:pt x="310134" y="233933"/>
                </a:lnTo>
                <a:lnTo>
                  <a:pt x="310134" y="243077"/>
                </a:lnTo>
                <a:lnTo>
                  <a:pt x="311658" y="243077"/>
                </a:lnTo>
                <a:lnTo>
                  <a:pt x="313182" y="242315"/>
                </a:lnTo>
                <a:lnTo>
                  <a:pt x="313944" y="240791"/>
                </a:lnTo>
                <a:lnTo>
                  <a:pt x="325374" y="220217"/>
                </a:lnTo>
                <a:close/>
              </a:path>
              <a:path w="330200" h="245110">
                <a:moveTo>
                  <a:pt x="325374" y="215645"/>
                </a:moveTo>
                <a:lnTo>
                  <a:pt x="320802" y="208787"/>
                </a:lnTo>
                <a:lnTo>
                  <a:pt x="316992" y="215645"/>
                </a:lnTo>
                <a:lnTo>
                  <a:pt x="325374" y="2156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8" name="object 72"/>
          <p:cNvSpPr/>
          <p:nvPr/>
        </p:nvSpPr>
        <p:spPr>
          <a:xfrm>
            <a:off x="7064187" y="3387918"/>
            <a:ext cx="272309" cy="78441"/>
          </a:xfrm>
          <a:prstGeom prst="rect">
            <a:avLst/>
          </a:prstGeom>
          <a:blipFill>
            <a:blip r:embed="rId5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9" name="object 73"/>
          <p:cNvSpPr/>
          <p:nvPr/>
        </p:nvSpPr>
        <p:spPr>
          <a:xfrm>
            <a:off x="7060663" y="3385435"/>
            <a:ext cx="278936" cy="82956"/>
          </a:xfrm>
          <a:custGeom>
            <a:avLst/>
            <a:gdLst/>
            <a:ahLst/>
            <a:cxnLst/>
            <a:rect l="l" t="t" r="r" b="b"/>
            <a:pathLst>
              <a:path w="422275" h="186689">
                <a:moveTo>
                  <a:pt x="422147" y="182118"/>
                </a:moveTo>
                <a:lnTo>
                  <a:pt x="422147" y="180594"/>
                </a:lnTo>
                <a:lnTo>
                  <a:pt x="421385" y="179070"/>
                </a:lnTo>
                <a:lnTo>
                  <a:pt x="275843" y="1524"/>
                </a:lnTo>
                <a:lnTo>
                  <a:pt x="275081" y="0"/>
                </a:lnTo>
                <a:lnTo>
                  <a:pt x="3047" y="0"/>
                </a:lnTo>
                <a:lnTo>
                  <a:pt x="1523" y="762"/>
                </a:lnTo>
                <a:lnTo>
                  <a:pt x="761" y="3048"/>
                </a:lnTo>
                <a:lnTo>
                  <a:pt x="0" y="4572"/>
                </a:lnTo>
                <a:lnTo>
                  <a:pt x="0" y="6096"/>
                </a:lnTo>
                <a:lnTo>
                  <a:pt x="1523" y="7620"/>
                </a:lnTo>
                <a:lnTo>
                  <a:pt x="5333" y="12497"/>
                </a:lnTo>
                <a:lnTo>
                  <a:pt x="5333" y="9906"/>
                </a:lnTo>
                <a:lnTo>
                  <a:pt x="9143" y="1524"/>
                </a:lnTo>
                <a:lnTo>
                  <a:pt x="15668" y="9876"/>
                </a:lnTo>
                <a:lnTo>
                  <a:pt x="268985" y="9152"/>
                </a:lnTo>
                <a:lnTo>
                  <a:pt x="268985" y="7620"/>
                </a:lnTo>
                <a:lnTo>
                  <a:pt x="272033" y="9144"/>
                </a:lnTo>
                <a:lnTo>
                  <a:pt x="272033" y="11357"/>
                </a:lnTo>
                <a:lnTo>
                  <a:pt x="407552" y="177546"/>
                </a:lnTo>
                <a:lnTo>
                  <a:pt x="417575" y="177546"/>
                </a:lnTo>
                <a:lnTo>
                  <a:pt x="417575" y="186690"/>
                </a:lnTo>
                <a:lnTo>
                  <a:pt x="419099" y="186690"/>
                </a:lnTo>
                <a:lnTo>
                  <a:pt x="420623" y="185928"/>
                </a:lnTo>
                <a:lnTo>
                  <a:pt x="421385" y="184404"/>
                </a:lnTo>
                <a:lnTo>
                  <a:pt x="422147" y="182118"/>
                </a:lnTo>
                <a:close/>
              </a:path>
              <a:path w="422275" h="186689">
                <a:moveTo>
                  <a:pt x="15668" y="9876"/>
                </a:moveTo>
                <a:lnTo>
                  <a:pt x="9143" y="1524"/>
                </a:lnTo>
                <a:lnTo>
                  <a:pt x="5333" y="9906"/>
                </a:lnTo>
                <a:lnTo>
                  <a:pt x="15668" y="9876"/>
                </a:lnTo>
                <a:close/>
              </a:path>
              <a:path w="422275" h="186689">
                <a:moveTo>
                  <a:pt x="146637" y="177546"/>
                </a:moveTo>
                <a:lnTo>
                  <a:pt x="15668" y="9876"/>
                </a:lnTo>
                <a:lnTo>
                  <a:pt x="5333" y="9906"/>
                </a:lnTo>
                <a:lnTo>
                  <a:pt x="5333" y="12497"/>
                </a:lnTo>
                <a:lnTo>
                  <a:pt x="140207" y="185166"/>
                </a:lnTo>
                <a:lnTo>
                  <a:pt x="140969" y="185928"/>
                </a:lnTo>
                <a:lnTo>
                  <a:pt x="142493" y="186690"/>
                </a:lnTo>
                <a:lnTo>
                  <a:pt x="144017" y="186690"/>
                </a:lnTo>
                <a:lnTo>
                  <a:pt x="144017" y="177546"/>
                </a:lnTo>
                <a:lnTo>
                  <a:pt x="146637" y="177546"/>
                </a:lnTo>
                <a:close/>
              </a:path>
              <a:path w="422275" h="186689">
                <a:moveTo>
                  <a:pt x="147827" y="179070"/>
                </a:moveTo>
                <a:lnTo>
                  <a:pt x="146637" y="177546"/>
                </a:lnTo>
                <a:lnTo>
                  <a:pt x="144017" y="177546"/>
                </a:lnTo>
                <a:lnTo>
                  <a:pt x="147827" y="179070"/>
                </a:lnTo>
                <a:close/>
              </a:path>
              <a:path w="422275" h="186689">
                <a:moveTo>
                  <a:pt x="147827" y="186690"/>
                </a:moveTo>
                <a:lnTo>
                  <a:pt x="147827" y="179070"/>
                </a:lnTo>
                <a:lnTo>
                  <a:pt x="144017" y="177546"/>
                </a:lnTo>
                <a:lnTo>
                  <a:pt x="144017" y="186690"/>
                </a:lnTo>
                <a:lnTo>
                  <a:pt x="147827" y="186690"/>
                </a:lnTo>
                <a:close/>
              </a:path>
              <a:path w="422275" h="186689">
                <a:moveTo>
                  <a:pt x="417575" y="186690"/>
                </a:moveTo>
                <a:lnTo>
                  <a:pt x="417575" y="177546"/>
                </a:lnTo>
                <a:lnTo>
                  <a:pt x="413765" y="185166"/>
                </a:lnTo>
                <a:lnTo>
                  <a:pt x="407552" y="177546"/>
                </a:lnTo>
                <a:lnTo>
                  <a:pt x="146637" y="177546"/>
                </a:lnTo>
                <a:lnTo>
                  <a:pt x="147827" y="179070"/>
                </a:lnTo>
                <a:lnTo>
                  <a:pt x="147827" y="186690"/>
                </a:lnTo>
                <a:lnTo>
                  <a:pt x="417575" y="186690"/>
                </a:lnTo>
                <a:close/>
              </a:path>
              <a:path w="422275" h="186689">
                <a:moveTo>
                  <a:pt x="272033" y="9144"/>
                </a:moveTo>
                <a:lnTo>
                  <a:pt x="268985" y="7620"/>
                </a:lnTo>
                <a:lnTo>
                  <a:pt x="270232" y="9149"/>
                </a:lnTo>
                <a:lnTo>
                  <a:pt x="272033" y="9144"/>
                </a:lnTo>
                <a:close/>
              </a:path>
              <a:path w="422275" h="186689">
                <a:moveTo>
                  <a:pt x="270232" y="9149"/>
                </a:moveTo>
                <a:lnTo>
                  <a:pt x="268985" y="7620"/>
                </a:lnTo>
                <a:lnTo>
                  <a:pt x="268985" y="9152"/>
                </a:lnTo>
                <a:lnTo>
                  <a:pt x="270232" y="9149"/>
                </a:lnTo>
                <a:close/>
              </a:path>
              <a:path w="422275" h="186689">
                <a:moveTo>
                  <a:pt x="272033" y="11357"/>
                </a:moveTo>
                <a:lnTo>
                  <a:pt x="272033" y="9144"/>
                </a:lnTo>
                <a:lnTo>
                  <a:pt x="270232" y="9149"/>
                </a:lnTo>
                <a:lnTo>
                  <a:pt x="272033" y="11357"/>
                </a:lnTo>
                <a:close/>
              </a:path>
              <a:path w="422275" h="186689">
                <a:moveTo>
                  <a:pt x="417575" y="177546"/>
                </a:moveTo>
                <a:lnTo>
                  <a:pt x="407552" y="177546"/>
                </a:lnTo>
                <a:lnTo>
                  <a:pt x="413765" y="185166"/>
                </a:lnTo>
                <a:lnTo>
                  <a:pt x="417575" y="1775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0" name="object 74"/>
          <p:cNvSpPr/>
          <p:nvPr/>
        </p:nvSpPr>
        <p:spPr>
          <a:xfrm>
            <a:off x="7441190" y="3375391"/>
            <a:ext cx="181195" cy="103836"/>
          </a:xfrm>
          <a:prstGeom prst="rect">
            <a:avLst/>
          </a:prstGeom>
          <a:blipFill>
            <a:blip r:embed="rId5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1" name="object 75"/>
          <p:cNvSpPr/>
          <p:nvPr/>
        </p:nvSpPr>
        <p:spPr>
          <a:xfrm>
            <a:off x="7407459" y="3372570"/>
            <a:ext cx="218115" cy="108914"/>
          </a:xfrm>
          <a:custGeom>
            <a:avLst/>
            <a:gdLst/>
            <a:ahLst/>
            <a:cxnLst/>
            <a:rect l="l" t="t" r="r" b="b"/>
            <a:pathLst>
              <a:path w="330200" h="245110">
                <a:moveTo>
                  <a:pt x="274313" y="221482"/>
                </a:moveTo>
                <a:lnTo>
                  <a:pt x="100583" y="1523"/>
                </a:lnTo>
                <a:lnTo>
                  <a:pt x="97535" y="0"/>
                </a:lnTo>
                <a:lnTo>
                  <a:pt x="17525" y="720"/>
                </a:lnTo>
                <a:lnTo>
                  <a:pt x="10667" y="761"/>
                </a:lnTo>
                <a:lnTo>
                  <a:pt x="9143" y="2285"/>
                </a:lnTo>
                <a:lnTo>
                  <a:pt x="8381" y="3809"/>
                </a:lnTo>
                <a:lnTo>
                  <a:pt x="761" y="28193"/>
                </a:lnTo>
                <a:lnTo>
                  <a:pt x="0" y="29717"/>
                </a:lnTo>
                <a:lnTo>
                  <a:pt x="0" y="31241"/>
                </a:lnTo>
                <a:lnTo>
                  <a:pt x="2285" y="33527"/>
                </a:lnTo>
                <a:lnTo>
                  <a:pt x="3809" y="34289"/>
                </a:lnTo>
                <a:lnTo>
                  <a:pt x="5333" y="34289"/>
                </a:lnTo>
                <a:lnTo>
                  <a:pt x="5333" y="25145"/>
                </a:lnTo>
                <a:lnTo>
                  <a:pt x="11810" y="25145"/>
                </a:lnTo>
                <a:lnTo>
                  <a:pt x="12953" y="21488"/>
                </a:lnTo>
                <a:lnTo>
                  <a:pt x="12953" y="9905"/>
                </a:lnTo>
                <a:lnTo>
                  <a:pt x="17525" y="6857"/>
                </a:lnTo>
                <a:lnTo>
                  <a:pt x="17525" y="9864"/>
                </a:lnTo>
                <a:lnTo>
                  <a:pt x="44417" y="9619"/>
                </a:lnTo>
                <a:lnTo>
                  <a:pt x="45719" y="4571"/>
                </a:lnTo>
                <a:lnTo>
                  <a:pt x="46481" y="3047"/>
                </a:lnTo>
                <a:lnTo>
                  <a:pt x="48005" y="1523"/>
                </a:lnTo>
                <a:lnTo>
                  <a:pt x="49529" y="761"/>
                </a:lnTo>
                <a:lnTo>
                  <a:pt x="51053" y="761"/>
                </a:lnTo>
                <a:lnTo>
                  <a:pt x="53339" y="1523"/>
                </a:lnTo>
                <a:lnTo>
                  <a:pt x="54101" y="3047"/>
                </a:lnTo>
                <a:lnTo>
                  <a:pt x="59176" y="9485"/>
                </a:lnTo>
                <a:lnTo>
                  <a:pt x="92963" y="9178"/>
                </a:lnTo>
                <a:lnTo>
                  <a:pt x="92963" y="7619"/>
                </a:lnTo>
                <a:lnTo>
                  <a:pt x="96773" y="9143"/>
                </a:lnTo>
                <a:lnTo>
                  <a:pt x="96773" y="12443"/>
                </a:lnTo>
                <a:lnTo>
                  <a:pt x="270509" y="232409"/>
                </a:lnTo>
                <a:lnTo>
                  <a:pt x="270509" y="227075"/>
                </a:lnTo>
                <a:lnTo>
                  <a:pt x="274313" y="221482"/>
                </a:lnTo>
                <a:close/>
              </a:path>
              <a:path w="330200" h="245110">
                <a:moveTo>
                  <a:pt x="11810" y="25145"/>
                </a:moveTo>
                <a:lnTo>
                  <a:pt x="5333" y="25145"/>
                </a:lnTo>
                <a:lnTo>
                  <a:pt x="9905" y="31241"/>
                </a:lnTo>
                <a:lnTo>
                  <a:pt x="11810" y="25145"/>
                </a:lnTo>
                <a:close/>
              </a:path>
              <a:path w="330200" h="245110">
                <a:moveTo>
                  <a:pt x="40410" y="25145"/>
                </a:moveTo>
                <a:lnTo>
                  <a:pt x="11810" y="25145"/>
                </a:lnTo>
                <a:lnTo>
                  <a:pt x="9905" y="31241"/>
                </a:lnTo>
                <a:lnTo>
                  <a:pt x="5333" y="25145"/>
                </a:lnTo>
                <a:lnTo>
                  <a:pt x="5333" y="34289"/>
                </a:lnTo>
                <a:lnTo>
                  <a:pt x="39623" y="34289"/>
                </a:lnTo>
                <a:lnTo>
                  <a:pt x="39623" y="28193"/>
                </a:lnTo>
                <a:lnTo>
                  <a:pt x="40410" y="25145"/>
                </a:lnTo>
                <a:close/>
              </a:path>
              <a:path w="330200" h="245110">
                <a:moveTo>
                  <a:pt x="17525" y="6857"/>
                </a:moveTo>
                <a:lnTo>
                  <a:pt x="12953" y="9905"/>
                </a:lnTo>
                <a:lnTo>
                  <a:pt x="16583" y="9873"/>
                </a:lnTo>
                <a:lnTo>
                  <a:pt x="17525" y="6857"/>
                </a:lnTo>
                <a:close/>
              </a:path>
              <a:path w="330200" h="245110">
                <a:moveTo>
                  <a:pt x="16583" y="9873"/>
                </a:moveTo>
                <a:lnTo>
                  <a:pt x="12953" y="9905"/>
                </a:lnTo>
                <a:lnTo>
                  <a:pt x="12953" y="21488"/>
                </a:lnTo>
                <a:lnTo>
                  <a:pt x="16583" y="9873"/>
                </a:lnTo>
                <a:close/>
              </a:path>
              <a:path w="330200" h="245110">
                <a:moveTo>
                  <a:pt x="17525" y="9864"/>
                </a:moveTo>
                <a:lnTo>
                  <a:pt x="17525" y="6857"/>
                </a:lnTo>
                <a:lnTo>
                  <a:pt x="16583" y="9873"/>
                </a:lnTo>
                <a:lnTo>
                  <a:pt x="17525" y="9864"/>
                </a:lnTo>
                <a:close/>
              </a:path>
              <a:path w="330200" h="245110">
                <a:moveTo>
                  <a:pt x="44195" y="25145"/>
                </a:moveTo>
                <a:lnTo>
                  <a:pt x="40410" y="25145"/>
                </a:lnTo>
                <a:lnTo>
                  <a:pt x="39623" y="28193"/>
                </a:lnTo>
                <a:lnTo>
                  <a:pt x="44195" y="25145"/>
                </a:lnTo>
                <a:close/>
              </a:path>
              <a:path w="330200" h="245110">
                <a:moveTo>
                  <a:pt x="44195" y="34289"/>
                </a:moveTo>
                <a:lnTo>
                  <a:pt x="44195" y="25145"/>
                </a:lnTo>
                <a:lnTo>
                  <a:pt x="39623" y="28193"/>
                </a:lnTo>
                <a:lnTo>
                  <a:pt x="39623" y="34289"/>
                </a:lnTo>
                <a:lnTo>
                  <a:pt x="44195" y="34289"/>
                </a:lnTo>
                <a:close/>
              </a:path>
              <a:path w="330200" h="245110">
                <a:moveTo>
                  <a:pt x="52551" y="16107"/>
                </a:moveTo>
                <a:lnTo>
                  <a:pt x="47433" y="9592"/>
                </a:lnTo>
                <a:lnTo>
                  <a:pt x="44417" y="9619"/>
                </a:lnTo>
                <a:lnTo>
                  <a:pt x="40410" y="25145"/>
                </a:lnTo>
                <a:lnTo>
                  <a:pt x="44195" y="25145"/>
                </a:lnTo>
                <a:lnTo>
                  <a:pt x="44195" y="34289"/>
                </a:lnTo>
                <a:lnTo>
                  <a:pt x="46481" y="34289"/>
                </a:lnTo>
                <a:lnTo>
                  <a:pt x="48005" y="32765"/>
                </a:lnTo>
                <a:lnTo>
                  <a:pt x="48767" y="31241"/>
                </a:lnTo>
                <a:lnTo>
                  <a:pt x="52551" y="16107"/>
                </a:lnTo>
                <a:close/>
              </a:path>
              <a:path w="330200" h="245110">
                <a:moveTo>
                  <a:pt x="59176" y="9485"/>
                </a:moveTo>
                <a:lnTo>
                  <a:pt x="54101" y="3047"/>
                </a:lnTo>
                <a:lnTo>
                  <a:pt x="53339" y="1523"/>
                </a:lnTo>
                <a:lnTo>
                  <a:pt x="51053" y="761"/>
                </a:lnTo>
                <a:lnTo>
                  <a:pt x="49529" y="761"/>
                </a:lnTo>
                <a:lnTo>
                  <a:pt x="48005" y="1523"/>
                </a:lnTo>
                <a:lnTo>
                  <a:pt x="46481" y="3047"/>
                </a:lnTo>
                <a:lnTo>
                  <a:pt x="45719" y="4571"/>
                </a:lnTo>
                <a:lnTo>
                  <a:pt x="44417" y="9619"/>
                </a:lnTo>
                <a:lnTo>
                  <a:pt x="46481" y="9601"/>
                </a:lnTo>
                <a:lnTo>
                  <a:pt x="46481" y="8381"/>
                </a:lnTo>
                <a:lnTo>
                  <a:pt x="54863" y="6857"/>
                </a:lnTo>
                <a:lnTo>
                  <a:pt x="54863" y="9524"/>
                </a:lnTo>
                <a:lnTo>
                  <a:pt x="59176" y="9485"/>
                </a:lnTo>
                <a:close/>
              </a:path>
              <a:path w="330200" h="245110">
                <a:moveTo>
                  <a:pt x="54863" y="6857"/>
                </a:moveTo>
                <a:lnTo>
                  <a:pt x="46481" y="8381"/>
                </a:lnTo>
                <a:lnTo>
                  <a:pt x="47433" y="9592"/>
                </a:lnTo>
                <a:lnTo>
                  <a:pt x="54195" y="9531"/>
                </a:lnTo>
                <a:lnTo>
                  <a:pt x="54863" y="6857"/>
                </a:lnTo>
                <a:close/>
              </a:path>
              <a:path w="330200" h="245110">
                <a:moveTo>
                  <a:pt x="47433" y="9592"/>
                </a:moveTo>
                <a:lnTo>
                  <a:pt x="46481" y="8381"/>
                </a:lnTo>
                <a:lnTo>
                  <a:pt x="46481" y="9601"/>
                </a:lnTo>
                <a:lnTo>
                  <a:pt x="47433" y="9592"/>
                </a:lnTo>
                <a:close/>
              </a:path>
              <a:path w="330200" h="245110">
                <a:moveTo>
                  <a:pt x="54195" y="9531"/>
                </a:moveTo>
                <a:lnTo>
                  <a:pt x="47433" y="9592"/>
                </a:lnTo>
                <a:lnTo>
                  <a:pt x="52551" y="16107"/>
                </a:lnTo>
                <a:lnTo>
                  <a:pt x="54195" y="9531"/>
                </a:lnTo>
                <a:close/>
              </a:path>
              <a:path w="330200" h="245110">
                <a:moveTo>
                  <a:pt x="237263" y="235406"/>
                </a:moveTo>
                <a:lnTo>
                  <a:pt x="59176" y="9485"/>
                </a:lnTo>
                <a:lnTo>
                  <a:pt x="54195" y="9531"/>
                </a:lnTo>
                <a:lnTo>
                  <a:pt x="52551" y="16107"/>
                </a:lnTo>
                <a:lnTo>
                  <a:pt x="230885" y="243077"/>
                </a:lnTo>
                <a:lnTo>
                  <a:pt x="231647" y="243839"/>
                </a:lnTo>
                <a:lnTo>
                  <a:pt x="233171" y="244601"/>
                </a:lnTo>
                <a:lnTo>
                  <a:pt x="234695" y="244601"/>
                </a:lnTo>
                <a:lnTo>
                  <a:pt x="234695" y="235457"/>
                </a:lnTo>
                <a:lnTo>
                  <a:pt x="237263" y="235406"/>
                </a:lnTo>
                <a:close/>
              </a:path>
              <a:path w="330200" h="245110">
                <a:moveTo>
                  <a:pt x="54863" y="9524"/>
                </a:moveTo>
                <a:lnTo>
                  <a:pt x="54863" y="6857"/>
                </a:lnTo>
                <a:lnTo>
                  <a:pt x="54195" y="9531"/>
                </a:lnTo>
                <a:lnTo>
                  <a:pt x="54863" y="9524"/>
                </a:lnTo>
                <a:close/>
              </a:path>
              <a:path w="330200" h="245110">
                <a:moveTo>
                  <a:pt x="96773" y="9143"/>
                </a:moveTo>
                <a:lnTo>
                  <a:pt x="92963" y="7619"/>
                </a:lnTo>
                <a:lnTo>
                  <a:pt x="94186" y="9167"/>
                </a:lnTo>
                <a:lnTo>
                  <a:pt x="96773" y="9143"/>
                </a:lnTo>
                <a:close/>
              </a:path>
              <a:path w="330200" h="245110">
                <a:moveTo>
                  <a:pt x="94186" y="9167"/>
                </a:moveTo>
                <a:lnTo>
                  <a:pt x="92963" y="7619"/>
                </a:lnTo>
                <a:lnTo>
                  <a:pt x="92963" y="9178"/>
                </a:lnTo>
                <a:lnTo>
                  <a:pt x="94186" y="9167"/>
                </a:lnTo>
                <a:close/>
              </a:path>
              <a:path w="330200" h="245110">
                <a:moveTo>
                  <a:pt x="96773" y="12443"/>
                </a:moveTo>
                <a:lnTo>
                  <a:pt x="96773" y="9143"/>
                </a:lnTo>
                <a:lnTo>
                  <a:pt x="94186" y="9167"/>
                </a:lnTo>
                <a:lnTo>
                  <a:pt x="96773" y="12443"/>
                </a:lnTo>
                <a:close/>
              </a:path>
              <a:path w="330200" h="245110">
                <a:moveTo>
                  <a:pt x="238505" y="236981"/>
                </a:moveTo>
                <a:lnTo>
                  <a:pt x="237263" y="235406"/>
                </a:lnTo>
                <a:lnTo>
                  <a:pt x="234695" y="235457"/>
                </a:lnTo>
                <a:lnTo>
                  <a:pt x="238505" y="236981"/>
                </a:lnTo>
                <a:close/>
              </a:path>
              <a:path w="330200" h="245110">
                <a:moveTo>
                  <a:pt x="238505" y="244525"/>
                </a:moveTo>
                <a:lnTo>
                  <a:pt x="238505" y="236981"/>
                </a:lnTo>
                <a:lnTo>
                  <a:pt x="234695" y="235457"/>
                </a:lnTo>
                <a:lnTo>
                  <a:pt x="234695" y="244601"/>
                </a:lnTo>
                <a:lnTo>
                  <a:pt x="238505" y="244525"/>
                </a:lnTo>
                <a:close/>
              </a:path>
              <a:path w="330200" h="245110">
                <a:moveTo>
                  <a:pt x="310133" y="243077"/>
                </a:moveTo>
                <a:lnTo>
                  <a:pt x="310133" y="233933"/>
                </a:lnTo>
                <a:lnTo>
                  <a:pt x="305561" y="236219"/>
                </a:lnTo>
                <a:lnTo>
                  <a:pt x="305561" y="234026"/>
                </a:lnTo>
                <a:lnTo>
                  <a:pt x="237263" y="235406"/>
                </a:lnTo>
                <a:lnTo>
                  <a:pt x="238505" y="236981"/>
                </a:lnTo>
                <a:lnTo>
                  <a:pt x="238505" y="244525"/>
                </a:lnTo>
                <a:lnTo>
                  <a:pt x="305561" y="243170"/>
                </a:lnTo>
                <a:lnTo>
                  <a:pt x="305561" y="236219"/>
                </a:lnTo>
                <a:lnTo>
                  <a:pt x="306794" y="234001"/>
                </a:lnTo>
                <a:lnTo>
                  <a:pt x="306794" y="243145"/>
                </a:lnTo>
                <a:lnTo>
                  <a:pt x="310133" y="243077"/>
                </a:lnTo>
                <a:close/>
              </a:path>
              <a:path w="330200" h="245110">
                <a:moveTo>
                  <a:pt x="278129" y="226313"/>
                </a:moveTo>
                <a:lnTo>
                  <a:pt x="274313" y="221482"/>
                </a:lnTo>
                <a:lnTo>
                  <a:pt x="270509" y="227075"/>
                </a:lnTo>
                <a:lnTo>
                  <a:pt x="278129" y="226313"/>
                </a:lnTo>
                <a:close/>
              </a:path>
              <a:path w="330200" h="245110">
                <a:moveTo>
                  <a:pt x="278129" y="232409"/>
                </a:moveTo>
                <a:lnTo>
                  <a:pt x="278129" y="226313"/>
                </a:lnTo>
                <a:lnTo>
                  <a:pt x="270509" y="227075"/>
                </a:lnTo>
                <a:lnTo>
                  <a:pt x="270509" y="232409"/>
                </a:lnTo>
                <a:lnTo>
                  <a:pt x="271271" y="233933"/>
                </a:lnTo>
                <a:lnTo>
                  <a:pt x="272781" y="234688"/>
                </a:lnTo>
                <a:lnTo>
                  <a:pt x="275988" y="234623"/>
                </a:lnTo>
                <a:lnTo>
                  <a:pt x="277367" y="233933"/>
                </a:lnTo>
                <a:lnTo>
                  <a:pt x="278129" y="232409"/>
                </a:lnTo>
                <a:close/>
              </a:path>
              <a:path w="330200" h="245110">
                <a:moveTo>
                  <a:pt x="329945" y="211835"/>
                </a:moveTo>
                <a:lnTo>
                  <a:pt x="329945" y="210311"/>
                </a:lnTo>
                <a:lnTo>
                  <a:pt x="328421" y="207263"/>
                </a:lnTo>
                <a:lnTo>
                  <a:pt x="326897" y="206501"/>
                </a:lnTo>
                <a:lnTo>
                  <a:pt x="285749" y="206501"/>
                </a:lnTo>
                <a:lnTo>
                  <a:pt x="284225" y="207263"/>
                </a:lnTo>
                <a:lnTo>
                  <a:pt x="283463" y="208025"/>
                </a:lnTo>
                <a:lnTo>
                  <a:pt x="274313" y="221482"/>
                </a:lnTo>
                <a:lnTo>
                  <a:pt x="278129" y="226313"/>
                </a:lnTo>
                <a:lnTo>
                  <a:pt x="278129" y="232409"/>
                </a:lnTo>
                <a:lnTo>
                  <a:pt x="287273" y="218962"/>
                </a:lnTo>
                <a:lnTo>
                  <a:pt x="287273" y="215645"/>
                </a:lnTo>
                <a:lnTo>
                  <a:pt x="291083" y="213359"/>
                </a:lnTo>
                <a:lnTo>
                  <a:pt x="291083" y="215645"/>
                </a:lnTo>
                <a:lnTo>
                  <a:pt x="316991" y="215645"/>
                </a:lnTo>
                <a:lnTo>
                  <a:pt x="320801" y="208787"/>
                </a:lnTo>
                <a:lnTo>
                  <a:pt x="325373" y="215645"/>
                </a:lnTo>
                <a:lnTo>
                  <a:pt x="325373" y="220217"/>
                </a:lnTo>
                <a:lnTo>
                  <a:pt x="329183" y="213359"/>
                </a:lnTo>
                <a:lnTo>
                  <a:pt x="329945" y="211835"/>
                </a:lnTo>
                <a:close/>
              </a:path>
              <a:path w="330200" h="245110">
                <a:moveTo>
                  <a:pt x="291083" y="213359"/>
                </a:moveTo>
                <a:lnTo>
                  <a:pt x="287273" y="215645"/>
                </a:lnTo>
                <a:lnTo>
                  <a:pt x="289529" y="215645"/>
                </a:lnTo>
                <a:lnTo>
                  <a:pt x="291083" y="213359"/>
                </a:lnTo>
                <a:close/>
              </a:path>
              <a:path w="330200" h="245110">
                <a:moveTo>
                  <a:pt x="289529" y="215645"/>
                </a:moveTo>
                <a:lnTo>
                  <a:pt x="287273" y="215645"/>
                </a:lnTo>
                <a:lnTo>
                  <a:pt x="287273" y="218962"/>
                </a:lnTo>
                <a:lnTo>
                  <a:pt x="289529" y="215645"/>
                </a:lnTo>
                <a:close/>
              </a:path>
              <a:path w="330200" h="245110">
                <a:moveTo>
                  <a:pt x="291083" y="215645"/>
                </a:moveTo>
                <a:lnTo>
                  <a:pt x="291083" y="213359"/>
                </a:lnTo>
                <a:lnTo>
                  <a:pt x="289529" y="215645"/>
                </a:lnTo>
                <a:lnTo>
                  <a:pt x="291083" y="215645"/>
                </a:lnTo>
                <a:close/>
              </a:path>
              <a:path w="330200" h="245110">
                <a:moveTo>
                  <a:pt x="310133" y="233933"/>
                </a:moveTo>
                <a:lnTo>
                  <a:pt x="306794" y="234001"/>
                </a:lnTo>
                <a:lnTo>
                  <a:pt x="305561" y="236219"/>
                </a:lnTo>
                <a:lnTo>
                  <a:pt x="310133" y="233933"/>
                </a:lnTo>
                <a:close/>
              </a:path>
              <a:path w="330200" h="245110">
                <a:moveTo>
                  <a:pt x="325373" y="220217"/>
                </a:moveTo>
                <a:lnTo>
                  <a:pt x="325373" y="215645"/>
                </a:lnTo>
                <a:lnTo>
                  <a:pt x="316991" y="215645"/>
                </a:lnTo>
                <a:lnTo>
                  <a:pt x="306794" y="234001"/>
                </a:lnTo>
                <a:lnTo>
                  <a:pt x="310133" y="233933"/>
                </a:lnTo>
                <a:lnTo>
                  <a:pt x="310133" y="243077"/>
                </a:lnTo>
                <a:lnTo>
                  <a:pt x="311657" y="243077"/>
                </a:lnTo>
                <a:lnTo>
                  <a:pt x="313181" y="242315"/>
                </a:lnTo>
                <a:lnTo>
                  <a:pt x="313943" y="240791"/>
                </a:lnTo>
                <a:lnTo>
                  <a:pt x="325373" y="220217"/>
                </a:lnTo>
                <a:close/>
              </a:path>
              <a:path w="330200" h="245110">
                <a:moveTo>
                  <a:pt x="325373" y="215645"/>
                </a:moveTo>
                <a:lnTo>
                  <a:pt x="320801" y="208787"/>
                </a:lnTo>
                <a:lnTo>
                  <a:pt x="316991" y="215645"/>
                </a:lnTo>
                <a:lnTo>
                  <a:pt x="325373" y="2156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2" name="object 76"/>
          <p:cNvSpPr/>
          <p:nvPr/>
        </p:nvSpPr>
        <p:spPr>
          <a:xfrm>
            <a:off x="7275591" y="3387580"/>
            <a:ext cx="272300" cy="78441"/>
          </a:xfrm>
          <a:prstGeom prst="rect">
            <a:avLst/>
          </a:prstGeom>
          <a:blipFill>
            <a:blip r:embed="rId5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3" name="object 77"/>
          <p:cNvSpPr/>
          <p:nvPr/>
        </p:nvSpPr>
        <p:spPr>
          <a:xfrm>
            <a:off x="7272067" y="3385096"/>
            <a:ext cx="279355" cy="83521"/>
          </a:xfrm>
          <a:custGeom>
            <a:avLst/>
            <a:gdLst/>
            <a:ahLst/>
            <a:cxnLst/>
            <a:rect l="l" t="t" r="r" b="b"/>
            <a:pathLst>
              <a:path w="422909" h="187960">
                <a:moveTo>
                  <a:pt x="422909" y="182880"/>
                </a:moveTo>
                <a:lnTo>
                  <a:pt x="422909" y="180594"/>
                </a:lnTo>
                <a:lnTo>
                  <a:pt x="421385" y="179070"/>
                </a:lnTo>
                <a:lnTo>
                  <a:pt x="276605" y="1524"/>
                </a:lnTo>
                <a:lnTo>
                  <a:pt x="275081" y="762"/>
                </a:lnTo>
                <a:lnTo>
                  <a:pt x="274319" y="0"/>
                </a:lnTo>
                <a:lnTo>
                  <a:pt x="3809" y="762"/>
                </a:lnTo>
                <a:lnTo>
                  <a:pt x="2285" y="1524"/>
                </a:lnTo>
                <a:lnTo>
                  <a:pt x="1523" y="3048"/>
                </a:lnTo>
                <a:lnTo>
                  <a:pt x="0" y="4572"/>
                </a:lnTo>
                <a:lnTo>
                  <a:pt x="761" y="6858"/>
                </a:lnTo>
                <a:lnTo>
                  <a:pt x="1523" y="8382"/>
                </a:lnTo>
                <a:lnTo>
                  <a:pt x="5333" y="13238"/>
                </a:lnTo>
                <a:lnTo>
                  <a:pt x="5333" y="9906"/>
                </a:lnTo>
                <a:lnTo>
                  <a:pt x="9143" y="2286"/>
                </a:lnTo>
                <a:lnTo>
                  <a:pt x="15096" y="9906"/>
                </a:lnTo>
                <a:lnTo>
                  <a:pt x="268985" y="9906"/>
                </a:lnTo>
                <a:lnTo>
                  <a:pt x="268985" y="7620"/>
                </a:lnTo>
                <a:lnTo>
                  <a:pt x="272795" y="9906"/>
                </a:lnTo>
                <a:lnTo>
                  <a:pt x="272795" y="12292"/>
                </a:lnTo>
                <a:lnTo>
                  <a:pt x="407552" y="177546"/>
                </a:lnTo>
                <a:lnTo>
                  <a:pt x="417575" y="177546"/>
                </a:lnTo>
                <a:lnTo>
                  <a:pt x="417575" y="187452"/>
                </a:lnTo>
                <a:lnTo>
                  <a:pt x="419861" y="187452"/>
                </a:lnTo>
                <a:lnTo>
                  <a:pt x="421385" y="185928"/>
                </a:lnTo>
                <a:lnTo>
                  <a:pt x="422909" y="182880"/>
                </a:lnTo>
                <a:close/>
              </a:path>
              <a:path w="422909" h="187960">
                <a:moveTo>
                  <a:pt x="15096" y="9906"/>
                </a:moveTo>
                <a:lnTo>
                  <a:pt x="9143" y="2286"/>
                </a:lnTo>
                <a:lnTo>
                  <a:pt x="5333" y="9906"/>
                </a:lnTo>
                <a:lnTo>
                  <a:pt x="15096" y="9906"/>
                </a:lnTo>
                <a:close/>
              </a:path>
              <a:path w="422909" h="187960">
                <a:moveTo>
                  <a:pt x="146042" y="177546"/>
                </a:moveTo>
                <a:lnTo>
                  <a:pt x="15096" y="9906"/>
                </a:lnTo>
                <a:lnTo>
                  <a:pt x="5333" y="9906"/>
                </a:lnTo>
                <a:lnTo>
                  <a:pt x="5333" y="13238"/>
                </a:lnTo>
                <a:lnTo>
                  <a:pt x="140207" y="185166"/>
                </a:lnTo>
                <a:lnTo>
                  <a:pt x="142493" y="187452"/>
                </a:lnTo>
                <a:lnTo>
                  <a:pt x="144017" y="187452"/>
                </a:lnTo>
                <a:lnTo>
                  <a:pt x="144017" y="177546"/>
                </a:lnTo>
                <a:lnTo>
                  <a:pt x="146042" y="177546"/>
                </a:lnTo>
                <a:close/>
              </a:path>
              <a:path w="422909" h="187960">
                <a:moveTo>
                  <a:pt x="147827" y="179832"/>
                </a:moveTo>
                <a:lnTo>
                  <a:pt x="146042" y="177546"/>
                </a:lnTo>
                <a:lnTo>
                  <a:pt x="144017" y="177546"/>
                </a:lnTo>
                <a:lnTo>
                  <a:pt x="147827" y="179832"/>
                </a:lnTo>
                <a:close/>
              </a:path>
              <a:path w="422909" h="187960">
                <a:moveTo>
                  <a:pt x="147827" y="187452"/>
                </a:moveTo>
                <a:lnTo>
                  <a:pt x="147827" y="179832"/>
                </a:lnTo>
                <a:lnTo>
                  <a:pt x="144017" y="177546"/>
                </a:lnTo>
                <a:lnTo>
                  <a:pt x="144017" y="187452"/>
                </a:lnTo>
                <a:lnTo>
                  <a:pt x="147827" y="187452"/>
                </a:lnTo>
                <a:close/>
              </a:path>
              <a:path w="422909" h="187960">
                <a:moveTo>
                  <a:pt x="417575" y="187452"/>
                </a:moveTo>
                <a:lnTo>
                  <a:pt x="417575" y="177546"/>
                </a:lnTo>
                <a:lnTo>
                  <a:pt x="413765" y="185166"/>
                </a:lnTo>
                <a:lnTo>
                  <a:pt x="407552" y="177546"/>
                </a:lnTo>
                <a:lnTo>
                  <a:pt x="146042" y="177546"/>
                </a:lnTo>
                <a:lnTo>
                  <a:pt x="147827" y="179832"/>
                </a:lnTo>
                <a:lnTo>
                  <a:pt x="147827" y="187452"/>
                </a:lnTo>
                <a:lnTo>
                  <a:pt x="417575" y="187452"/>
                </a:lnTo>
                <a:close/>
              </a:path>
              <a:path w="422909" h="187960">
                <a:moveTo>
                  <a:pt x="272795" y="9906"/>
                </a:moveTo>
                <a:lnTo>
                  <a:pt x="268985" y="7620"/>
                </a:lnTo>
                <a:lnTo>
                  <a:pt x="270850" y="9906"/>
                </a:lnTo>
                <a:lnTo>
                  <a:pt x="272795" y="9906"/>
                </a:lnTo>
                <a:close/>
              </a:path>
              <a:path w="422909" h="187960">
                <a:moveTo>
                  <a:pt x="270850" y="9906"/>
                </a:moveTo>
                <a:lnTo>
                  <a:pt x="268985" y="7620"/>
                </a:lnTo>
                <a:lnTo>
                  <a:pt x="268985" y="9906"/>
                </a:lnTo>
                <a:lnTo>
                  <a:pt x="270850" y="9906"/>
                </a:lnTo>
                <a:close/>
              </a:path>
              <a:path w="422909" h="187960">
                <a:moveTo>
                  <a:pt x="272795" y="12292"/>
                </a:moveTo>
                <a:lnTo>
                  <a:pt x="272795" y="9906"/>
                </a:lnTo>
                <a:lnTo>
                  <a:pt x="270850" y="9906"/>
                </a:lnTo>
                <a:lnTo>
                  <a:pt x="272795" y="12292"/>
                </a:lnTo>
                <a:close/>
              </a:path>
              <a:path w="422909" h="187960">
                <a:moveTo>
                  <a:pt x="417575" y="177546"/>
                </a:moveTo>
                <a:lnTo>
                  <a:pt x="407552" y="177546"/>
                </a:lnTo>
                <a:lnTo>
                  <a:pt x="413765" y="185166"/>
                </a:lnTo>
                <a:lnTo>
                  <a:pt x="417575" y="1775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4" name="object 78"/>
          <p:cNvSpPr/>
          <p:nvPr/>
        </p:nvSpPr>
        <p:spPr>
          <a:xfrm>
            <a:off x="7623896" y="3375052"/>
            <a:ext cx="210909" cy="103836"/>
          </a:xfrm>
          <a:prstGeom prst="rect">
            <a:avLst/>
          </a:prstGeom>
          <a:blipFill>
            <a:blip r:embed="rId5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5" name="object 79"/>
          <p:cNvSpPr/>
          <p:nvPr/>
        </p:nvSpPr>
        <p:spPr>
          <a:xfrm>
            <a:off x="7619870" y="3372570"/>
            <a:ext cx="218535" cy="108914"/>
          </a:xfrm>
          <a:custGeom>
            <a:avLst/>
            <a:gdLst/>
            <a:ahLst/>
            <a:cxnLst/>
            <a:rect l="l" t="t" r="r" b="b"/>
            <a:pathLst>
              <a:path w="330834" h="245110">
                <a:moveTo>
                  <a:pt x="274112" y="221227"/>
                </a:moveTo>
                <a:lnTo>
                  <a:pt x="100583" y="1523"/>
                </a:lnTo>
                <a:lnTo>
                  <a:pt x="99059" y="761"/>
                </a:lnTo>
                <a:lnTo>
                  <a:pt x="98297" y="0"/>
                </a:lnTo>
                <a:lnTo>
                  <a:pt x="11429" y="761"/>
                </a:lnTo>
                <a:lnTo>
                  <a:pt x="9143" y="2285"/>
                </a:lnTo>
                <a:lnTo>
                  <a:pt x="8381" y="3809"/>
                </a:lnTo>
                <a:lnTo>
                  <a:pt x="761" y="28193"/>
                </a:lnTo>
                <a:lnTo>
                  <a:pt x="0" y="29717"/>
                </a:lnTo>
                <a:lnTo>
                  <a:pt x="0" y="31241"/>
                </a:lnTo>
                <a:lnTo>
                  <a:pt x="2285" y="33527"/>
                </a:lnTo>
                <a:lnTo>
                  <a:pt x="3809" y="34289"/>
                </a:lnTo>
                <a:lnTo>
                  <a:pt x="5333" y="34289"/>
                </a:lnTo>
                <a:lnTo>
                  <a:pt x="5333" y="25145"/>
                </a:lnTo>
                <a:lnTo>
                  <a:pt x="11810" y="25145"/>
                </a:lnTo>
                <a:lnTo>
                  <a:pt x="12953" y="21488"/>
                </a:lnTo>
                <a:lnTo>
                  <a:pt x="12953" y="9905"/>
                </a:lnTo>
                <a:lnTo>
                  <a:pt x="17525" y="6857"/>
                </a:lnTo>
                <a:lnTo>
                  <a:pt x="17525" y="9864"/>
                </a:lnTo>
                <a:lnTo>
                  <a:pt x="44417" y="9619"/>
                </a:lnTo>
                <a:lnTo>
                  <a:pt x="45719" y="4571"/>
                </a:lnTo>
                <a:lnTo>
                  <a:pt x="46481" y="3047"/>
                </a:lnTo>
                <a:lnTo>
                  <a:pt x="48005" y="1523"/>
                </a:lnTo>
                <a:lnTo>
                  <a:pt x="49529" y="761"/>
                </a:lnTo>
                <a:lnTo>
                  <a:pt x="51053" y="761"/>
                </a:lnTo>
                <a:lnTo>
                  <a:pt x="53339" y="1523"/>
                </a:lnTo>
                <a:lnTo>
                  <a:pt x="54101" y="3047"/>
                </a:lnTo>
                <a:lnTo>
                  <a:pt x="59193" y="9485"/>
                </a:lnTo>
                <a:lnTo>
                  <a:pt x="92963" y="9178"/>
                </a:lnTo>
                <a:lnTo>
                  <a:pt x="92963" y="7619"/>
                </a:lnTo>
                <a:lnTo>
                  <a:pt x="96773" y="9143"/>
                </a:lnTo>
                <a:lnTo>
                  <a:pt x="96773" y="12443"/>
                </a:lnTo>
                <a:lnTo>
                  <a:pt x="270509" y="232409"/>
                </a:lnTo>
                <a:lnTo>
                  <a:pt x="270509" y="226313"/>
                </a:lnTo>
                <a:lnTo>
                  <a:pt x="274112" y="221227"/>
                </a:lnTo>
                <a:close/>
              </a:path>
              <a:path w="330834" h="245110">
                <a:moveTo>
                  <a:pt x="11810" y="25145"/>
                </a:moveTo>
                <a:lnTo>
                  <a:pt x="5333" y="25145"/>
                </a:lnTo>
                <a:lnTo>
                  <a:pt x="9905" y="31241"/>
                </a:lnTo>
                <a:lnTo>
                  <a:pt x="11810" y="25145"/>
                </a:lnTo>
                <a:close/>
              </a:path>
              <a:path w="330834" h="245110">
                <a:moveTo>
                  <a:pt x="40410" y="25145"/>
                </a:moveTo>
                <a:lnTo>
                  <a:pt x="11810" y="25145"/>
                </a:lnTo>
                <a:lnTo>
                  <a:pt x="9905" y="31241"/>
                </a:lnTo>
                <a:lnTo>
                  <a:pt x="5333" y="25145"/>
                </a:lnTo>
                <a:lnTo>
                  <a:pt x="5333" y="34289"/>
                </a:lnTo>
                <a:lnTo>
                  <a:pt x="39623" y="34289"/>
                </a:lnTo>
                <a:lnTo>
                  <a:pt x="39623" y="28193"/>
                </a:lnTo>
                <a:lnTo>
                  <a:pt x="40410" y="25145"/>
                </a:lnTo>
                <a:close/>
              </a:path>
              <a:path w="330834" h="245110">
                <a:moveTo>
                  <a:pt x="17525" y="6857"/>
                </a:moveTo>
                <a:lnTo>
                  <a:pt x="12953" y="9905"/>
                </a:lnTo>
                <a:lnTo>
                  <a:pt x="16583" y="9873"/>
                </a:lnTo>
                <a:lnTo>
                  <a:pt x="17525" y="6857"/>
                </a:lnTo>
                <a:close/>
              </a:path>
              <a:path w="330834" h="245110">
                <a:moveTo>
                  <a:pt x="16583" y="9873"/>
                </a:moveTo>
                <a:lnTo>
                  <a:pt x="12953" y="9905"/>
                </a:lnTo>
                <a:lnTo>
                  <a:pt x="12953" y="21488"/>
                </a:lnTo>
                <a:lnTo>
                  <a:pt x="16583" y="9873"/>
                </a:lnTo>
                <a:close/>
              </a:path>
              <a:path w="330834" h="245110">
                <a:moveTo>
                  <a:pt x="17525" y="9864"/>
                </a:moveTo>
                <a:lnTo>
                  <a:pt x="17525" y="6857"/>
                </a:lnTo>
                <a:lnTo>
                  <a:pt x="16583" y="9873"/>
                </a:lnTo>
                <a:lnTo>
                  <a:pt x="17525" y="9864"/>
                </a:lnTo>
                <a:close/>
              </a:path>
              <a:path w="330834" h="245110">
                <a:moveTo>
                  <a:pt x="44195" y="25145"/>
                </a:moveTo>
                <a:lnTo>
                  <a:pt x="40410" y="25145"/>
                </a:lnTo>
                <a:lnTo>
                  <a:pt x="39623" y="28193"/>
                </a:lnTo>
                <a:lnTo>
                  <a:pt x="44195" y="25145"/>
                </a:lnTo>
                <a:close/>
              </a:path>
              <a:path w="330834" h="245110">
                <a:moveTo>
                  <a:pt x="44195" y="34289"/>
                </a:moveTo>
                <a:lnTo>
                  <a:pt x="44195" y="25145"/>
                </a:lnTo>
                <a:lnTo>
                  <a:pt x="39623" y="28193"/>
                </a:lnTo>
                <a:lnTo>
                  <a:pt x="39623" y="34289"/>
                </a:lnTo>
                <a:lnTo>
                  <a:pt x="44195" y="34289"/>
                </a:lnTo>
                <a:close/>
              </a:path>
              <a:path w="330834" h="245110">
                <a:moveTo>
                  <a:pt x="52556" y="16088"/>
                </a:moveTo>
                <a:lnTo>
                  <a:pt x="47436" y="9592"/>
                </a:lnTo>
                <a:lnTo>
                  <a:pt x="44417" y="9619"/>
                </a:lnTo>
                <a:lnTo>
                  <a:pt x="40410" y="25145"/>
                </a:lnTo>
                <a:lnTo>
                  <a:pt x="44195" y="25145"/>
                </a:lnTo>
                <a:lnTo>
                  <a:pt x="44195" y="34289"/>
                </a:lnTo>
                <a:lnTo>
                  <a:pt x="46481" y="34289"/>
                </a:lnTo>
                <a:lnTo>
                  <a:pt x="48005" y="32765"/>
                </a:lnTo>
                <a:lnTo>
                  <a:pt x="48767" y="31241"/>
                </a:lnTo>
                <a:lnTo>
                  <a:pt x="52556" y="16088"/>
                </a:lnTo>
                <a:close/>
              </a:path>
              <a:path w="330834" h="245110">
                <a:moveTo>
                  <a:pt x="59193" y="9485"/>
                </a:moveTo>
                <a:lnTo>
                  <a:pt x="54101" y="3047"/>
                </a:lnTo>
                <a:lnTo>
                  <a:pt x="53339" y="1523"/>
                </a:lnTo>
                <a:lnTo>
                  <a:pt x="51053" y="761"/>
                </a:lnTo>
                <a:lnTo>
                  <a:pt x="49529" y="761"/>
                </a:lnTo>
                <a:lnTo>
                  <a:pt x="48005" y="1523"/>
                </a:lnTo>
                <a:lnTo>
                  <a:pt x="46481" y="3047"/>
                </a:lnTo>
                <a:lnTo>
                  <a:pt x="45719" y="4571"/>
                </a:lnTo>
                <a:lnTo>
                  <a:pt x="44417" y="9619"/>
                </a:lnTo>
                <a:lnTo>
                  <a:pt x="46481" y="9601"/>
                </a:lnTo>
                <a:lnTo>
                  <a:pt x="46481" y="8381"/>
                </a:lnTo>
                <a:lnTo>
                  <a:pt x="54863" y="6857"/>
                </a:lnTo>
                <a:lnTo>
                  <a:pt x="54863" y="9524"/>
                </a:lnTo>
                <a:lnTo>
                  <a:pt x="59193" y="9485"/>
                </a:lnTo>
                <a:close/>
              </a:path>
              <a:path w="330834" h="245110">
                <a:moveTo>
                  <a:pt x="54863" y="6857"/>
                </a:moveTo>
                <a:lnTo>
                  <a:pt x="46481" y="8381"/>
                </a:lnTo>
                <a:lnTo>
                  <a:pt x="47436" y="9592"/>
                </a:lnTo>
                <a:lnTo>
                  <a:pt x="54195" y="9531"/>
                </a:lnTo>
                <a:lnTo>
                  <a:pt x="54863" y="6857"/>
                </a:lnTo>
                <a:close/>
              </a:path>
              <a:path w="330834" h="245110">
                <a:moveTo>
                  <a:pt x="47436" y="9592"/>
                </a:moveTo>
                <a:lnTo>
                  <a:pt x="46481" y="8381"/>
                </a:lnTo>
                <a:lnTo>
                  <a:pt x="46481" y="9601"/>
                </a:lnTo>
                <a:lnTo>
                  <a:pt x="47436" y="9592"/>
                </a:lnTo>
                <a:close/>
              </a:path>
              <a:path w="330834" h="245110">
                <a:moveTo>
                  <a:pt x="54195" y="9531"/>
                </a:moveTo>
                <a:lnTo>
                  <a:pt x="47436" y="9592"/>
                </a:lnTo>
                <a:lnTo>
                  <a:pt x="52556" y="16088"/>
                </a:lnTo>
                <a:lnTo>
                  <a:pt x="54195" y="9531"/>
                </a:lnTo>
                <a:close/>
              </a:path>
              <a:path w="330834" h="245110">
                <a:moveTo>
                  <a:pt x="237259" y="234644"/>
                </a:moveTo>
                <a:lnTo>
                  <a:pt x="59193" y="9485"/>
                </a:lnTo>
                <a:lnTo>
                  <a:pt x="54195" y="9531"/>
                </a:lnTo>
                <a:lnTo>
                  <a:pt x="52556" y="16088"/>
                </a:lnTo>
                <a:lnTo>
                  <a:pt x="230885" y="242315"/>
                </a:lnTo>
                <a:lnTo>
                  <a:pt x="233171" y="244601"/>
                </a:lnTo>
                <a:lnTo>
                  <a:pt x="234695" y="244601"/>
                </a:lnTo>
                <a:lnTo>
                  <a:pt x="234695" y="234695"/>
                </a:lnTo>
                <a:lnTo>
                  <a:pt x="237259" y="234644"/>
                </a:lnTo>
                <a:close/>
              </a:path>
              <a:path w="330834" h="245110">
                <a:moveTo>
                  <a:pt x="54863" y="9524"/>
                </a:moveTo>
                <a:lnTo>
                  <a:pt x="54863" y="6857"/>
                </a:lnTo>
                <a:lnTo>
                  <a:pt x="54195" y="9531"/>
                </a:lnTo>
                <a:lnTo>
                  <a:pt x="54863" y="9524"/>
                </a:lnTo>
                <a:close/>
              </a:path>
              <a:path w="330834" h="245110">
                <a:moveTo>
                  <a:pt x="96773" y="9143"/>
                </a:moveTo>
                <a:lnTo>
                  <a:pt x="92963" y="7619"/>
                </a:lnTo>
                <a:lnTo>
                  <a:pt x="94186" y="9167"/>
                </a:lnTo>
                <a:lnTo>
                  <a:pt x="96773" y="9143"/>
                </a:lnTo>
                <a:close/>
              </a:path>
              <a:path w="330834" h="245110">
                <a:moveTo>
                  <a:pt x="94186" y="9167"/>
                </a:moveTo>
                <a:lnTo>
                  <a:pt x="92963" y="7619"/>
                </a:lnTo>
                <a:lnTo>
                  <a:pt x="92963" y="9178"/>
                </a:lnTo>
                <a:lnTo>
                  <a:pt x="94186" y="9167"/>
                </a:lnTo>
                <a:close/>
              </a:path>
              <a:path w="330834" h="245110">
                <a:moveTo>
                  <a:pt x="96773" y="12443"/>
                </a:moveTo>
                <a:lnTo>
                  <a:pt x="96773" y="9143"/>
                </a:lnTo>
                <a:lnTo>
                  <a:pt x="94186" y="9167"/>
                </a:lnTo>
                <a:lnTo>
                  <a:pt x="96773" y="12443"/>
                </a:lnTo>
                <a:close/>
              </a:path>
              <a:path w="330834" h="245110">
                <a:moveTo>
                  <a:pt x="238505" y="236219"/>
                </a:moveTo>
                <a:lnTo>
                  <a:pt x="237259" y="234644"/>
                </a:lnTo>
                <a:lnTo>
                  <a:pt x="234695" y="234695"/>
                </a:lnTo>
                <a:lnTo>
                  <a:pt x="238505" y="236219"/>
                </a:lnTo>
                <a:close/>
              </a:path>
              <a:path w="330834" h="245110">
                <a:moveTo>
                  <a:pt x="238505" y="244525"/>
                </a:moveTo>
                <a:lnTo>
                  <a:pt x="238505" y="236219"/>
                </a:lnTo>
                <a:lnTo>
                  <a:pt x="234695" y="234695"/>
                </a:lnTo>
                <a:lnTo>
                  <a:pt x="234695" y="244601"/>
                </a:lnTo>
                <a:lnTo>
                  <a:pt x="238505" y="244525"/>
                </a:lnTo>
                <a:close/>
              </a:path>
              <a:path w="330834" h="245110">
                <a:moveTo>
                  <a:pt x="310133" y="243077"/>
                </a:moveTo>
                <a:lnTo>
                  <a:pt x="310133" y="233171"/>
                </a:lnTo>
                <a:lnTo>
                  <a:pt x="306323" y="236219"/>
                </a:lnTo>
                <a:lnTo>
                  <a:pt x="306323" y="233248"/>
                </a:lnTo>
                <a:lnTo>
                  <a:pt x="237259" y="234644"/>
                </a:lnTo>
                <a:lnTo>
                  <a:pt x="238505" y="236219"/>
                </a:lnTo>
                <a:lnTo>
                  <a:pt x="238505" y="244525"/>
                </a:lnTo>
                <a:lnTo>
                  <a:pt x="306323" y="243154"/>
                </a:lnTo>
                <a:lnTo>
                  <a:pt x="306323" y="236219"/>
                </a:lnTo>
                <a:lnTo>
                  <a:pt x="307947" y="233216"/>
                </a:lnTo>
                <a:lnTo>
                  <a:pt x="307947" y="243122"/>
                </a:lnTo>
                <a:lnTo>
                  <a:pt x="310133" y="243077"/>
                </a:lnTo>
                <a:close/>
              </a:path>
              <a:path w="330834" h="245110">
                <a:moveTo>
                  <a:pt x="278129" y="226313"/>
                </a:moveTo>
                <a:lnTo>
                  <a:pt x="274112" y="221227"/>
                </a:lnTo>
                <a:lnTo>
                  <a:pt x="270509" y="226313"/>
                </a:lnTo>
                <a:lnTo>
                  <a:pt x="278129" y="226313"/>
                </a:lnTo>
                <a:close/>
              </a:path>
              <a:path w="330834" h="245110">
                <a:moveTo>
                  <a:pt x="278129" y="231647"/>
                </a:moveTo>
                <a:lnTo>
                  <a:pt x="278129" y="226313"/>
                </a:lnTo>
                <a:lnTo>
                  <a:pt x="270509" y="226313"/>
                </a:lnTo>
                <a:lnTo>
                  <a:pt x="270509" y="232409"/>
                </a:lnTo>
                <a:lnTo>
                  <a:pt x="273513" y="233911"/>
                </a:lnTo>
                <a:lnTo>
                  <a:pt x="276692" y="233847"/>
                </a:lnTo>
                <a:lnTo>
                  <a:pt x="277367" y="233171"/>
                </a:lnTo>
                <a:lnTo>
                  <a:pt x="278129" y="231647"/>
                </a:lnTo>
                <a:close/>
              </a:path>
              <a:path w="330834" h="245110">
                <a:moveTo>
                  <a:pt x="330707" y="211073"/>
                </a:moveTo>
                <a:lnTo>
                  <a:pt x="330707" y="209549"/>
                </a:lnTo>
                <a:lnTo>
                  <a:pt x="329183" y="208025"/>
                </a:lnTo>
                <a:lnTo>
                  <a:pt x="328421" y="206501"/>
                </a:lnTo>
                <a:lnTo>
                  <a:pt x="326897" y="205739"/>
                </a:lnTo>
                <a:lnTo>
                  <a:pt x="285749" y="205739"/>
                </a:lnTo>
                <a:lnTo>
                  <a:pt x="284225" y="206501"/>
                </a:lnTo>
                <a:lnTo>
                  <a:pt x="283463" y="208025"/>
                </a:lnTo>
                <a:lnTo>
                  <a:pt x="274112" y="221227"/>
                </a:lnTo>
                <a:lnTo>
                  <a:pt x="278129" y="226313"/>
                </a:lnTo>
                <a:lnTo>
                  <a:pt x="278129" y="231647"/>
                </a:lnTo>
                <a:lnTo>
                  <a:pt x="287273" y="218738"/>
                </a:lnTo>
                <a:lnTo>
                  <a:pt x="287273" y="215645"/>
                </a:lnTo>
                <a:lnTo>
                  <a:pt x="291083" y="213359"/>
                </a:lnTo>
                <a:lnTo>
                  <a:pt x="291083" y="215645"/>
                </a:lnTo>
                <a:lnTo>
                  <a:pt x="317445" y="215645"/>
                </a:lnTo>
                <a:lnTo>
                  <a:pt x="321563" y="208025"/>
                </a:lnTo>
                <a:lnTo>
                  <a:pt x="325373" y="215645"/>
                </a:lnTo>
                <a:lnTo>
                  <a:pt x="325373" y="220653"/>
                </a:lnTo>
                <a:lnTo>
                  <a:pt x="329945" y="212597"/>
                </a:lnTo>
                <a:lnTo>
                  <a:pt x="330707" y="211073"/>
                </a:lnTo>
                <a:close/>
              </a:path>
              <a:path w="330834" h="245110">
                <a:moveTo>
                  <a:pt x="291083" y="213359"/>
                </a:moveTo>
                <a:lnTo>
                  <a:pt x="287273" y="215645"/>
                </a:lnTo>
                <a:lnTo>
                  <a:pt x="289464" y="215645"/>
                </a:lnTo>
                <a:lnTo>
                  <a:pt x="291083" y="213359"/>
                </a:lnTo>
                <a:close/>
              </a:path>
              <a:path w="330834" h="245110">
                <a:moveTo>
                  <a:pt x="289464" y="215645"/>
                </a:moveTo>
                <a:lnTo>
                  <a:pt x="287273" y="215645"/>
                </a:lnTo>
                <a:lnTo>
                  <a:pt x="287273" y="218738"/>
                </a:lnTo>
                <a:lnTo>
                  <a:pt x="289464" y="215645"/>
                </a:lnTo>
                <a:close/>
              </a:path>
              <a:path w="330834" h="245110">
                <a:moveTo>
                  <a:pt x="291083" y="215645"/>
                </a:moveTo>
                <a:lnTo>
                  <a:pt x="291083" y="213359"/>
                </a:lnTo>
                <a:lnTo>
                  <a:pt x="289464" y="215645"/>
                </a:lnTo>
                <a:lnTo>
                  <a:pt x="291083" y="215645"/>
                </a:lnTo>
                <a:close/>
              </a:path>
              <a:path w="330834" h="245110">
                <a:moveTo>
                  <a:pt x="310133" y="233171"/>
                </a:moveTo>
                <a:lnTo>
                  <a:pt x="307947" y="233216"/>
                </a:lnTo>
                <a:lnTo>
                  <a:pt x="306323" y="236219"/>
                </a:lnTo>
                <a:lnTo>
                  <a:pt x="310133" y="233171"/>
                </a:lnTo>
                <a:close/>
              </a:path>
              <a:path w="330834" h="245110">
                <a:moveTo>
                  <a:pt x="325373" y="220653"/>
                </a:moveTo>
                <a:lnTo>
                  <a:pt x="325373" y="215645"/>
                </a:lnTo>
                <a:lnTo>
                  <a:pt x="317445" y="215645"/>
                </a:lnTo>
                <a:lnTo>
                  <a:pt x="307947" y="233216"/>
                </a:lnTo>
                <a:lnTo>
                  <a:pt x="310133" y="233171"/>
                </a:lnTo>
                <a:lnTo>
                  <a:pt x="310133" y="243077"/>
                </a:lnTo>
                <a:lnTo>
                  <a:pt x="311657" y="243077"/>
                </a:lnTo>
                <a:lnTo>
                  <a:pt x="313181" y="242315"/>
                </a:lnTo>
                <a:lnTo>
                  <a:pt x="313943" y="240791"/>
                </a:lnTo>
                <a:lnTo>
                  <a:pt x="325373" y="220653"/>
                </a:lnTo>
                <a:close/>
              </a:path>
              <a:path w="330834" h="245110">
                <a:moveTo>
                  <a:pt x="325373" y="215645"/>
                </a:moveTo>
                <a:lnTo>
                  <a:pt x="321563" y="208025"/>
                </a:lnTo>
                <a:lnTo>
                  <a:pt x="317445" y="215645"/>
                </a:lnTo>
                <a:lnTo>
                  <a:pt x="325373" y="2156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6" name="object 80"/>
          <p:cNvSpPr/>
          <p:nvPr/>
        </p:nvSpPr>
        <p:spPr>
          <a:xfrm>
            <a:off x="7487499" y="3387580"/>
            <a:ext cx="272308" cy="78441"/>
          </a:xfrm>
          <a:prstGeom prst="rect">
            <a:avLst/>
          </a:prstGeom>
          <a:blipFill>
            <a:blip r:embed="rId5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7" name="object 81"/>
          <p:cNvSpPr/>
          <p:nvPr/>
        </p:nvSpPr>
        <p:spPr>
          <a:xfrm>
            <a:off x="7483975" y="3385435"/>
            <a:ext cx="279355" cy="82956"/>
          </a:xfrm>
          <a:custGeom>
            <a:avLst/>
            <a:gdLst/>
            <a:ahLst/>
            <a:cxnLst/>
            <a:rect l="l" t="t" r="r" b="b"/>
            <a:pathLst>
              <a:path w="422909" h="186689">
                <a:moveTo>
                  <a:pt x="422909" y="182118"/>
                </a:moveTo>
                <a:lnTo>
                  <a:pt x="422147" y="179832"/>
                </a:lnTo>
                <a:lnTo>
                  <a:pt x="421385" y="178308"/>
                </a:lnTo>
                <a:lnTo>
                  <a:pt x="275843" y="1524"/>
                </a:lnTo>
                <a:lnTo>
                  <a:pt x="275081" y="0"/>
                </a:lnTo>
                <a:lnTo>
                  <a:pt x="3809" y="0"/>
                </a:lnTo>
                <a:lnTo>
                  <a:pt x="1523" y="762"/>
                </a:lnTo>
                <a:lnTo>
                  <a:pt x="761" y="2286"/>
                </a:lnTo>
                <a:lnTo>
                  <a:pt x="0" y="4572"/>
                </a:lnTo>
                <a:lnTo>
                  <a:pt x="1523" y="7620"/>
                </a:lnTo>
                <a:lnTo>
                  <a:pt x="5333" y="12476"/>
                </a:lnTo>
                <a:lnTo>
                  <a:pt x="5333" y="9144"/>
                </a:lnTo>
                <a:lnTo>
                  <a:pt x="9143" y="1524"/>
                </a:lnTo>
                <a:lnTo>
                  <a:pt x="15121" y="9144"/>
                </a:lnTo>
                <a:lnTo>
                  <a:pt x="268985" y="9144"/>
                </a:lnTo>
                <a:lnTo>
                  <a:pt x="268985" y="7620"/>
                </a:lnTo>
                <a:lnTo>
                  <a:pt x="272795" y="9144"/>
                </a:lnTo>
                <a:lnTo>
                  <a:pt x="272795" y="12272"/>
                </a:lnTo>
                <a:lnTo>
                  <a:pt x="407525" y="176784"/>
                </a:lnTo>
                <a:lnTo>
                  <a:pt x="417575" y="176784"/>
                </a:lnTo>
                <a:lnTo>
                  <a:pt x="417575" y="186690"/>
                </a:lnTo>
                <a:lnTo>
                  <a:pt x="419099" y="186690"/>
                </a:lnTo>
                <a:lnTo>
                  <a:pt x="421385" y="185166"/>
                </a:lnTo>
                <a:lnTo>
                  <a:pt x="422909" y="182118"/>
                </a:lnTo>
                <a:close/>
              </a:path>
              <a:path w="422909" h="186689">
                <a:moveTo>
                  <a:pt x="15121" y="9144"/>
                </a:moveTo>
                <a:lnTo>
                  <a:pt x="9143" y="1524"/>
                </a:lnTo>
                <a:lnTo>
                  <a:pt x="5333" y="9144"/>
                </a:lnTo>
                <a:lnTo>
                  <a:pt x="15121" y="9144"/>
                </a:lnTo>
                <a:close/>
              </a:path>
              <a:path w="422909" h="186689">
                <a:moveTo>
                  <a:pt x="146632" y="176784"/>
                </a:moveTo>
                <a:lnTo>
                  <a:pt x="15121" y="9144"/>
                </a:lnTo>
                <a:lnTo>
                  <a:pt x="5333" y="9144"/>
                </a:lnTo>
                <a:lnTo>
                  <a:pt x="5333" y="12476"/>
                </a:lnTo>
                <a:lnTo>
                  <a:pt x="140207" y="184404"/>
                </a:lnTo>
                <a:lnTo>
                  <a:pt x="140969" y="185928"/>
                </a:lnTo>
                <a:lnTo>
                  <a:pt x="142493" y="186690"/>
                </a:lnTo>
                <a:lnTo>
                  <a:pt x="144017" y="186690"/>
                </a:lnTo>
                <a:lnTo>
                  <a:pt x="144017" y="176784"/>
                </a:lnTo>
                <a:lnTo>
                  <a:pt x="146632" y="176784"/>
                </a:lnTo>
                <a:close/>
              </a:path>
              <a:path w="422909" h="186689">
                <a:moveTo>
                  <a:pt x="147827" y="178308"/>
                </a:moveTo>
                <a:lnTo>
                  <a:pt x="146632" y="176784"/>
                </a:lnTo>
                <a:lnTo>
                  <a:pt x="144017" y="176784"/>
                </a:lnTo>
                <a:lnTo>
                  <a:pt x="147827" y="178308"/>
                </a:lnTo>
                <a:close/>
              </a:path>
              <a:path w="422909" h="186689">
                <a:moveTo>
                  <a:pt x="147827" y="186690"/>
                </a:moveTo>
                <a:lnTo>
                  <a:pt x="147827" y="178308"/>
                </a:lnTo>
                <a:lnTo>
                  <a:pt x="144017" y="176784"/>
                </a:lnTo>
                <a:lnTo>
                  <a:pt x="144017" y="186690"/>
                </a:lnTo>
                <a:lnTo>
                  <a:pt x="147827" y="186690"/>
                </a:lnTo>
                <a:close/>
              </a:path>
              <a:path w="422909" h="186689">
                <a:moveTo>
                  <a:pt x="417575" y="186690"/>
                </a:moveTo>
                <a:lnTo>
                  <a:pt x="417575" y="176784"/>
                </a:lnTo>
                <a:lnTo>
                  <a:pt x="413765" y="184404"/>
                </a:lnTo>
                <a:lnTo>
                  <a:pt x="407525" y="176784"/>
                </a:lnTo>
                <a:lnTo>
                  <a:pt x="146632" y="176784"/>
                </a:lnTo>
                <a:lnTo>
                  <a:pt x="147827" y="178308"/>
                </a:lnTo>
                <a:lnTo>
                  <a:pt x="147827" y="186690"/>
                </a:lnTo>
                <a:lnTo>
                  <a:pt x="417575" y="186690"/>
                </a:lnTo>
                <a:close/>
              </a:path>
              <a:path w="422909" h="186689">
                <a:moveTo>
                  <a:pt x="272795" y="9144"/>
                </a:moveTo>
                <a:lnTo>
                  <a:pt x="268985" y="7620"/>
                </a:lnTo>
                <a:lnTo>
                  <a:pt x="270234" y="9144"/>
                </a:lnTo>
                <a:lnTo>
                  <a:pt x="272795" y="9144"/>
                </a:lnTo>
                <a:close/>
              </a:path>
              <a:path w="422909" h="186689">
                <a:moveTo>
                  <a:pt x="270234" y="9144"/>
                </a:moveTo>
                <a:lnTo>
                  <a:pt x="268985" y="7620"/>
                </a:lnTo>
                <a:lnTo>
                  <a:pt x="268985" y="9144"/>
                </a:lnTo>
                <a:lnTo>
                  <a:pt x="270234" y="9144"/>
                </a:lnTo>
                <a:close/>
              </a:path>
              <a:path w="422909" h="186689">
                <a:moveTo>
                  <a:pt x="272795" y="12272"/>
                </a:moveTo>
                <a:lnTo>
                  <a:pt x="272795" y="9144"/>
                </a:lnTo>
                <a:lnTo>
                  <a:pt x="270234" y="9144"/>
                </a:lnTo>
                <a:lnTo>
                  <a:pt x="272795" y="12272"/>
                </a:lnTo>
                <a:close/>
              </a:path>
              <a:path w="422909" h="186689">
                <a:moveTo>
                  <a:pt x="417575" y="176784"/>
                </a:moveTo>
                <a:lnTo>
                  <a:pt x="407525" y="176784"/>
                </a:lnTo>
                <a:lnTo>
                  <a:pt x="413765" y="184404"/>
                </a:lnTo>
                <a:lnTo>
                  <a:pt x="417575" y="17678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8" name="object 82"/>
          <p:cNvSpPr/>
          <p:nvPr/>
        </p:nvSpPr>
        <p:spPr>
          <a:xfrm>
            <a:off x="7834805" y="3375052"/>
            <a:ext cx="210901" cy="103836"/>
          </a:xfrm>
          <a:prstGeom prst="rect">
            <a:avLst/>
          </a:prstGeom>
          <a:blipFill>
            <a:blip r:embed="rId5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9" name="object 83"/>
          <p:cNvSpPr/>
          <p:nvPr/>
        </p:nvSpPr>
        <p:spPr>
          <a:xfrm>
            <a:off x="7830778" y="3372570"/>
            <a:ext cx="218535" cy="108914"/>
          </a:xfrm>
          <a:custGeom>
            <a:avLst/>
            <a:gdLst/>
            <a:ahLst/>
            <a:cxnLst/>
            <a:rect l="l" t="t" r="r" b="b"/>
            <a:pathLst>
              <a:path w="330834" h="245110">
                <a:moveTo>
                  <a:pt x="274112" y="221227"/>
                </a:moveTo>
                <a:lnTo>
                  <a:pt x="100583" y="1523"/>
                </a:lnTo>
                <a:lnTo>
                  <a:pt x="99821" y="761"/>
                </a:lnTo>
                <a:lnTo>
                  <a:pt x="98297" y="0"/>
                </a:lnTo>
                <a:lnTo>
                  <a:pt x="18287" y="720"/>
                </a:lnTo>
                <a:lnTo>
                  <a:pt x="11429" y="761"/>
                </a:lnTo>
                <a:lnTo>
                  <a:pt x="9143" y="2285"/>
                </a:lnTo>
                <a:lnTo>
                  <a:pt x="9143" y="3809"/>
                </a:lnTo>
                <a:lnTo>
                  <a:pt x="761" y="28193"/>
                </a:lnTo>
                <a:lnTo>
                  <a:pt x="0" y="29717"/>
                </a:lnTo>
                <a:lnTo>
                  <a:pt x="1523" y="32765"/>
                </a:lnTo>
                <a:lnTo>
                  <a:pt x="2285" y="33527"/>
                </a:lnTo>
                <a:lnTo>
                  <a:pt x="3809" y="34289"/>
                </a:lnTo>
                <a:lnTo>
                  <a:pt x="5333" y="34289"/>
                </a:lnTo>
                <a:lnTo>
                  <a:pt x="5333" y="25145"/>
                </a:lnTo>
                <a:lnTo>
                  <a:pt x="12001" y="25145"/>
                </a:lnTo>
                <a:lnTo>
                  <a:pt x="13715" y="20158"/>
                </a:lnTo>
                <a:lnTo>
                  <a:pt x="13715" y="9905"/>
                </a:lnTo>
                <a:lnTo>
                  <a:pt x="18287" y="6857"/>
                </a:lnTo>
                <a:lnTo>
                  <a:pt x="18287" y="9864"/>
                </a:lnTo>
                <a:lnTo>
                  <a:pt x="45016" y="9618"/>
                </a:lnTo>
                <a:lnTo>
                  <a:pt x="46481" y="4571"/>
                </a:lnTo>
                <a:lnTo>
                  <a:pt x="46481" y="3047"/>
                </a:lnTo>
                <a:lnTo>
                  <a:pt x="48005" y="1523"/>
                </a:lnTo>
                <a:lnTo>
                  <a:pt x="49529" y="761"/>
                </a:lnTo>
                <a:lnTo>
                  <a:pt x="51815" y="761"/>
                </a:lnTo>
                <a:lnTo>
                  <a:pt x="53339" y="1523"/>
                </a:lnTo>
                <a:lnTo>
                  <a:pt x="54874" y="3061"/>
                </a:lnTo>
                <a:lnTo>
                  <a:pt x="59931" y="9482"/>
                </a:lnTo>
                <a:lnTo>
                  <a:pt x="92963" y="9178"/>
                </a:lnTo>
                <a:lnTo>
                  <a:pt x="92963" y="7619"/>
                </a:lnTo>
                <a:lnTo>
                  <a:pt x="96773" y="9143"/>
                </a:lnTo>
                <a:lnTo>
                  <a:pt x="96773" y="12423"/>
                </a:lnTo>
                <a:lnTo>
                  <a:pt x="270509" y="231449"/>
                </a:lnTo>
                <a:lnTo>
                  <a:pt x="270509" y="226313"/>
                </a:lnTo>
                <a:lnTo>
                  <a:pt x="274112" y="221227"/>
                </a:lnTo>
                <a:close/>
              </a:path>
              <a:path w="330834" h="245110">
                <a:moveTo>
                  <a:pt x="12001" y="25145"/>
                </a:moveTo>
                <a:lnTo>
                  <a:pt x="5333" y="25145"/>
                </a:lnTo>
                <a:lnTo>
                  <a:pt x="9905" y="31241"/>
                </a:lnTo>
                <a:lnTo>
                  <a:pt x="12001" y="25145"/>
                </a:lnTo>
                <a:close/>
              </a:path>
              <a:path w="330834" h="245110">
                <a:moveTo>
                  <a:pt x="40508" y="25145"/>
                </a:moveTo>
                <a:lnTo>
                  <a:pt x="12001" y="25145"/>
                </a:lnTo>
                <a:lnTo>
                  <a:pt x="9905" y="31241"/>
                </a:lnTo>
                <a:lnTo>
                  <a:pt x="5333" y="25145"/>
                </a:lnTo>
                <a:lnTo>
                  <a:pt x="5333" y="34289"/>
                </a:lnTo>
                <a:lnTo>
                  <a:pt x="39623" y="34289"/>
                </a:lnTo>
                <a:lnTo>
                  <a:pt x="39623" y="28193"/>
                </a:lnTo>
                <a:lnTo>
                  <a:pt x="40508" y="25145"/>
                </a:lnTo>
                <a:close/>
              </a:path>
              <a:path w="330834" h="245110">
                <a:moveTo>
                  <a:pt x="18287" y="6857"/>
                </a:moveTo>
                <a:lnTo>
                  <a:pt x="13715" y="9905"/>
                </a:lnTo>
                <a:lnTo>
                  <a:pt x="17251" y="9873"/>
                </a:lnTo>
                <a:lnTo>
                  <a:pt x="18287" y="6857"/>
                </a:lnTo>
                <a:close/>
              </a:path>
              <a:path w="330834" h="245110">
                <a:moveTo>
                  <a:pt x="17251" y="9873"/>
                </a:moveTo>
                <a:lnTo>
                  <a:pt x="13715" y="9905"/>
                </a:lnTo>
                <a:lnTo>
                  <a:pt x="13715" y="20158"/>
                </a:lnTo>
                <a:lnTo>
                  <a:pt x="17251" y="9873"/>
                </a:lnTo>
                <a:close/>
              </a:path>
              <a:path w="330834" h="245110">
                <a:moveTo>
                  <a:pt x="18287" y="9864"/>
                </a:moveTo>
                <a:lnTo>
                  <a:pt x="18287" y="6857"/>
                </a:lnTo>
                <a:lnTo>
                  <a:pt x="17251" y="9873"/>
                </a:lnTo>
                <a:lnTo>
                  <a:pt x="18287" y="9864"/>
                </a:lnTo>
                <a:close/>
              </a:path>
              <a:path w="330834" h="245110">
                <a:moveTo>
                  <a:pt x="44195" y="25145"/>
                </a:moveTo>
                <a:lnTo>
                  <a:pt x="40508" y="25145"/>
                </a:lnTo>
                <a:lnTo>
                  <a:pt x="39623" y="28193"/>
                </a:lnTo>
                <a:lnTo>
                  <a:pt x="44195" y="25145"/>
                </a:lnTo>
                <a:close/>
              </a:path>
              <a:path w="330834" h="245110">
                <a:moveTo>
                  <a:pt x="44195" y="34289"/>
                </a:moveTo>
                <a:lnTo>
                  <a:pt x="44195" y="25145"/>
                </a:lnTo>
                <a:lnTo>
                  <a:pt x="39623" y="28193"/>
                </a:lnTo>
                <a:lnTo>
                  <a:pt x="39623" y="34289"/>
                </a:lnTo>
                <a:lnTo>
                  <a:pt x="44195" y="34289"/>
                </a:lnTo>
                <a:close/>
              </a:path>
              <a:path w="330834" h="245110">
                <a:moveTo>
                  <a:pt x="53105" y="15818"/>
                </a:moveTo>
                <a:lnTo>
                  <a:pt x="48195" y="9589"/>
                </a:lnTo>
                <a:lnTo>
                  <a:pt x="45016" y="9618"/>
                </a:lnTo>
                <a:lnTo>
                  <a:pt x="40508" y="25145"/>
                </a:lnTo>
                <a:lnTo>
                  <a:pt x="44195" y="25145"/>
                </a:lnTo>
                <a:lnTo>
                  <a:pt x="44195" y="34289"/>
                </a:lnTo>
                <a:lnTo>
                  <a:pt x="46481" y="34289"/>
                </a:lnTo>
                <a:lnTo>
                  <a:pt x="48767" y="32765"/>
                </a:lnTo>
                <a:lnTo>
                  <a:pt x="48767" y="31241"/>
                </a:lnTo>
                <a:lnTo>
                  <a:pt x="53105" y="15818"/>
                </a:lnTo>
                <a:close/>
              </a:path>
              <a:path w="330834" h="245110">
                <a:moveTo>
                  <a:pt x="59931" y="9482"/>
                </a:moveTo>
                <a:lnTo>
                  <a:pt x="54863" y="3047"/>
                </a:lnTo>
                <a:lnTo>
                  <a:pt x="53339" y="1523"/>
                </a:lnTo>
                <a:lnTo>
                  <a:pt x="51815" y="761"/>
                </a:lnTo>
                <a:lnTo>
                  <a:pt x="49529" y="761"/>
                </a:lnTo>
                <a:lnTo>
                  <a:pt x="48005" y="1523"/>
                </a:lnTo>
                <a:lnTo>
                  <a:pt x="46481" y="3047"/>
                </a:lnTo>
                <a:lnTo>
                  <a:pt x="46481" y="4571"/>
                </a:lnTo>
                <a:lnTo>
                  <a:pt x="45016" y="9618"/>
                </a:lnTo>
                <a:lnTo>
                  <a:pt x="47243" y="9598"/>
                </a:lnTo>
                <a:lnTo>
                  <a:pt x="47243" y="8381"/>
                </a:lnTo>
                <a:lnTo>
                  <a:pt x="55625" y="6857"/>
                </a:lnTo>
                <a:lnTo>
                  <a:pt x="55625" y="9521"/>
                </a:lnTo>
                <a:lnTo>
                  <a:pt x="59931" y="9482"/>
                </a:lnTo>
                <a:close/>
              </a:path>
              <a:path w="330834" h="245110">
                <a:moveTo>
                  <a:pt x="55625" y="6857"/>
                </a:moveTo>
                <a:lnTo>
                  <a:pt x="47243" y="8381"/>
                </a:lnTo>
                <a:lnTo>
                  <a:pt x="48195" y="9589"/>
                </a:lnTo>
                <a:lnTo>
                  <a:pt x="54874" y="9528"/>
                </a:lnTo>
                <a:lnTo>
                  <a:pt x="55625" y="6857"/>
                </a:lnTo>
                <a:close/>
              </a:path>
              <a:path w="330834" h="245110">
                <a:moveTo>
                  <a:pt x="48195" y="9589"/>
                </a:moveTo>
                <a:lnTo>
                  <a:pt x="47243" y="8381"/>
                </a:lnTo>
                <a:lnTo>
                  <a:pt x="47243" y="9598"/>
                </a:lnTo>
                <a:lnTo>
                  <a:pt x="48195" y="9589"/>
                </a:lnTo>
                <a:close/>
              </a:path>
              <a:path w="330834" h="245110">
                <a:moveTo>
                  <a:pt x="54874" y="9528"/>
                </a:moveTo>
                <a:lnTo>
                  <a:pt x="48195" y="9589"/>
                </a:lnTo>
                <a:lnTo>
                  <a:pt x="53105" y="15818"/>
                </a:lnTo>
                <a:lnTo>
                  <a:pt x="54874" y="9528"/>
                </a:lnTo>
                <a:close/>
              </a:path>
              <a:path w="330834" h="245110">
                <a:moveTo>
                  <a:pt x="237264" y="234644"/>
                </a:moveTo>
                <a:lnTo>
                  <a:pt x="59931" y="9482"/>
                </a:lnTo>
                <a:lnTo>
                  <a:pt x="54863" y="9567"/>
                </a:lnTo>
                <a:lnTo>
                  <a:pt x="53105" y="15818"/>
                </a:lnTo>
                <a:lnTo>
                  <a:pt x="231647" y="242315"/>
                </a:lnTo>
                <a:lnTo>
                  <a:pt x="232409" y="243839"/>
                </a:lnTo>
                <a:lnTo>
                  <a:pt x="233933" y="244601"/>
                </a:lnTo>
                <a:lnTo>
                  <a:pt x="234695" y="244601"/>
                </a:lnTo>
                <a:lnTo>
                  <a:pt x="234695" y="234695"/>
                </a:lnTo>
                <a:lnTo>
                  <a:pt x="237264" y="234644"/>
                </a:lnTo>
                <a:close/>
              </a:path>
              <a:path w="330834" h="245110">
                <a:moveTo>
                  <a:pt x="55625" y="9521"/>
                </a:moveTo>
                <a:lnTo>
                  <a:pt x="55625" y="6857"/>
                </a:lnTo>
                <a:lnTo>
                  <a:pt x="54874" y="9528"/>
                </a:lnTo>
                <a:lnTo>
                  <a:pt x="55625" y="9521"/>
                </a:lnTo>
                <a:close/>
              </a:path>
              <a:path w="330834" h="245110">
                <a:moveTo>
                  <a:pt x="96773" y="9143"/>
                </a:moveTo>
                <a:lnTo>
                  <a:pt x="92963" y="7619"/>
                </a:lnTo>
                <a:lnTo>
                  <a:pt x="94191" y="9167"/>
                </a:lnTo>
                <a:lnTo>
                  <a:pt x="96773" y="9143"/>
                </a:lnTo>
                <a:close/>
              </a:path>
              <a:path w="330834" h="245110">
                <a:moveTo>
                  <a:pt x="94191" y="9167"/>
                </a:moveTo>
                <a:lnTo>
                  <a:pt x="92963" y="7619"/>
                </a:lnTo>
                <a:lnTo>
                  <a:pt x="92963" y="9178"/>
                </a:lnTo>
                <a:lnTo>
                  <a:pt x="94191" y="9167"/>
                </a:lnTo>
                <a:close/>
              </a:path>
              <a:path w="330834" h="245110">
                <a:moveTo>
                  <a:pt x="96773" y="12423"/>
                </a:moveTo>
                <a:lnTo>
                  <a:pt x="96773" y="9143"/>
                </a:lnTo>
                <a:lnTo>
                  <a:pt x="94191" y="9167"/>
                </a:lnTo>
                <a:lnTo>
                  <a:pt x="96773" y="12423"/>
                </a:lnTo>
                <a:close/>
              </a:path>
              <a:path w="330834" h="245110">
                <a:moveTo>
                  <a:pt x="238505" y="236219"/>
                </a:moveTo>
                <a:lnTo>
                  <a:pt x="237264" y="234644"/>
                </a:lnTo>
                <a:lnTo>
                  <a:pt x="234695" y="234695"/>
                </a:lnTo>
                <a:lnTo>
                  <a:pt x="238505" y="236219"/>
                </a:lnTo>
                <a:close/>
              </a:path>
              <a:path w="330834" h="245110">
                <a:moveTo>
                  <a:pt x="238505" y="244539"/>
                </a:moveTo>
                <a:lnTo>
                  <a:pt x="238505" y="236219"/>
                </a:lnTo>
                <a:lnTo>
                  <a:pt x="234695" y="234695"/>
                </a:lnTo>
                <a:lnTo>
                  <a:pt x="234695" y="244601"/>
                </a:lnTo>
                <a:lnTo>
                  <a:pt x="238505" y="244539"/>
                </a:lnTo>
                <a:close/>
              </a:path>
              <a:path w="330834" h="245110">
                <a:moveTo>
                  <a:pt x="310133" y="243077"/>
                </a:moveTo>
                <a:lnTo>
                  <a:pt x="310133" y="233171"/>
                </a:lnTo>
                <a:lnTo>
                  <a:pt x="306323" y="236219"/>
                </a:lnTo>
                <a:lnTo>
                  <a:pt x="306323" y="233248"/>
                </a:lnTo>
                <a:lnTo>
                  <a:pt x="237264" y="234644"/>
                </a:lnTo>
                <a:lnTo>
                  <a:pt x="238505" y="236219"/>
                </a:lnTo>
                <a:lnTo>
                  <a:pt x="238505" y="244539"/>
                </a:lnTo>
                <a:lnTo>
                  <a:pt x="306323" y="243155"/>
                </a:lnTo>
                <a:lnTo>
                  <a:pt x="306323" y="236219"/>
                </a:lnTo>
                <a:lnTo>
                  <a:pt x="307947" y="233216"/>
                </a:lnTo>
                <a:lnTo>
                  <a:pt x="307947" y="243122"/>
                </a:lnTo>
                <a:lnTo>
                  <a:pt x="310133" y="243077"/>
                </a:lnTo>
                <a:close/>
              </a:path>
              <a:path w="330834" h="245110">
                <a:moveTo>
                  <a:pt x="278129" y="226313"/>
                </a:moveTo>
                <a:lnTo>
                  <a:pt x="274112" y="221227"/>
                </a:lnTo>
                <a:lnTo>
                  <a:pt x="270509" y="226313"/>
                </a:lnTo>
                <a:lnTo>
                  <a:pt x="278129" y="226313"/>
                </a:lnTo>
                <a:close/>
              </a:path>
              <a:path w="330834" h="245110">
                <a:moveTo>
                  <a:pt x="278129" y="233171"/>
                </a:moveTo>
                <a:lnTo>
                  <a:pt x="278129" y="226313"/>
                </a:lnTo>
                <a:lnTo>
                  <a:pt x="270509" y="226313"/>
                </a:lnTo>
                <a:lnTo>
                  <a:pt x="270509" y="231449"/>
                </a:lnTo>
                <a:lnTo>
                  <a:pt x="271271" y="232409"/>
                </a:lnTo>
                <a:lnTo>
                  <a:pt x="272033" y="233171"/>
                </a:lnTo>
                <a:lnTo>
                  <a:pt x="273513" y="233911"/>
                </a:lnTo>
                <a:lnTo>
                  <a:pt x="276782" y="233845"/>
                </a:lnTo>
                <a:lnTo>
                  <a:pt x="278129" y="233171"/>
                </a:lnTo>
                <a:close/>
              </a:path>
              <a:path w="330834" h="245110">
                <a:moveTo>
                  <a:pt x="330707" y="211073"/>
                </a:moveTo>
                <a:lnTo>
                  <a:pt x="330707" y="209549"/>
                </a:lnTo>
                <a:lnTo>
                  <a:pt x="329183" y="206501"/>
                </a:lnTo>
                <a:lnTo>
                  <a:pt x="327659" y="205739"/>
                </a:lnTo>
                <a:lnTo>
                  <a:pt x="285749" y="205739"/>
                </a:lnTo>
                <a:lnTo>
                  <a:pt x="284225" y="206501"/>
                </a:lnTo>
                <a:lnTo>
                  <a:pt x="283463" y="208025"/>
                </a:lnTo>
                <a:lnTo>
                  <a:pt x="274112" y="221227"/>
                </a:lnTo>
                <a:lnTo>
                  <a:pt x="278129" y="226313"/>
                </a:lnTo>
                <a:lnTo>
                  <a:pt x="278129" y="233171"/>
                </a:lnTo>
                <a:lnTo>
                  <a:pt x="278891" y="231647"/>
                </a:lnTo>
                <a:lnTo>
                  <a:pt x="287273" y="219074"/>
                </a:lnTo>
                <a:lnTo>
                  <a:pt x="287273" y="215645"/>
                </a:lnTo>
                <a:lnTo>
                  <a:pt x="291083" y="213359"/>
                </a:lnTo>
                <a:lnTo>
                  <a:pt x="291083" y="215645"/>
                </a:lnTo>
                <a:lnTo>
                  <a:pt x="317445" y="215645"/>
                </a:lnTo>
                <a:lnTo>
                  <a:pt x="321563" y="208025"/>
                </a:lnTo>
                <a:lnTo>
                  <a:pt x="325373" y="215645"/>
                </a:lnTo>
                <a:lnTo>
                  <a:pt x="325373" y="221056"/>
                </a:lnTo>
                <a:lnTo>
                  <a:pt x="329945" y="212597"/>
                </a:lnTo>
                <a:lnTo>
                  <a:pt x="330707" y="211073"/>
                </a:lnTo>
                <a:close/>
              </a:path>
              <a:path w="330834" h="245110">
                <a:moveTo>
                  <a:pt x="291083" y="213359"/>
                </a:moveTo>
                <a:lnTo>
                  <a:pt x="287273" y="215645"/>
                </a:lnTo>
                <a:lnTo>
                  <a:pt x="289559" y="215645"/>
                </a:lnTo>
                <a:lnTo>
                  <a:pt x="291083" y="213359"/>
                </a:lnTo>
                <a:close/>
              </a:path>
              <a:path w="330834" h="245110">
                <a:moveTo>
                  <a:pt x="289559" y="215645"/>
                </a:moveTo>
                <a:lnTo>
                  <a:pt x="287273" y="215645"/>
                </a:lnTo>
                <a:lnTo>
                  <a:pt x="287273" y="219074"/>
                </a:lnTo>
                <a:lnTo>
                  <a:pt x="289559" y="215645"/>
                </a:lnTo>
                <a:close/>
              </a:path>
              <a:path w="330834" h="245110">
                <a:moveTo>
                  <a:pt x="291083" y="215645"/>
                </a:moveTo>
                <a:lnTo>
                  <a:pt x="291083" y="213359"/>
                </a:lnTo>
                <a:lnTo>
                  <a:pt x="289559" y="215645"/>
                </a:lnTo>
                <a:lnTo>
                  <a:pt x="291083" y="215645"/>
                </a:lnTo>
                <a:close/>
              </a:path>
              <a:path w="330834" h="245110">
                <a:moveTo>
                  <a:pt x="310133" y="233171"/>
                </a:moveTo>
                <a:lnTo>
                  <a:pt x="307947" y="233216"/>
                </a:lnTo>
                <a:lnTo>
                  <a:pt x="306323" y="236219"/>
                </a:lnTo>
                <a:lnTo>
                  <a:pt x="310133" y="233171"/>
                </a:lnTo>
                <a:close/>
              </a:path>
              <a:path w="330834" h="245110">
                <a:moveTo>
                  <a:pt x="325373" y="221056"/>
                </a:moveTo>
                <a:lnTo>
                  <a:pt x="325373" y="215645"/>
                </a:lnTo>
                <a:lnTo>
                  <a:pt x="317445" y="215645"/>
                </a:lnTo>
                <a:lnTo>
                  <a:pt x="307947" y="233216"/>
                </a:lnTo>
                <a:lnTo>
                  <a:pt x="310133" y="233171"/>
                </a:lnTo>
                <a:lnTo>
                  <a:pt x="310133" y="243077"/>
                </a:lnTo>
                <a:lnTo>
                  <a:pt x="312419" y="243077"/>
                </a:lnTo>
                <a:lnTo>
                  <a:pt x="313943" y="242315"/>
                </a:lnTo>
                <a:lnTo>
                  <a:pt x="314705" y="240791"/>
                </a:lnTo>
                <a:lnTo>
                  <a:pt x="325373" y="221056"/>
                </a:lnTo>
                <a:close/>
              </a:path>
              <a:path w="330834" h="245110">
                <a:moveTo>
                  <a:pt x="325373" y="215645"/>
                </a:moveTo>
                <a:lnTo>
                  <a:pt x="321563" y="208025"/>
                </a:lnTo>
                <a:lnTo>
                  <a:pt x="317445" y="215645"/>
                </a:lnTo>
                <a:lnTo>
                  <a:pt x="325373" y="21564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0" name="object 84"/>
          <p:cNvSpPr/>
          <p:nvPr/>
        </p:nvSpPr>
        <p:spPr>
          <a:xfrm>
            <a:off x="7698894" y="3387580"/>
            <a:ext cx="272820" cy="78441"/>
          </a:xfrm>
          <a:prstGeom prst="rect">
            <a:avLst/>
          </a:prstGeom>
          <a:blipFill>
            <a:blip r:embed="rId5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1" name="object 85"/>
          <p:cNvSpPr/>
          <p:nvPr/>
        </p:nvSpPr>
        <p:spPr>
          <a:xfrm>
            <a:off x="7695876" y="3385096"/>
            <a:ext cx="278936" cy="82956"/>
          </a:xfrm>
          <a:custGeom>
            <a:avLst/>
            <a:gdLst/>
            <a:ahLst/>
            <a:cxnLst/>
            <a:rect l="l" t="t" r="r" b="b"/>
            <a:pathLst>
              <a:path w="422275" h="186689">
                <a:moveTo>
                  <a:pt x="422148" y="182118"/>
                </a:moveTo>
                <a:lnTo>
                  <a:pt x="422148" y="180594"/>
                </a:lnTo>
                <a:lnTo>
                  <a:pt x="420624" y="179070"/>
                </a:lnTo>
                <a:lnTo>
                  <a:pt x="275844" y="1524"/>
                </a:lnTo>
                <a:lnTo>
                  <a:pt x="275082" y="762"/>
                </a:lnTo>
                <a:lnTo>
                  <a:pt x="273558" y="0"/>
                </a:lnTo>
                <a:lnTo>
                  <a:pt x="3048" y="762"/>
                </a:lnTo>
                <a:lnTo>
                  <a:pt x="1524" y="1524"/>
                </a:lnTo>
                <a:lnTo>
                  <a:pt x="0" y="4572"/>
                </a:lnTo>
                <a:lnTo>
                  <a:pt x="0" y="6858"/>
                </a:lnTo>
                <a:lnTo>
                  <a:pt x="1524" y="8382"/>
                </a:lnTo>
                <a:lnTo>
                  <a:pt x="4572" y="12267"/>
                </a:lnTo>
                <a:lnTo>
                  <a:pt x="4572" y="9906"/>
                </a:lnTo>
                <a:lnTo>
                  <a:pt x="8382" y="2286"/>
                </a:lnTo>
                <a:lnTo>
                  <a:pt x="14392" y="9906"/>
                </a:lnTo>
                <a:lnTo>
                  <a:pt x="268224" y="9906"/>
                </a:lnTo>
                <a:lnTo>
                  <a:pt x="268224" y="7620"/>
                </a:lnTo>
                <a:lnTo>
                  <a:pt x="272034" y="9906"/>
                </a:lnTo>
                <a:lnTo>
                  <a:pt x="272034" y="12267"/>
                </a:lnTo>
                <a:lnTo>
                  <a:pt x="407519" y="177546"/>
                </a:lnTo>
                <a:lnTo>
                  <a:pt x="417576" y="177546"/>
                </a:lnTo>
                <a:lnTo>
                  <a:pt x="417576" y="186690"/>
                </a:lnTo>
                <a:lnTo>
                  <a:pt x="419100" y="186690"/>
                </a:lnTo>
                <a:lnTo>
                  <a:pt x="420624" y="185928"/>
                </a:lnTo>
                <a:lnTo>
                  <a:pt x="421386" y="184404"/>
                </a:lnTo>
                <a:lnTo>
                  <a:pt x="422148" y="182118"/>
                </a:lnTo>
                <a:close/>
              </a:path>
              <a:path w="422275" h="186689">
                <a:moveTo>
                  <a:pt x="14392" y="9906"/>
                </a:moveTo>
                <a:lnTo>
                  <a:pt x="8382" y="2286"/>
                </a:lnTo>
                <a:lnTo>
                  <a:pt x="4572" y="9906"/>
                </a:lnTo>
                <a:lnTo>
                  <a:pt x="14392" y="9906"/>
                </a:lnTo>
                <a:close/>
              </a:path>
              <a:path w="422275" h="186689">
                <a:moveTo>
                  <a:pt x="146625" y="177546"/>
                </a:moveTo>
                <a:lnTo>
                  <a:pt x="14392" y="9906"/>
                </a:lnTo>
                <a:lnTo>
                  <a:pt x="4572" y="9906"/>
                </a:lnTo>
                <a:lnTo>
                  <a:pt x="4572" y="12267"/>
                </a:lnTo>
                <a:lnTo>
                  <a:pt x="140208" y="185166"/>
                </a:lnTo>
                <a:lnTo>
                  <a:pt x="140970" y="185928"/>
                </a:lnTo>
                <a:lnTo>
                  <a:pt x="142494" y="186690"/>
                </a:lnTo>
                <a:lnTo>
                  <a:pt x="144018" y="186690"/>
                </a:lnTo>
                <a:lnTo>
                  <a:pt x="144018" y="177546"/>
                </a:lnTo>
                <a:lnTo>
                  <a:pt x="146625" y="177546"/>
                </a:lnTo>
                <a:close/>
              </a:path>
              <a:path w="422275" h="186689">
                <a:moveTo>
                  <a:pt x="147828" y="179070"/>
                </a:moveTo>
                <a:lnTo>
                  <a:pt x="146625" y="177546"/>
                </a:lnTo>
                <a:lnTo>
                  <a:pt x="144018" y="177546"/>
                </a:lnTo>
                <a:lnTo>
                  <a:pt x="147828" y="179070"/>
                </a:lnTo>
                <a:close/>
              </a:path>
              <a:path w="422275" h="186689">
                <a:moveTo>
                  <a:pt x="147828" y="186690"/>
                </a:moveTo>
                <a:lnTo>
                  <a:pt x="147828" y="179070"/>
                </a:lnTo>
                <a:lnTo>
                  <a:pt x="144018" y="177546"/>
                </a:lnTo>
                <a:lnTo>
                  <a:pt x="144018" y="186690"/>
                </a:lnTo>
                <a:lnTo>
                  <a:pt x="147828" y="186690"/>
                </a:lnTo>
                <a:close/>
              </a:path>
              <a:path w="422275" h="186689">
                <a:moveTo>
                  <a:pt x="417576" y="186690"/>
                </a:moveTo>
                <a:lnTo>
                  <a:pt x="417576" y="177546"/>
                </a:lnTo>
                <a:lnTo>
                  <a:pt x="413766" y="185166"/>
                </a:lnTo>
                <a:lnTo>
                  <a:pt x="407519" y="177546"/>
                </a:lnTo>
                <a:lnTo>
                  <a:pt x="146625" y="177546"/>
                </a:lnTo>
                <a:lnTo>
                  <a:pt x="147828" y="179070"/>
                </a:lnTo>
                <a:lnTo>
                  <a:pt x="147828" y="186690"/>
                </a:lnTo>
                <a:lnTo>
                  <a:pt x="417576" y="186690"/>
                </a:lnTo>
                <a:close/>
              </a:path>
              <a:path w="422275" h="186689">
                <a:moveTo>
                  <a:pt x="272034" y="9906"/>
                </a:moveTo>
                <a:lnTo>
                  <a:pt x="268224" y="7620"/>
                </a:lnTo>
                <a:lnTo>
                  <a:pt x="270097" y="9906"/>
                </a:lnTo>
                <a:lnTo>
                  <a:pt x="272034" y="9906"/>
                </a:lnTo>
                <a:close/>
              </a:path>
              <a:path w="422275" h="186689">
                <a:moveTo>
                  <a:pt x="270097" y="9906"/>
                </a:moveTo>
                <a:lnTo>
                  <a:pt x="268224" y="7620"/>
                </a:lnTo>
                <a:lnTo>
                  <a:pt x="268224" y="9906"/>
                </a:lnTo>
                <a:lnTo>
                  <a:pt x="270097" y="9906"/>
                </a:lnTo>
                <a:close/>
              </a:path>
              <a:path w="422275" h="186689">
                <a:moveTo>
                  <a:pt x="272034" y="12267"/>
                </a:moveTo>
                <a:lnTo>
                  <a:pt x="272034" y="9906"/>
                </a:lnTo>
                <a:lnTo>
                  <a:pt x="270097" y="9906"/>
                </a:lnTo>
                <a:lnTo>
                  <a:pt x="272034" y="12267"/>
                </a:lnTo>
                <a:close/>
              </a:path>
              <a:path w="422275" h="186689">
                <a:moveTo>
                  <a:pt x="417576" y="177546"/>
                </a:moveTo>
                <a:lnTo>
                  <a:pt x="407519" y="177546"/>
                </a:lnTo>
                <a:lnTo>
                  <a:pt x="413766" y="185166"/>
                </a:lnTo>
                <a:lnTo>
                  <a:pt x="417576" y="1775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2" name="object 86"/>
          <p:cNvSpPr/>
          <p:nvPr/>
        </p:nvSpPr>
        <p:spPr>
          <a:xfrm>
            <a:off x="8332101" y="3387806"/>
            <a:ext cx="200842" cy="79231"/>
          </a:xfrm>
          <a:prstGeom prst="rect">
            <a:avLst/>
          </a:prstGeom>
          <a:blipFill>
            <a:blip r:embed="rId5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3" name="object 87"/>
          <p:cNvSpPr/>
          <p:nvPr/>
        </p:nvSpPr>
        <p:spPr>
          <a:xfrm>
            <a:off x="8328585" y="3385435"/>
            <a:ext cx="207629" cy="83803"/>
          </a:xfrm>
          <a:custGeom>
            <a:avLst/>
            <a:gdLst/>
            <a:ahLst/>
            <a:cxnLst/>
            <a:rect l="l" t="t" r="r" b="b"/>
            <a:pathLst>
              <a:path w="314325" h="188595">
                <a:moveTo>
                  <a:pt x="313944" y="6096"/>
                </a:moveTo>
                <a:lnTo>
                  <a:pt x="313944" y="4572"/>
                </a:lnTo>
                <a:lnTo>
                  <a:pt x="313182" y="3810"/>
                </a:lnTo>
                <a:lnTo>
                  <a:pt x="312420" y="2286"/>
                </a:lnTo>
                <a:lnTo>
                  <a:pt x="311658" y="1524"/>
                </a:lnTo>
                <a:lnTo>
                  <a:pt x="310134" y="1524"/>
                </a:lnTo>
                <a:lnTo>
                  <a:pt x="309372" y="762"/>
                </a:lnTo>
                <a:lnTo>
                  <a:pt x="3048" y="0"/>
                </a:lnTo>
                <a:lnTo>
                  <a:pt x="1524" y="762"/>
                </a:lnTo>
                <a:lnTo>
                  <a:pt x="0" y="3810"/>
                </a:lnTo>
                <a:lnTo>
                  <a:pt x="0" y="6096"/>
                </a:lnTo>
                <a:lnTo>
                  <a:pt x="1524" y="7620"/>
                </a:lnTo>
                <a:lnTo>
                  <a:pt x="4572" y="11577"/>
                </a:lnTo>
                <a:lnTo>
                  <a:pt x="4572" y="9144"/>
                </a:lnTo>
                <a:lnTo>
                  <a:pt x="8382" y="1524"/>
                </a:lnTo>
                <a:lnTo>
                  <a:pt x="14321" y="9192"/>
                </a:lnTo>
                <a:lnTo>
                  <a:pt x="304760" y="10644"/>
                </a:lnTo>
                <a:lnTo>
                  <a:pt x="304800" y="6096"/>
                </a:lnTo>
                <a:lnTo>
                  <a:pt x="309372" y="10668"/>
                </a:lnTo>
                <a:lnTo>
                  <a:pt x="309372" y="188214"/>
                </a:lnTo>
                <a:lnTo>
                  <a:pt x="310134" y="188214"/>
                </a:lnTo>
                <a:lnTo>
                  <a:pt x="312420" y="185928"/>
                </a:lnTo>
                <a:lnTo>
                  <a:pt x="312420" y="183642"/>
                </a:lnTo>
                <a:lnTo>
                  <a:pt x="313944" y="6096"/>
                </a:lnTo>
                <a:close/>
              </a:path>
              <a:path w="314325" h="188595">
                <a:moveTo>
                  <a:pt x="14321" y="9192"/>
                </a:moveTo>
                <a:lnTo>
                  <a:pt x="8382" y="1524"/>
                </a:lnTo>
                <a:lnTo>
                  <a:pt x="4572" y="9144"/>
                </a:lnTo>
                <a:lnTo>
                  <a:pt x="14321" y="9192"/>
                </a:lnTo>
                <a:close/>
              </a:path>
              <a:path w="314325" h="188595">
                <a:moveTo>
                  <a:pt x="145885" y="179070"/>
                </a:moveTo>
                <a:lnTo>
                  <a:pt x="14321" y="9192"/>
                </a:lnTo>
                <a:lnTo>
                  <a:pt x="4572" y="9144"/>
                </a:lnTo>
                <a:lnTo>
                  <a:pt x="4572" y="11577"/>
                </a:lnTo>
                <a:lnTo>
                  <a:pt x="139446" y="186690"/>
                </a:lnTo>
                <a:lnTo>
                  <a:pt x="140970" y="187452"/>
                </a:lnTo>
                <a:lnTo>
                  <a:pt x="141732" y="188214"/>
                </a:lnTo>
                <a:lnTo>
                  <a:pt x="143256" y="188214"/>
                </a:lnTo>
                <a:lnTo>
                  <a:pt x="143256" y="179070"/>
                </a:lnTo>
                <a:lnTo>
                  <a:pt x="145885" y="179070"/>
                </a:lnTo>
                <a:close/>
              </a:path>
              <a:path w="314325" h="188595">
                <a:moveTo>
                  <a:pt x="147066" y="180594"/>
                </a:moveTo>
                <a:lnTo>
                  <a:pt x="145885" y="179070"/>
                </a:lnTo>
                <a:lnTo>
                  <a:pt x="143256" y="179070"/>
                </a:lnTo>
                <a:lnTo>
                  <a:pt x="147066" y="180594"/>
                </a:lnTo>
                <a:close/>
              </a:path>
              <a:path w="314325" h="188595">
                <a:moveTo>
                  <a:pt x="147066" y="188214"/>
                </a:moveTo>
                <a:lnTo>
                  <a:pt x="147066" y="180594"/>
                </a:lnTo>
                <a:lnTo>
                  <a:pt x="143256" y="179070"/>
                </a:lnTo>
                <a:lnTo>
                  <a:pt x="143256" y="188214"/>
                </a:lnTo>
                <a:lnTo>
                  <a:pt x="147066" y="188214"/>
                </a:lnTo>
                <a:close/>
              </a:path>
              <a:path w="314325" h="188595">
                <a:moveTo>
                  <a:pt x="303315" y="179070"/>
                </a:moveTo>
                <a:lnTo>
                  <a:pt x="145885" y="179070"/>
                </a:lnTo>
                <a:lnTo>
                  <a:pt x="147066" y="180594"/>
                </a:lnTo>
                <a:lnTo>
                  <a:pt x="147066" y="188214"/>
                </a:lnTo>
                <a:lnTo>
                  <a:pt x="303276" y="188214"/>
                </a:lnTo>
                <a:lnTo>
                  <a:pt x="303276" y="183642"/>
                </a:lnTo>
                <a:lnTo>
                  <a:pt x="303315" y="179070"/>
                </a:lnTo>
                <a:close/>
              </a:path>
              <a:path w="314325" h="188595">
                <a:moveTo>
                  <a:pt x="307848" y="179070"/>
                </a:moveTo>
                <a:lnTo>
                  <a:pt x="303315" y="179070"/>
                </a:lnTo>
                <a:lnTo>
                  <a:pt x="303276" y="183642"/>
                </a:lnTo>
                <a:lnTo>
                  <a:pt x="307848" y="179070"/>
                </a:lnTo>
                <a:close/>
              </a:path>
              <a:path w="314325" h="188595">
                <a:moveTo>
                  <a:pt x="307848" y="188214"/>
                </a:moveTo>
                <a:lnTo>
                  <a:pt x="307848" y="179070"/>
                </a:lnTo>
                <a:lnTo>
                  <a:pt x="303276" y="183642"/>
                </a:lnTo>
                <a:lnTo>
                  <a:pt x="303276" y="188214"/>
                </a:lnTo>
                <a:lnTo>
                  <a:pt x="307848" y="188214"/>
                </a:lnTo>
                <a:close/>
              </a:path>
              <a:path w="314325" h="188595">
                <a:moveTo>
                  <a:pt x="309372" y="188214"/>
                </a:moveTo>
                <a:lnTo>
                  <a:pt x="309372" y="10668"/>
                </a:lnTo>
                <a:lnTo>
                  <a:pt x="304760" y="10644"/>
                </a:lnTo>
                <a:lnTo>
                  <a:pt x="303315" y="179070"/>
                </a:lnTo>
                <a:lnTo>
                  <a:pt x="307848" y="179070"/>
                </a:lnTo>
                <a:lnTo>
                  <a:pt x="307848" y="188214"/>
                </a:lnTo>
                <a:lnTo>
                  <a:pt x="309372" y="188214"/>
                </a:lnTo>
                <a:close/>
              </a:path>
              <a:path w="314325" h="188595">
                <a:moveTo>
                  <a:pt x="309372" y="10668"/>
                </a:moveTo>
                <a:lnTo>
                  <a:pt x="304800" y="6096"/>
                </a:lnTo>
                <a:lnTo>
                  <a:pt x="304760" y="10644"/>
                </a:lnTo>
                <a:lnTo>
                  <a:pt x="309372" y="1066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4" name="object 88"/>
          <p:cNvSpPr/>
          <p:nvPr/>
        </p:nvSpPr>
        <p:spPr>
          <a:xfrm>
            <a:off x="7782961" y="3067606"/>
            <a:ext cx="610556" cy="278214"/>
          </a:xfrm>
          <a:prstGeom prst="rect">
            <a:avLst/>
          </a:prstGeom>
          <a:blipFill>
            <a:blip r:embed="rId5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5" name="object 89"/>
          <p:cNvSpPr/>
          <p:nvPr/>
        </p:nvSpPr>
        <p:spPr>
          <a:xfrm>
            <a:off x="7774899" y="3061737"/>
            <a:ext cx="626662" cy="319127"/>
          </a:xfrm>
          <a:custGeom>
            <a:avLst/>
            <a:gdLst/>
            <a:ahLst/>
            <a:cxnLst/>
            <a:rect l="l" t="t" r="r" b="b"/>
            <a:pathLst>
              <a:path w="948690" h="718185">
                <a:moveTo>
                  <a:pt x="948689" y="11429"/>
                </a:moveTo>
                <a:lnTo>
                  <a:pt x="948689" y="7619"/>
                </a:lnTo>
                <a:lnTo>
                  <a:pt x="947165" y="4571"/>
                </a:lnTo>
                <a:lnTo>
                  <a:pt x="944879" y="1523"/>
                </a:lnTo>
                <a:lnTo>
                  <a:pt x="941831" y="0"/>
                </a:lnTo>
                <a:lnTo>
                  <a:pt x="6095" y="0"/>
                </a:lnTo>
                <a:lnTo>
                  <a:pt x="3047" y="1523"/>
                </a:lnTo>
                <a:lnTo>
                  <a:pt x="0" y="7619"/>
                </a:lnTo>
                <a:lnTo>
                  <a:pt x="0" y="11429"/>
                </a:lnTo>
                <a:lnTo>
                  <a:pt x="1523" y="14477"/>
                </a:lnTo>
                <a:lnTo>
                  <a:pt x="9905" y="28906"/>
                </a:lnTo>
                <a:lnTo>
                  <a:pt x="9905" y="19049"/>
                </a:lnTo>
                <a:lnTo>
                  <a:pt x="18287" y="4571"/>
                </a:lnTo>
                <a:lnTo>
                  <a:pt x="26699" y="19049"/>
                </a:lnTo>
                <a:lnTo>
                  <a:pt x="921163" y="19049"/>
                </a:lnTo>
                <a:lnTo>
                  <a:pt x="930401" y="4571"/>
                </a:lnTo>
                <a:lnTo>
                  <a:pt x="938783" y="19049"/>
                </a:lnTo>
                <a:lnTo>
                  <a:pt x="938783" y="26419"/>
                </a:lnTo>
                <a:lnTo>
                  <a:pt x="946403" y="14477"/>
                </a:lnTo>
                <a:lnTo>
                  <a:pt x="948689" y="11429"/>
                </a:lnTo>
                <a:close/>
              </a:path>
              <a:path w="948690" h="718185">
                <a:moveTo>
                  <a:pt x="26699" y="19049"/>
                </a:moveTo>
                <a:lnTo>
                  <a:pt x="18287" y="4571"/>
                </a:lnTo>
                <a:lnTo>
                  <a:pt x="9905" y="19049"/>
                </a:lnTo>
                <a:lnTo>
                  <a:pt x="26699" y="19049"/>
                </a:lnTo>
                <a:close/>
              </a:path>
              <a:path w="948690" h="718185">
                <a:moveTo>
                  <a:pt x="390905" y="698753"/>
                </a:moveTo>
                <a:lnTo>
                  <a:pt x="390905" y="646175"/>
                </a:lnTo>
                <a:lnTo>
                  <a:pt x="390143" y="644651"/>
                </a:lnTo>
                <a:lnTo>
                  <a:pt x="26699" y="19049"/>
                </a:lnTo>
                <a:lnTo>
                  <a:pt x="9905" y="19049"/>
                </a:lnTo>
                <a:lnTo>
                  <a:pt x="9905" y="28906"/>
                </a:lnTo>
                <a:lnTo>
                  <a:pt x="371855" y="651934"/>
                </a:lnTo>
                <a:lnTo>
                  <a:pt x="371855" y="649985"/>
                </a:lnTo>
                <a:lnTo>
                  <a:pt x="373379" y="654557"/>
                </a:lnTo>
                <a:lnTo>
                  <a:pt x="373379" y="714755"/>
                </a:lnTo>
                <a:lnTo>
                  <a:pt x="376427" y="717803"/>
                </a:lnTo>
                <a:lnTo>
                  <a:pt x="381761" y="717803"/>
                </a:lnTo>
                <a:lnTo>
                  <a:pt x="381761" y="698753"/>
                </a:lnTo>
                <a:lnTo>
                  <a:pt x="390905" y="698753"/>
                </a:lnTo>
                <a:close/>
              </a:path>
              <a:path w="948690" h="718185">
                <a:moveTo>
                  <a:pt x="373379" y="654557"/>
                </a:moveTo>
                <a:lnTo>
                  <a:pt x="371855" y="649985"/>
                </a:lnTo>
                <a:lnTo>
                  <a:pt x="371855" y="651934"/>
                </a:lnTo>
                <a:lnTo>
                  <a:pt x="373379" y="654557"/>
                </a:lnTo>
                <a:close/>
              </a:path>
              <a:path w="948690" h="718185">
                <a:moveTo>
                  <a:pt x="373379" y="714755"/>
                </a:moveTo>
                <a:lnTo>
                  <a:pt x="373379" y="654557"/>
                </a:lnTo>
                <a:lnTo>
                  <a:pt x="371855" y="651934"/>
                </a:lnTo>
                <a:lnTo>
                  <a:pt x="371855" y="713231"/>
                </a:lnTo>
                <a:lnTo>
                  <a:pt x="373379" y="714755"/>
                </a:lnTo>
                <a:close/>
              </a:path>
              <a:path w="948690" h="718185">
                <a:moveTo>
                  <a:pt x="529589" y="698753"/>
                </a:moveTo>
                <a:lnTo>
                  <a:pt x="381761" y="698753"/>
                </a:lnTo>
                <a:lnTo>
                  <a:pt x="390905" y="707897"/>
                </a:lnTo>
                <a:lnTo>
                  <a:pt x="390905" y="717803"/>
                </a:lnTo>
                <a:lnTo>
                  <a:pt x="520445" y="717803"/>
                </a:lnTo>
                <a:lnTo>
                  <a:pt x="520445" y="707897"/>
                </a:lnTo>
                <a:lnTo>
                  <a:pt x="529589" y="698753"/>
                </a:lnTo>
                <a:close/>
              </a:path>
              <a:path w="948690" h="718185">
                <a:moveTo>
                  <a:pt x="390905" y="717803"/>
                </a:moveTo>
                <a:lnTo>
                  <a:pt x="390905" y="707897"/>
                </a:lnTo>
                <a:lnTo>
                  <a:pt x="381761" y="698753"/>
                </a:lnTo>
                <a:lnTo>
                  <a:pt x="381761" y="717803"/>
                </a:lnTo>
                <a:lnTo>
                  <a:pt x="390905" y="717803"/>
                </a:lnTo>
                <a:close/>
              </a:path>
              <a:path w="948690" h="718185">
                <a:moveTo>
                  <a:pt x="938783" y="26419"/>
                </a:moveTo>
                <a:lnTo>
                  <a:pt x="938783" y="19049"/>
                </a:lnTo>
                <a:lnTo>
                  <a:pt x="921163" y="19049"/>
                </a:lnTo>
                <a:lnTo>
                  <a:pt x="521969" y="644651"/>
                </a:lnTo>
                <a:lnTo>
                  <a:pt x="520445" y="647699"/>
                </a:lnTo>
                <a:lnTo>
                  <a:pt x="520445" y="698753"/>
                </a:lnTo>
                <a:lnTo>
                  <a:pt x="529589" y="698753"/>
                </a:lnTo>
                <a:lnTo>
                  <a:pt x="529589" y="717803"/>
                </a:lnTo>
                <a:lnTo>
                  <a:pt x="534923" y="717803"/>
                </a:lnTo>
                <a:lnTo>
                  <a:pt x="537971" y="714755"/>
                </a:lnTo>
                <a:lnTo>
                  <a:pt x="537971" y="654557"/>
                </a:lnTo>
                <a:lnTo>
                  <a:pt x="539495" y="649985"/>
                </a:lnTo>
                <a:lnTo>
                  <a:pt x="539495" y="652169"/>
                </a:lnTo>
                <a:lnTo>
                  <a:pt x="938783" y="26419"/>
                </a:lnTo>
                <a:close/>
              </a:path>
              <a:path w="948690" h="718185">
                <a:moveTo>
                  <a:pt x="529589" y="717803"/>
                </a:moveTo>
                <a:lnTo>
                  <a:pt x="529589" y="698753"/>
                </a:lnTo>
                <a:lnTo>
                  <a:pt x="520445" y="707897"/>
                </a:lnTo>
                <a:lnTo>
                  <a:pt x="520445" y="717803"/>
                </a:lnTo>
                <a:lnTo>
                  <a:pt x="529589" y="717803"/>
                </a:lnTo>
                <a:close/>
              </a:path>
              <a:path w="948690" h="718185">
                <a:moveTo>
                  <a:pt x="539495" y="652169"/>
                </a:moveTo>
                <a:lnTo>
                  <a:pt x="539495" y="649985"/>
                </a:lnTo>
                <a:lnTo>
                  <a:pt x="537971" y="654557"/>
                </a:lnTo>
                <a:lnTo>
                  <a:pt x="539495" y="652169"/>
                </a:lnTo>
                <a:close/>
              </a:path>
              <a:path w="948690" h="718185">
                <a:moveTo>
                  <a:pt x="539495" y="713231"/>
                </a:moveTo>
                <a:lnTo>
                  <a:pt x="539495" y="652169"/>
                </a:lnTo>
                <a:lnTo>
                  <a:pt x="537971" y="654557"/>
                </a:lnTo>
                <a:lnTo>
                  <a:pt x="537971" y="714755"/>
                </a:lnTo>
                <a:lnTo>
                  <a:pt x="539495" y="713231"/>
                </a:lnTo>
                <a:close/>
              </a:path>
              <a:path w="948690" h="718185">
                <a:moveTo>
                  <a:pt x="938783" y="19049"/>
                </a:moveTo>
                <a:lnTo>
                  <a:pt x="930401" y="4571"/>
                </a:lnTo>
                <a:lnTo>
                  <a:pt x="921163" y="19049"/>
                </a:lnTo>
                <a:lnTo>
                  <a:pt x="938783" y="19049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6" name="object 90"/>
          <p:cNvSpPr/>
          <p:nvPr/>
        </p:nvSpPr>
        <p:spPr>
          <a:xfrm>
            <a:off x="7781451" y="3027201"/>
            <a:ext cx="613575" cy="38600"/>
          </a:xfrm>
          <a:prstGeom prst="rect">
            <a:avLst/>
          </a:prstGeom>
          <a:blipFill>
            <a:blip r:embed="rId5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7" name="object 91"/>
          <p:cNvSpPr/>
          <p:nvPr/>
        </p:nvSpPr>
        <p:spPr>
          <a:xfrm>
            <a:off x="7774899" y="3022800"/>
            <a:ext cx="626243" cy="43171"/>
          </a:xfrm>
          <a:custGeom>
            <a:avLst/>
            <a:gdLst/>
            <a:ahLst/>
            <a:cxnLst/>
            <a:rect l="l" t="t" r="r" b="b"/>
            <a:pathLst>
              <a:path w="948054" h="97154">
                <a:moveTo>
                  <a:pt x="947928" y="96774"/>
                </a:moveTo>
                <a:lnTo>
                  <a:pt x="947928" y="4572"/>
                </a:lnTo>
                <a:lnTo>
                  <a:pt x="944118" y="0"/>
                </a:lnTo>
                <a:lnTo>
                  <a:pt x="4571" y="0"/>
                </a:lnTo>
                <a:lnTo>
                  <a:pt x="0" y="4572"/>
                </a:lnTo>
                <a:lnTo>
                  <a:pt x="0" y="96774"/>
                </a:lnTo>
                <a:lnTo>
                  <a:pt x="9906" y="96774"/>
                </a:lnTo>
                <a:lnTo>
                  <a:pt x="9905" y="19050"/>
                </a:lnTo>
                <a:lnTo>
                  <a:pt x="19049" y="9906"/>
                </a:lnTo>
                <a:lnTo>
                  <a:pt x="19049" y="19050"/>
                </a:lnTo>
                <a:lnTo>
                  <a:pt x="928878" y="19050"/>
                </a:lnTo>
                <a:lnTo>
                  <a:pt x="928878" y="9906"/>
                </a:lnTo>
                <a:lnTo>
                  <a:pt x="938784" y="19050"/>
                </a:lnTo>
                <a:lnTo>
                  <a:pt x="938784" y="96774"/>
                </a:lnTo>
                <a:lnTo>
                  <a:pt x="947928" y="96774"/>
                </a:lnTo>
                <a:close/>
              </a:path>
              <a:path w="948054" h="97154">
                <a:moveTo>
                  <a:pt x="19049" y="19050"/>
                </a:moveTo>
                <a:lnTo>
                  <a:pt x="19049" y="9906"/>
                </a:lnTo>
                <a:lnTo>
                  <a:pt x="9905" y="19050"/>
                </a:lnTo>
                <a:lnTo>
                  <a:pt x="19049" y="19050"/>
                </a:lnTo>
                <a:close/>
              </a:path>
              <a:path w="948054" h="97154">
                <a:moveTo>
                  <a:pt x="19050" y="96774"/>
                </a:moveTo>
                <a:lnTo>
                  <a:pt x="19049" y="19050"/>
                </a:lnTo>
                <a:lnTo>
                  <a:pt x="9905" y="19050"/>
                </a:lnTo>
                <a:lnTo>
                  <a:pt x="9906" y="96774"/>
                </a:lnTo>
                <a:lnTo>
                  <a:pt x="19050" y="96774"/>
                </a:lnTo>
                <a:close/>
              </a:path>
              <a:path w="948054" h="97154">
                <a:moveTo>
                  <a:pt x="938784" y="19050"/>
                </a:moveTo>
                <a:lnTo>
                  <a:pt x="928878" y="9906"/>
                </a:lnTo>
                <a:lnTo>
                  <a:pt x="928878" y="19050"/>
                </a:lnTo>
                <a:lnTo>
                  <a:pt x="938784" y="19050"/>
                </a:lnTo>
                <a:close/>
              </a:path>
              <a:path w="948054" h="97154">
                <a:moveTo>
                  <a:pt x="938784" y="96774"/>
                </a:moveTo>
                <a:lnTo>
                  <a:pt x="938784" y="19050"/>
                </a:lnTo>
                <a:lnTo>
                  <a:pt x="928878" y="19050"/>
                </a:lnTo>
                <a:lnTo>
                  <a:pt x="928878" y="96774"/>
                </a:lnTo>
                <a:lnTo>
                  <a:pt x="938784" y="96774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8" name="object 92"/>
          <p:cNvSpPr/>
          <p:nvPr/>
        </p:nvSpPr>
        <p:spPr>
          <a:xfrm>
            <a:off x="6296588" y="3348866"/>
            <a:ext cx="306619" cy="0"/>
          </a:xfrm>
          <a:custGeom>
            <a:avLst/>
            <a:gdLst/>
            <a:ahLst/>
            <a:cxnLst/>
            <a:rect l="l" t="t" r="r" b="b"/>
            <a:pathLst>
              <a:path w="464185">
                <a:moveTo>
                  <a:pt x="0" y="0"/>
                </a:moveTo>
                <a:lnTo>
                  <a:pt x="464058" y="0"/>
                </a:lnTo>
              </a:path>
            </a:pathLst>
          </a:custGeom>
          <a:ln w="365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9" name="object 93"/>
          <p:cNvSpPr/>
          <p:nvPr/>
        </p:nvSpPr>
        <p:spPr>
          <a:xfrm>
            <a:off x="6293064" y="3338709"/>
            <a:ext cx="313332" cy="20316"/>
          </a:xfrm>
          <a:custGeom>
            <a:avLst/>
            <a:gdLst/>
            <a:ahLst/>
            <a:cxnLst/>
            <a:rect l="l" t="t" r="r" b="b"/>
            <a:pathLst>
              <a:path w="474345" h="45720">
                <a:moveTo>
                  <a:pt x="473963" y="45720"/>
                </a:moveTo>
                <a:lnTo>
                  <a:pt x="473963" y="0"/>
                </a:lnTo>
                <a:lnTo>
                  <a:pt x="0" y="0"/>
                </a:lnTo>
                <a:lnTo>
                  <a:pt x="0" y="45720"/>
                </a:lnTo>
                <a:lnTo>
                  <a:pt x="5334" y="45720"/>
                </a:lnTo>
                <a:lnTo>
                  <a:pt x="5334" y="9144"/>
                </a:lnTo>
                <a:lnTo>
                  <a:pt x="9906" y="4572"/>
                </a:lnTo>
                <a:lnTo>
                  <a:pt x="9906" y="9144"/>
                </a:lnTo>
                <a:lnTo>
                  <a:pt x="464820" y="9144"/>
                </a:lnTo>
                <a:lnTo>
                  <a:pt x="464820" y="4572"/>
                </a:lnTo>
                <a:lnTo>
                  <a:pt x="469379" y="9144"/>
                </a:lnTo>
                <a:lnTo>
                  <a:pt x="469379" y="45720"/>
                </a:lnTo>
                <a:lnTo>
                  <a:pt x="473963" y="45720"/>
                </a:lnTo>
                <a:close/>
              </a:path>
              <a:path w="474345" h="45720">
                <a:moveTo>
                  <a:pt x="9906" y="9144"/>
                </a:moveTo>
                <a:lnTo>
                  <a:pt x="9906" y="4572"/>
                </a:lnTo>
                <a:lnTo>
                  <a:pt x="5334" y="9144"/>
                </a:lnTo>
                <a:lnTo>
                  <a:pt x="9906" y="9144"/>
                </a:lnTo>
                <a:close/>
              </a:path>
              <a:path w="474345" h="45720">
                <a:moveTo>
                  <a:pt x="9906" y="36575"/>
                </a:moveTo>
                <a:lnTo>
                  <a:pt x="9906" y="9144"/>
                </a:lnTo>
                <a:lnTo>
                  <a:pt x="5334" y="9144"/>
                </a:lnTo>
                <a:lnTo>
                  <a:pt x="5334" y="36575"/>
                </a:lnTo>
                <a:lnTo>
                  <a:pt x="9906" y="36575"/>
                </a:lnTo>
                <a:close/>
              </a:path>
              <a:path w="474345" h="45720">
                <a:moveTo>
                  <a:pt x="469379" y="36575"/>
                </a:moveTo>
                <a:lnTo>
                  <a:pt x="5334" y="36575"/>
                </a:lnTo>
                <a:lnTo>
                  <a:pt x="9906" y="41148"/>
                </a:lnTo>
                <a:lnTo>
                  <a:pt x="9906" y="45720"/>
                </a:lnTo>
                <a:lnTo>
                  <a:pt x="464820" y="45720"/>
                </a:lnTo>
                <a:lnTo>
                  <a:pt x="464820" y="41148"/>
                </a:lnTo>
                <a:lnTo>
                  <a:pt x="469379" y="36575"/>
                </a:lnTo>
                <a:close/>
              </a:path>
              <a:path w="474345" h="45720">
                <a:moveTo>
                  <a:pt x="9906" y="45720"/>
                </a:moveTo>
                <a:lnTo>
                  <a:pt x="9906" y="41148"/>
                </a:lnTo>
                <a:lnTo>
                  <a:pt x="5334" y="36575"/>
                </a:lnTo>
                <a:lnTo>
                  <a:pt x="5334" y="45720"/>
                </a:lnTo>
                <a:lnTo>
                  <a:pt x="9906" y="45720"/>
                </a:lnTo>
                <a:close/>
              </a:path>
              <a:path w="474345" h="45720">
                <a:moveTo>
                  <a:pt x="469379" y="9144"/>
                </a:moveTo>
                <a:lnTo>
                  <a:pt x="464820" y="4572"/>
                </a:lnTo>
                <a:lnTo>
                  <a:pt x="464820" y="9144"/>
                </a:lnTo>
                <a:lnTo>
                  <a:pt x="469379" y="9144"/>
                </a:lnTo>
                <a:close/>
              </a:path>
              <a:path w="474345" h="45720">
                <a:moveTo>
                  <a:pt x="469379" y="36575"/>
                </a:moveTo>
                <a:lnTo>
                  <a:pt x="469379" y="9144"/>
                </a:lnTo>
                <a:lnTo>
                  <a:pt x="464820" y="9144"/>
                </a:lnTo>
                <a:lnTo>
                  <a:pt x="464820" y="36575"/>
                </a:lnTo>
                <a:lnTo>
                  <a:pt x="469379" y="36575"/>
                </a:lnTo>
                <a:close/>
              </a:path>
              <a:path w="474345" h="45720">
                <a:moveTo>
                  <a:pt x="469379" y="45720"/>
                </a:moveTo>
                <a:lnTo>
                  <a:pt x="469379" y="36575"/>
                </a:lnTo>
                <a:lnTo>
                  <a:pt x="464820" y="41148"/>
                </a:lnTo>
                <a:lnTo>
                  <a:pt x="464820" y="45720"/>
                </a:lnTo>
                <a:lnTo>
                  <a:pt x="469379" y="45720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0" name="object 94"/>
          <p:cNvSpPr/>
          <p:nvPr/>
        </p:nvSpPr>
        <p:spPr>
          <a:xfrm>
            <a:off x="5849115" y="3358009"/>
            <a:ext cx="2131241" cy="72798"/>
          </a:xfrm>
          <a:custGeom>
            <a:avLst/>
            <a:gdLst/>
            <a:ahLst/>
            <a:cxnLst/>
            <a:rect l="l" t="t" r="r" b="b"/>
            <a:pathLst>
              <a:path w="3226434" h="163829">
                <a:moveTo>
                  <a:pt x="3226308" y="36576"/>
                </a:moveTo>
                <a:lnTo>
                  <a:pt x="3226308" y="0"/>
                </a:lnTo>
                <a:lnTo>
                  <a:pt x="579882" y="0"/>
                </a:lnTo>
                <a:lnTo>
                  <a:pt x="0" y="163830"/>
                </a:lnTo>
                <a:lnTo>
                  <a:pt x="69342" y="163830"/>
                </a:lnTo>
                <a:lnTo>
                  <a:pt x="579882" y="36576"/>
                </a:lnTo>
                <a:lnTo>
                  <a:pt x="3226308" y="36576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1" name="object 95"/>
          <p:cNvSpPr/>
          <p:nvPr/>
        </p:nvSpPr>
        <p:spPr>
          <a:xfrm>
            <a:off x="5845591" y="3355978"/>
            <a:ext cx="2138371" cy="77031"/>
          </a:xfrm>
          <a:custGeom>
            <a:avLst/>
            <a:gdLst/>
            <a:ahLst/>
            <a:cxnLst/>
            <a:rect l="l" t="t" r="r" b="b"/>
            <a:pathLst>
              <a:path w="3237229" h="173354">
                <a:moveTo>
                  <a:pt x="3236976" y="44195"/>
                </a:moveTo>
                <a:lnTo>
                  <a:pt x="3236976" y="2285"/>
                </a:lnTo>
                <a:lnTo>
                  <a:pt x="3234690" y="0"/>
                </a:lnTo>
                <a:lnTo>
                  <a:pt x="583692" y="0"/>
                </a:lnTo>
                <a:lnTo>
                  <a:pt x="3810" y="163830"/>
                </a:lnTo>
                <a:lnTo>
                  <a:pt x="1524" y="164592"/>
                </a:lnTo>
                <a:lnTo>
                  <a:pt x="0" y="166878"/>
                </a:lnTo>
                <a:lnTo>
                  <a:pt x="0" y="169164"/>
                </a:lnTo>
                <a:lnTo>
                  <a:pt x="762" y="171450"/>
                </a:lnTo>
                <a:lnTo>
                  <a:pt x="3048" y="172974"/>
                </a:lnTo>
                <a:lnTo>
                  <a:pt x="5334" y="172974"/>
                </a:lnTo>
                <a:lnTo>
                  <a:pt x="5334" y="163830"/>
                </a:lnTo>
                <a:lnTo>
                  <a:pt x="38461" y="163830"/>
                </a:lnTo>
                <a:lnTo>
                  <a:pt x="585978" y="9144"/>
                </a:lnTo>
                <a:lnTo>
                  <a:pt x="585978" y="9906"/>
                </a:lnTo>
                <a:lnTo>
                  <a:pt x="3227070" y="9905"/>
                </a:lnTo>
                <a:lnTo>
                  <a:pt x="3227070" y="4571"/>
                </a:lnTo>
                <a:lnTo>
                  <a:pt x="3231642" y="9905"/>
                </a:lnTo>
                <a:lnTo>
                  <a:pt x="3231642" y="46481"/>
                </a:lnTo>
                <a:lnTo>
                  <a:pt x="3234690" y="46481"/>
                </a:lnTo>
                <a:lnTo>
                  <a:pt x="3236976" y="44195"/>
                </a:lnTo>
                <a:close/>
              </a:path>
              <a:path w="3237229" h="173354">
                <a:moveTo>
                  <a:pt x="38461" y="163830"/>
                </a:moveTo>
                <a:lnTo>
                  <a:pt x="5334" y="163830"/>
                </a:lnTo>
                <a:lnTo>
                  <a:pt x="6096" y="172974"/>
                </a:lnTo>
                <a:lnTo>
                  <a:pt x="38461" y="163830"/>
                </a:lnTo>
                <a:close/>
              </a:path>
              <a:path w="3237229" h="173354">
                <a:moveTo>
                  <a:pt x="6096" y="172974"/>
                </a:moveTo>
                <a:lnTo>
                  <a:pt x="5334" y="163830"/>
                </a:lnTo>
                <a:lnTo>
                  <a:pt x="5334" y="172974"/>
                </a:lnTo>
                <a:lnTo>
                  <a:pt x="6096" y="172974"/>
                </a:lnTo>
                <a:close/>
              </a:path>
              <a:path w="3237229" h="173354">
                <a:moveTo>
                  <a:pt x="74676" y="172974"/>
                </a:moveTo>
                <a:lnTo>
                  <a:pt x="74676" y="163830"/>
                </a:lnTo>
                <a:lnTo>
                  <a:pt x="38461" y="163830"/>
                </a:lnTo>
                <a:lnTo>
                  <a:pt x="6096" y="172974"/>
                </a:lnTo>
                <a:lnTo>
                  <a:pt x="74676" y="172974"/>
                </a:lnTo>
                <a:close/>
              </a:path>
              <a:path w="3237229" h="173354">
                <a:moveTo>
                  <a:pt x="3231642" y="36575"/>
                </a:moveTo>
                <a:lnTo>
                  <a:pt x="583692" y="36576"/>
                </a:lnTo>
                <a:lnTo>
                  <a:pt x="73914" y="163830"/>
                </a:lnTo>
                <a:lnTo>
                  <a:pt x="74676" y="163830"/>
                </a:lnTo>
                <a:lnTo>
                  <a:pt x="74676" y="172974"/>
                </a:lnTo>
                <a:lnTo>
                  <a:pt x="76200" y="172974"/>
                </a:lnTo>
                <a:lnTo>
                  <a:pt x="585978" y="45720"/>
                </a:lnTo>
                <a:lnTo>
                  <a:pt x="585978" y="46482"/>
                </a:lnTo>
                <a:lnTo>
                  <a:pt x="3227070" y="46481"/>
                </a:lnTo>
                <a:lnTo>
                  <a:pt x="3227070" y="41147"/>
                </a:lnTo>
                <a:lnTo>
                  <a:pt x="3231642" y="36575"/>
                </a:lnTo>
                <a:close/>
              </a:path>
              <a:path w="3237229" h="173354">
                <a:moveTo>
                  <a:pt x="585978" y="9906"/>
                </a:moveTo>
                <a:lnTo>
                  <a:pt x="585978" y="9144"/>
                </a:lnTo>
                <a:lnTo>
                  <a:pt x="585216" y="9906"/>
                </a:lnTo>
                <a:lnTo>
                  <a:pt x="585978" y="9906"/>
                </a:lnTo>
                <a:close/>
              </a:path>
              <a:path w="3237229" h="173354">
                <a:moveTo>
                  <a:pt x="585978" y="46482"/>
                </a:moveTo>
                <a:lnTo>
                  <a:pt x="585978" y="45720"/>
                </a:lnTo>
                <a:lnTo>
                  <a:pt x="585216" y="46482"/>
                </a:lnTo>
                <a:lnTo>
                  <a:pt x="585978" y="46482"/>
                </a:lnTo>
                <a:close/>
              </a:path>
              <a:path w="3237229" h="173354">
                <a:moveTo>
                  <a:pt x="3231642" y="9905"/>
                </a:moveTo>
                <a:lnTo>
                  <a:pt x="3227070" y="4571"/>
                </a:lnTo>
                <a:lnTo>
                  <a:pt x="3227070" y="9905"/>
                </a:lnTo>
                <a:lnTo>
                  <a:pt x="3231642" y="9905"/>
                </a:lnTo>
                <a:close/>
              </a:path>
              <a:path w="3237229" h="173354">
                <a:moveTo>
                  <a:pt x="3231642" y="36575"/>
                </a:moveTo>
                <a:lnTo>
                  <a:pt x="3231642" y="9905"/>
                </a:lnTo>
                <a:lnTo>
                  <a:pt x="3227070" y="9905"/>
                </a:lnTo>
                <a:lnTo>
                  <a:pt x="3227070" y="36575"/>
                </a:lnTo>
                <a:lnTo>
                  <a:pt x="3231642" y="36575"/>
                </a:lnTo>
                <a:close/>
              </a:path>
              <a:path w="3237229" h="173354">
                <a:moveTo>
                  <a:pt x="3231642" y="46481"/>
                </a:moveTo>
                <a:lnTo>
                  <a:pt x="3231642" y="36575"/>
                </a:lnTo>
                <a:lnTo>
                  <a:pt x="3227070" y="41147"/>
                </a:lnTo>
                <a:lnTo>
                  <a:pt x="3227070" y="46481"/>
                </a:lnTo>
                <a:lnTo>
                  <a:pt x="3231642" y="464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2" name="object 96"/>
          <p:cNvSpPr/>
          <p:nvPr/>
        </p:nvSpPr>
        <p:spPr>
          <a:xfrm>
            <a:off x="6680127" y="3348528"/>
            <a:ext cx="306619" cy="0"/>
          </a:xfrm>
          <a:custGeom>
            <a:avLst/>
            <a:gdLst/>
            <a:ahLst/>
            <a:cxnLst/>
            <a:rect l="l" t="t" r="r" b="b"/>
            <a:pathLst>
              <a:path w="464184">
                <a:moveTo>
                  <a:pt x="0" y="0"/>
                </a:moveTo>
                <a:lnTo>
                  <a:pt x="464057" y="0"/>
                </a:lnTo>
              </a:path>
            </a:pathLst>
          </a:custGeom>
          <a:ln w="365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3" name="object 97"/>
          <p:cNvSpPr/>
          <p:nvPr/>
        </p:nvSpPr>
        <p:spPr>
          <a:xfrm>
            <a:off x="6676612" y="3338370"/>
            <a:ext cx="313332" cy="20316"/>
          </a:xfrm>
          <a:custGeom>
            <a:avLst/>
            <a:gdLst/>
            <a:ahLst/>
            <a:cxnLst/>
            <a:rect l="l" t="t" r="r" b="b"/>
            <a:pathLst>
              <a:path w="474345" h="45720">
                <a:moveTo>
                  <a:pt x="473964" y="45720"/>
                </a:moveTo>
                <a:lnTo>
                  <a:pt x="473964" y="0"/>
                </a:lnTo>
                <a:lnTo>
                  <a:pt x="0" y="0"/>
                </a:lnTo>
                <a:lnTo>
                  <a:pt x="0" y="45720"/>
                </a:lnTo>
                <a:lnTo>
                  <a:pt x="5321" y="45720"/>
                </a:lnTo>
                <a:lnTo>
                  <a:pt x="5321" y="9144"/>
                </a:lnTo>
                <a:lnTo>
                  <a:pt x="9893" y="4572"/>
                </a:lnTo>
                <a:lnTo>
                  <a:pt x="9893" y="9144"/>
                </a:lnTo>
                <a:lnTo>
                  <a:pt x="464807" y="9144"/>
                </a:lnTo>
                <a:lnTo>
                  <a:pt x="464807" y="4572"/>
                </a:lnTo>
                <a:lnTo>
                  <a:pt x="469379" y="9144"/>
                </a:lnTo>
                <a:lnTo>
                  <a:pt x="469379" y="45720"/>
                </a:lnTo>
                <a:lnTo>
                  <a:pt x="473964" y="45720"/>
                </a:lnTo>
                <a:close/>
              </a:path>
              <a:path w="474345" h="45720">
                <a:moveTo>
                  <a:pt x="9893" y="9144"/>
                </a:moveTo>
                <a:lnTo>
                  <a:pt x="9893" y="4572"/>
                </a:lnTo>
                <a:lnTo>
                  <a:pt x="5321" y="9144"/>
                </a:lnTo>
                <a:lnTo>
                  <a:pt x="9893" y="9144"/>
                </a:lnTo>
                <a:close/>
              </a:path>
              <a:path w="474345" h="45720">
                <a:moveTo>
                  <a:pt x="9893" y="36575"/>
                </a:moveTo>
                <a:lnTo>
                  <a:pt x="9893" y="9144"/>
                </a:lnTo>
                <a:lnTo>
                  <a:pt x="5321" y="9144"/>
                </a:lnTo>
                <a:lnTo>
                  <a:pt x="5321" y="36575"/>
                </a:lnTo>
                <a:lnTo>
                  <a:pt x="9893" y="36575"/>
                </a:lnTo>
                <a:close/>
              </a:path>
              <a:path w="474345" h="45720">
                <a:moveTo>
                  <a:pt x="469379" y="36575"/>
                </a:moveTo>
                <a:lnTo>
                  <a:pt x="5321" y="36575"/>
                </a:lnTo>
                <a:lnTo>
                  <a:pt x="9893" y="41148"/>
                </a:lnTo>
                <a:lnTo>
                  <a:pt x="9893" y="45720"/>
                </a:lnTo>
                <a:lnTo>
                  <a:pt x="464807" y="45720"/>
                </a:lnTo>
                <a:lnTo>
                  <a:pt x="464807" y="41148"/>
                </a:lnTo>
                <a:lnTo>
                  <a:pt x="469379" y="36575"/>
                </a:lnTo>
                <a:close/>
              </a:path>
              <a:path w="474345" h="45720">
                <a:moveTo>
                  <a:pt x="9893" y="45720"/>
                </a:moveTo>
                <a:lnTo>
                  <a:pt x="9893" y="41148"/>
                </a:lnTo>
                <a:lnTo>
                  <a:pt x="5321" y="36575"/>
                </a:lnTo>
                <a:lnTo>
                  <a:pt x="5321" y="45720"/>
                </a:lnTo>
                <a:lnTo>
                  <a:pt x="9893" y="45720"/>
                </a:lnTo>
                <a:close/>
              </a:path>
              <a:path w="474345" h="45720">
                <a:moveTo>
                  <a:pt x="469379" y="9144"/>
                </a:moveTo>
                <a:lnTo>
                  <a:pt x="464807" y="4572"/>
                </a:lnTo>
                <a:lnTo>
                  <a:pt x="464807" y="9144"/>
                </a:lnTo>
                <a:lnTo>
                  <a:pt x="469379" y="9144"/>
                </a:lnTo>
                <a:close/>
              </a:path>
              <a:path w="474345" h="45720">
                <a:moveTo>
                  <a:pt x="469379" y="36575"/>
                </a:moveTo>
                <a:lnTo>
                  <a:pt x="469379" y="9144"/>
                </a:lnTo>
                <a:lnTo>
                  <a:pt x="464807" y="9144"/>
                </a:lnTo>
                <a:lnTo>
                  <a:pt x="464807" y="36575"/>
                </a:lnTo>
                <a:lnTo>
                  <a:pt x="469379" y="36575"/>
                </a:lnTo>
                <a:close/>
              </a:path>
              <a:path w="474345" h="45720">
                <a:moveTo>
                  <a:pt x="469379" y="45720"/>
                </a:moveTo>
                <a:lnTo>
                  <a:pt x="469379" y="36575"/>
                </a:lnTo>
                <a:lnTo>
                  <a:pt x="464807" y="41148"/>
                </a:lnTo>
                <a:lnTo>
                  <a:pt x="464807" y="45720"/>
                </a:lnTo>
                <a:lnTo>
                  <a:pt x="469379" y="45720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4" name="object 98"/>
          <p:cNvSpPr/>
          <p:nvPr/>
        </p:nvSpPr>
        <p:spPr>
          <a:xfrm>
            <a:off x="7063683" y="3348190"/>
            <a:ext cx="306619" cy="0"/>
          </a:xfrm>
          <a:custGeom>
            <a:avLst/>
            <a:gdLst/>
            <a:ahLst/>
            <a:cxnLst/>
            <a:rect l="l" t="t" r="r" b="b"/>
            <a:pathLst>
              <a:path w="464184">
                <a:moveTo>
                  <a:pt x="0" y="0"/>
                </a:moveTo>
                <a:lnTo>
                  <a:pt x="464057" y="0"/>
                </a:lnTo>
              </a:path>
            </a:pathLst>
          </a:custGeom>
          <a:ln w="365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5" name="object 99"/>
          <p:cNvSpPr/>
          <p:nvPr/>
        </p:nvSpPr>
        <p:spPr>
          <a:xfrm>
            <a:off x="7060150" y="3338031"/>
            <a:ext cx="313332" cy="20880"/>
          </a:xfrm>
          <a:custGeom>
            <a:avLst/>
            <a:gdLst/>
            <a:ahLst/>
            <a:cxnLst/>
            <a:rect l="l" t="t" r="r" b="b"/>
            <a:pathLst>
              <a:path w="474345" h="46989">
                <a:moveTo>
                  <a:pt x="473964" y="46482"/>
                </a:moveTo>
                <a:lnTo>
                  <a:pt x="473964" y="0"/>
                </a:lnTo>
                <a:lnTo>
                  <a:pt x="0" y="0"/>
                </a:lnTo>
                <a:lnTo>
                  <a:pt x="0" y="46482"/>
                </a:lnTo>
                <a:lnTo>
                  <a:pt x="5346" y="46482"/>
                </a:lnTo>
                <a:lnTo>
                  <a:pt x="5346" y="9906"/>
                </a:lnTo>
                <a:lnTo>
                  <a:pt x="9918" y="4572"/>
                </a:lnTo>
                <a:lnTo>
                  <a:pt x="9918" y="9906"/>
                </a:lnTo>
                <a:lnTo>
                  <a:pt x="464832" y="9906"/>
                </a:lnTo>
                <a:lnTo>
                  <a:pt x="464832" y="4572"/>
                </a:lnTo>
                <a:lnTo>
                  <a:pt x="469404" y="9906"/>
                </a:lnTo>
                <a:lnTo>
                  <a:pt x="469404" y="46482"/>
                </a:lnTo>
                <a:lnTo>
                  <a:pt x="473964" y="46482"/>
                </a:lnTo>
                <a:close/>
              </a:path>
              <a:path w="474345" h="46989">
                <a:moveTo>
                  <a:pt x="9918" y="9906"/>
                </a:moveTo>
                <a:lnTo>
                  <a:pt x="9918" y="4572"/>
                </a:lnTo>
                <a:lnTo>
                  <a:pt x="5346" y="9906"/>
                </a:lnTo>
                <a:lnTo>
                  <a:pt x="9918" y="9906"/>
                </a:lnTo>
                <a:close/>
              </a:path>
              <a:path w="474345" h="46989">
                <a:moveTo>
                  <a:pt x="9918" y="36575"/>
                </a:moveTo>
                <a:lnTo>
                  <a:pt x="9918" y="9906"/>
                </a:lnTo>
                <a:lnTo>
                  <a:pt x="5346" y="9906"/>
                </a:lnTo>
                <a:lnTo>
                  <a:pt x="5346" y="36575"/>
                </a:lnTo>
                <a:lnTo>
                  <a:pt x="9918" y="36575"/>
                </a:lnTo>
                <a:close/>
              </a:path>
              <a:path w="474345" h="46989">
                <a:moveTo>
                  <a:pt x="469404" y="36575"/>
                </a:moveTo>
                <a:lnTo>
                  <a:pt x="5346" y="36575"/>
                </a:lnTo>
                <a:lnTo>
                  <a:pt x="9918" y="41148"/>
                </a:lnTo>
                <a:lnTo>
                  <a:pt x="9918" y="46482"/>
                </a:lnTo>
                <a:lnTo>
                  <a:pt x="464832" y="46482"/>
                </a:lnTo>
                <a:lnTo>
                  <a:pt x="464832" y="41148"/>
                </a:lnTo>
                <a:lnTo>
                  <a:pt x="469404" y="36575"/>
                </a:lnTo>
                <a:close/>
              </a:path>
              <a:path w="474345" h="46989">
                <a:moveTo>
                  <a:pt x="9918" y="46482"/>
                </a:moveTo>
                <a:lnTo>
                  <a:pt x="9918" y="41148"/>
                </a:lnTo>
                <a:lnTo>
                  <a:pt x="5346" y="36575"/>
                </a:lnTo>
                <a:lnTo>
                  <a:pt x="5346" y="46482"/>
                </a:lnTo>
                <a:lnTo>
                  <a:pt x="9918" y="46482"/>
                </a:lnTo>
                <a:close/>
              </a:path>
              <a:path w="474345" h="46989">
                <a:moveTo>
                  <a:pt x="469404" y="9906"/>
                </a:moveTo>
                <a:lnTo>
                  <a:pt x="464832" y="4572"/>
                </a:lnTo>
                <a:lnTo>
                  <a:pt x="464832" y="9906"/>
                </a:lnTo>
                <a:lnTo>
                  <a:pt x="469404" y="9906"/>
                </a:lnTo>
                <a:close/>
              </a:path>
              <a:path w="474345" h="46989">
                <a:moveTo>
                  <a:pt x="469404" y="36575"/>
                </a:moveTo>
                <a:lnTo>
                  <a:pt x="469404" y="9906"/>
                </a:lnTo>
                <a:lnTo>
                  <a:pt x="464832" y="9906"/>
                </a:lnTo>
                <a:lnTo>
                  <a:pt x="464832" y="36575"/>
                </a:lnTo>
                <a:lnTo>
                  <a:pt x="469404" y="36575"/>
                </a:lnTo>
                <a:close/>
              </a:path>
              <a:path w="474345" h="46989">
                <a:moveTo>
                  <a:pt x="469404" y="46482"/>
                </a:moveTo>
                <a:lnTo>
                  <a:pt x="469404" y="36575"/>
                </a:lnTo>
                <a:lnTo>
                  <a:pt x="464832" y="41148"/>
                </a:lnTo>
                <a:lnTo>
                  <a:pt x="464832" y="46482"/>
                </a:lnTo>
                <a:lnTo>
                  <a:pt x="469404" y="4648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6" name="object 100"/>
          <p:cNvSpPr/>
          <p:nvPr/>
        </p:nvSpPr>
        <p:spPr>
          <a:xfrm>
            <a:off x="7444211" y="3348190"/>
            <a:ext cx="307040" cy="0"/>
          </a:xfrm>
          <a:custGeom>
            <a:avLst/>
            <a:gdLst/>
            <a:ahLst/>
            <a:cxnLst/>
            <a:rect l="l" t="t" r="r" b="b"/>
            <a:pathLst>
              <a:path w="464820">
                <a:moveTo>
                  <a:pt x="0" y="0"/>
                </a:moveTo>
                <a:lnTo>
                  <a:pt x="464820" y="0"/>
                </a:lnTo>
              </a:path>
            </a:pathLst>
          </a:custGeom>
          <a:ln w="365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7" name="object 101"/>
          <p:cNvSpPr/>
          <p:nvPr/>
        </p:nvSpPr>
        <p:spPr>
          <a:xfrm>
            <a:off x="7441190" y="3338031"/>
            <a:ext cx="313332" cy="20880"/>
          </a:xfrm>
          <a:custGeom>
            <a:avLst/>
            <a:gdLst/>
            <a:ahLst/>
            <a:cxnLst/>
            <a:rect l="l" t="t" r="r" b="b"/>
            <a:pathLst>
              <a:path w="474345" h="46989">
                <a:moveTo>
                  <a:pt x="473964" y="46482"/>
                </a:moveTo>
                <a:lnTo>
                  <a:pt x="473964" y="0"/>
                </a:lnTo>
                <a:lnTo>
                  <a:pt x="0" y="0"/>
                </a:lnTo>
                <a:lnTo>
                  <a:pt x="0" y="46482"/>
                </a:lnTo>
                <a:lnTo>
                  <a:pt x="4572" y="46482"/>
                </a:lnTo>
                <a:lnTo>
                  <a:pt x="4572" y="9906"/>
                </a:lnTo>
                <a:lnTo>
                  <a:pt x="9893" y="4572"/>
                </a:lnTo>
                <a:lnTo>
                  <a:pt x="9893" y="9906"/>
                </a:lnTo>
                <a:lnTo>
                  <a:pt x="464058" y="9906"/>
                </a:lnTo>
                <a:lnTo>
                  <a:pt x="464058" y="4572"/>
                </a:lnTo>
                <a:lnTo>
                  <a:pt x="469379" y="9906"/>
                </a:lnTo>
                <a:lnTo>
                  <a:pt x="469379" y="46482"/>
                </a:lnTo>
                <a:lnTo>
                  <a:pt x="473964" y="46482"/>
                </a:lnTo>
                <a:close/>
              </a:path>
              <a:path w="474345" h="46989">
                <a:moveTo>
                  <a:pt x="9893" y="9906"/>
                </a:moveTo>
                <a:lnTo>
                  <a:pt x="9893" y="4572"/>
                </a:lnTo>
                <a:lnTo>
                  <a:pt x="4572" y="9906"/>
                </a:lnTo>
                <a:lnTo>
                  <a:pt x="9893" y="9906"/>
                </a:lnTo>
                <a:close/>
              </a:path>
              <a:path w="474345" h="46989">
                <a:moveTo>
                  <a:pt x="9893" y="36575"/>
                </a:moveTo>
                <a:lnTo>
                  <a:pt x="9893" y="9906"/>
                </a:lnTo>
                <a:lnTo>
                  <a:pt x="4572" y="9906"/>
                </a:lnTo>
                <a:lnTo>
                  <a:pt x="4572" y="36575"/>
                </a:lnTo>
                <a:lnTo>
                  <a:pt x="9893" y="36575"/>
                </a:lnTo>
                <a:close/>
              </a:path>
              <a:path w="474345" h="46989">
                <a:moveTo>
                  <a:pt x="469379" y="36575"/>
                </a:moveTo>
                <a:lnTo>
                  <a:pt x="4572" y="36575"/>
                </a:lnTo>
                <a:lnTo>
                  <a:pt x="9893" y="41148"/>
                </a:lnTo>
                <a:lnTo>
                  <a:pt x="9893" y="46482"/>
                </a:lnTo>
                <a:lnTo>
                  <a:pt x="464058" y="46482"/>
                </a:lnTo>
                <a:lnTo>
                  <a:pt x="464058" y="41148"/>
                </a:lnTo>
                <a:lnTo>
                  <a:pt x="469379" y="36575"/>
                </a:lnTo>
                <a:close/>
              </a:path>
              <a:path w="474345" h="46989">
                <a:moveTo>
                  <a:pt x="9893" y="46482"/>
                </a:moveTo>
                <a:lnTo>
                  <a:pt x="9893" y="41148"/>
                </a:lnTo>
                <a:lnTo>
                  <a:pt x="4572" y="36575"/>
                </a:lnTo>
                <a:lnTo>
                  <a:pt x="4572" y="46482"/>
                </a:lnTo>
                <a:lnTo>
                  <a:pt x="9893" y="46482"/>
                </a:lnTo>
                <a:close/>
              </a:path>
              <a:path w="474345" h="46989">
                <a:moveTo>
                  <a:pt x="469379" y="9906"/>
                </a:moveTo>
                <a:lnTo>
                  <a:pt x="464058" y="4572"/>
                </a:lnTo>
                <a:lnTo>
                  <a:pt x="464058" y="9906"/>
                </a:lnTo>
                <a:lnTo>
                  <a:pt x="469379" y="9906"/>
                </a:lnTo>
                <a:close/>
              </a:path>
              <a:path w="474345" h="46989">
                <a:moveTo>
                  <a:pt x="469379" y="36575"/>
                </a:moveTo>
                <a:lnTo>
                  <a:pt x="469379" y="9906"/>
                </a:lnTo>
                <a:lnTo>
                  <a:pt x="464058" y="9906"/>
                </a:lnTo>
                <a:lnTo>
                  <a:pt x="464058" y="36575"/>
                </a:lnTo>
                <a:lnTo>
                  <a:pt x="469379" y="36575"/>
                </a:lnTo>
                <a:close/>
              </a:path>
              <a:path w="474345" h="46989">
                <a:moveTo>
                  <a:pt x="469379" y="46482"/>
                </a:moveTo>
                <a:lnTo>
                  <a:pt x="469379" y="36575"/>
                </a:lnTo>
                <a:lnTo>
                  <a:pt x="464058" y="41148"/>
                </a:lnTo>
                <a:lnTo>
                  <a:pt x="464058" y="46482"/>
                </a:lnTo>
                <a:lnTo>
                  <a:pt x="469379" y="4648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8" name="object 102"/>
          <p:cNvSpPr/>
          <p:nvPr/>
        </p:nvSpPr>
        <p:spPr>
          <a:xfrm>
            <a:off x="6296588" y="3503605"/>
            <a:ext cx="306619" cy="0"/>
          </a:xfrm>
          <a:custGeom>
            <a:avLst/>
            <a:gdLst/>
            <a:ahLst/>
            <a:cxnLst/>
            <a:rect l="l" t="t" r="r" b="b"/>
            <a:pathLst>
              <a:path w="464185">
                <a:moveTo>
                  <a:pt x="0" y="0"/>
                </a:moveTo>
                <a:lnTo>
                  <a:pt x="464058" y="0"/>
                </a:lnTo>
              </a:path>
            </a:pathLst>
          </a:custGeom>
          <a:ln w="2895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9" name="object 103"/>
          <p:cNvSpPr/>
          <p:nvPr/>
        </p:nvSpPr>
        <p:spPr>
          <a:xfrm>
            <a:off x="6293064" y="3495140"/>
            <a:ext cx="313332" cy="16930"/>
          </a:xfrm>
          <a:custGeom>
            <a:avLst/>
            <a:gdLst/>
            <a:ahLst/>
            <a:cxnLst/>
            <a:rect l="l" t="t" r="r" b="b"/>
            <a:pathLst>
              <a:path w="474345" h="38100">
                <a:moveTo>
                  <a:pt x="473963" y="38100"/>
                </a:moveTo>
                <a:lnTo>
                  <a:pt x="473963" y="0"/>
                </a:lnTo>
                <a:lnTo>
                  <a:pt x="0" y="0"/>
                </a:lnTo>
                <a:lnTo>
                  <a:pt x="0" y="38100"/>
                </a:lnTo>
                <a:lnTo>
                  <a:pt x="5334" y="38100"/>
                </a:lnTo>
                <a:lnTo>
                  <a:pt x="5334" y="9143"/>
                </a:lnTo>
                <a:lnTo>
                  <a:pt x="9906" y="4572"/>
                </a:lnTo>
                <a:lnTo>
                  <a:pt x="9906" y="9143"/>
                </a:lnTo>
                <a:lnTo>
                  <a:pt x="464820" y="9143"/>
                </a:lnTo>
                <a:lnTo>
                  <a:pt x="464820" y="4572"/>
                </a:lnTo>
                <a:lnTo>
                  <a:pt x="469379" y="9143"/>
                </a:lnTo>
                <a:lnTo>
                  <a:pt x="469379" y="38100"/>
                </a:lnTo>
                <a:lnTo>
                  <a:pt x="473963" y="38100"/>
                </a:lnTo>
                <a:close/>
              </a:path>
              <a:path w="474345" h="38100">
                <a:moveTo>
                  <a:pt x="9906" y="9143"/>
                </a:moveTo>
                <a:lnTo>
                  <a:pt x="9906" y="4572"/>
                </a:lnTo>
                <a:lnTo>
                  <a:pt x="5334" y="9143"/>
                </a:lnTo>
                <a:lnTo>
                  <a:pt x="9906" y="9143"/>
                </a:lnTo>
                <a:close/>
              </a:path>
              <a:path w="474345" h="38100">
                <a:moveTo>
                  <a:pt x="9906" y="28193"/>
                </a:moveTo>
                <a:lnTo>
                  <a:pt x="9906" y="9143"/>
                </a:lnTo>
                <a:lnTo>
                  <a:pt x="5334" y="9143"/>
                </a:lnTo>
                <a:lnTo>
                  <a:pt x="5334" y="28193"/>
                </a:lnTo>
                <a:lnTo>
                  <a:pt x="9906" y="28193"/>
                </a:lnTo>
                <a:close/>
              </a:path>
              <a:path w="474345" h="38100">
                <a:moveTo>
                  <a:pt x="469379" y="28193"/>
                </a:moveTo>
                <a:lnTo>
                  <a:pt x="5334" y="28193"/>
                </a:lnTo>
                <a:lnTo>
                  <a:pt x="9906" y="33527"/>
                </a:lnTo>
                <a:lnTo>
                  <a:pt x="9906" y="38100"/>
                </a:lnTo>
                <a:lnTo>
                  <a:pt x="464820" y="38100"/>
                </a:lnTo>
                <a:lnTo>
                  <a:pt x="464820" y="33527"/>
                </a:lnTo>
                <a:lnTo>
                  <a:pt x="469379" y="28193"/>
                </a:lnTo>
                <a:close/>
              </a:path>
              <a:path w="474345" h="38100">
                <a:moveTo>
                  <a:pt x="9906" y="38100"/>
                </a:moveTo>
                <a:lnTo>
                  <a:pt x="9906" y="33527"/>
                </a:lnTo>
                <a:lnTo>
                  <a:pt x="5334" y="28193"/>
                </a:lnTo>
                <a:lnTo>
                  <a:pt x="5334" y="38100"/>
                </a:lnTo>
                <a:lnTo>
                  <a:pt x="9906" y="38100"/>
                </a:lnTo>
                <a:close/>
              </a:path>
              <a:path w="474345" h="38100">
                <a:moveTo>
                  <a:pt x="469379" y="9143"/>
                </a:moveTo>
                <a:lnTo>
                  <a:pt x="464820" y="4572"/>
                </a:lnTo>
                <a:lnTo>
                  <a:pt x="464820" y="9143"/>
                </a:lnTo>
                <a:lnTo>
                  <a:pt x="469379" y="9143"/>
                </a:lnTo>
                <a:close/>
              </a:path>
              <a:path w="474345" h="38100">
                <a:moveTo>
                  <a:pt x="469379" y="28193"/>
                </a:moveTo>
                <a:lnTo>
                  <a:pt x="469379" y="9143"/>
                </a:lnTo>
                <a:lnTo>
                  <a:pt x="464820" y="9143"/>
                </a:lnTo>
                <a:lnTo>
                  <a:pt x="464820" y="28193"/>
                </a:lnTo>
                <a:lnTo>
                  <a:pt x="469379" y="28193"/>
                </a:lnTo>
                <a:close/>
              </a:path>
              <a:path w="474345" h="38100">
                <a:moveTo>
                  <a:pt x="469379" y="38100"/>
                </a:moveTo>
                <a:lnTo>
                  <a:pt x="469379" y="28193"/>
                </a:lnTo>
                <a:lnTo>
                  <a:pt x="464820" y="33527"/>
                </a:lnTo>
                <a:lnTo>
                  <a:pt x="464820" y="38100"/>
                </a:lnTo>
                <a:lnTo>
                  <a:pt x="469379" y="38100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0" name="object 104"/>
          <p:cNvSpPr/>
          <p:nvPr/>
        </p:nvSpPr>
        <p:spPr>
          <a:xfrm>
            <a:off x="5849115" y="3439272"/>
            <a:ext cx="2131241" cy="56998"/>
          </a:xfrm>
          <a:custGeom>
            <a:avLst/>
            <a:gdLst/>
            <a:ahLst/>
            <a:cxnLst/>
            <a:rect l="l" t="t" r="r" b="b"/>
            <a:pathLst>
              <a:path w="3226434" h="128270">
                <a:moveTo>
                  <a:pt x="3226308" y="128015"/>
                </a:moveTo>
                <a:lnTo>
                  <a:pt x="3226308" y="99821"/>
                </a:lnTo>
                <a:lnTo>
                  <a:pt x="579882" y="99821"/>
                </a:lnTo>
                <a:lnTo>
                  <a:pt x="69342" y="0"/>
                </a:lnTo>
                <a:lnTo>
                  <a:pt x="0" y="0"/>
                </a:lnTo>
                <a:lnTo>
                  <a:pt x="579882" y="128015"/>
                </a:lnTo>
                <a:lnTo>
                  <a:pt x="3226308" y="128015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1" name="object 105"/>
          <p:cNvSpPr/>
          <p:nvPr/>
        </p:nvSpPr>
        <p:spPr>
          <a:xfrm>
            <a:off x="5845591" y="3437240"/>
            <a:ext cx="2138371" cy="61512"/>
          </a:xfrm>
          <a:custGeom>
            <a:avLst/>
            <a:gdLst/>
            <a:ahLst/>
            <a:cxnLst/>
            <a:rect l="l" t="t" r="r" b="b"/>
            <a:pathLst>
              <a:path w="3237229" h="138429">
                <a:moveTo>
                  <a:pt x="6096" y="0"/>
                </a:moveTo>
                <a:lnTo>
                  <a:pt x="2286" y="0"/>
                </a:lnTo>
                <a:lnTo>
                  <a:pt x="762" y="1524"/>
                </a:lnTo>
                <a:lnTo>
                  <a:pt x="0" y="4572"/>
                </a:lnTo>
                <a:lnTo>
                  <a:pt x="0" y="6858"/>
                </a:lnTo>
                <a:lnTo>
                  <a:pt x="1524" y="9144"/>
                </a:lnTo>
                <a:lnTo>
                  <a:pt x="3810" y="9144"/>
                </a:lnTo>
                <a:lnTo>
                  <a:pt x="5366" y="9489"/>
                </a:lnTo>
                <a:lnTo>
                  <a:pt x="6096" y="0"/>
                </a:lnTo>
                <a:close/>
              </a:path>
              <a:path w="3237229" h="138429">
                <a:moveTo>
                  <a:pt x="7241" y="9906"/>
                </a:moveTo>
                <a:lnTo>
                  <a:pt x="5366" y="9489"/>
                </a:lnTo>
                <a:lnTo>
                  <a:pt x="5334" y="9906"/>
                </a:lnTo>
                <a:lnTo>
                  <a:pt x="7241" y="9906"/>
                </a:lnTo>
                <a:close/>
              </a:path>
              <a:path w="3237229" h="138429">
                <a:moveTo>
                  <a:pt x="50967" y="9905"/>
                </a:moveTo>
                <a:lnTo>
                  <a:pt x="6096" y="0"/>
                </a:lnTo>
                <a:lnTo>
                  <a:pt x="5366" y="9489"/>
                </a:lnTo>
                <a:lnTo>
                  <a:pt x="7241" y="9906"/>
                </a:lnTo>
                <a:lnTo>
                  <a:pt x="50967" y="9905"/>
                </a:lnTo>
                <a:close/>
              </a:path>
              <a:path w="3237229" h="138429">
                <a:moveTo>
                  <a:pt x="585978" y="99821"/>
                </a:moveTo>
                <a:lnTo>
                  <a:pt x="75438" y="0"/>
                </a:lnTo>
                <a:lnTo>
                  <a:pt x="6096" y="0"/>
                </a:lnTo>
                <a:lnTo>
                  <a:pt x="50967" y="9905"/>
                </a:lnTo>
                <a:lnTo>
                  <a:pt x="73914" y="9905"/>
                </a:lnTo>
                <a:lnTo>
                  <a:pt x="73914" y="9143"/>
                </a:lnTo>
                <a:lnTo>
                  <a:pt x="583692" y="108965"/>
                </a:lnTo>
                <a:lnTo>
                  <a:pt x="585216" y="108965"/>
                </a:lnTo>
                <a:lnTo>
                  <a:pt x="585216" y="99821"/>
                </a:lnTo>
                <a:lnTo>
                  <a:pt x="585978" y="99821"/>
                </a:lnTo>
                <a:close/>
              </a:path>
              <a:path w="3237229" h="138429">
                <a:moveTo>
                  <a:pt x="585978" y="128015"/>
                </a:moveTo>
                <a:lnTo>
                  <a:pt x="50967" y="9905"/>
                </a:lnTo>
                <a:lnTo>
                  <a:pt x="7241" y="9906"/>
                </a:lnTo>
                <a:lnTo>
                  <a:pt x="583692" y="137921"/>
                </a:lnTo>
                <a:lnTo>
                  <a:pt x="585216" y="137921"/>
                </a:lnTo>
                <a:lnTo>
                  <a:pt x="585216" y="128015"/>
                </a:lnTo>
                <a:lnTo>
                  <a:pt x="585978" y="128015"/>
                </a:lnTo>
                <a:close/>
              </a:path>
              <a:path w="3237229" h="138429">
                <a:moveTo>
                  <a:pt x="74676" y="9905"/>
                </a:moveTo>
                <a:lnTo>
                  <a:pt x="73914" y="9143"/>
                </a:lnTo>
                <a:lnTo>
                  <a:pt x="73914" y="9905"/>
                </a:lnTo>
                <a:lnTo>
                  <a:pt x="74676" y="9905"/>
                </a:lnTo>
                <a:close/>
              </a:path>
              <a:path w="3237229" h="138429">
                <a:moveTo>
                  <a:pt x="3236976" y="135635"/>
                </a:moveTo>
                <a:lnTo>
                  <a:pt x="3236976" y="101345"/>
                </a:lnTo>
                <a:lnTo>
                  <a:pt x="3234690" y="99821"/>
                </a:lnTo>
                <a:lnTo>
                  <a:pt x="585216" y="99821"/>
                </a:lnTo>
                <a:lnTo>
                  <a:pt x="585216" y="108965"/>
                </a:lnTo>
                <a:lnTo>
                  <a:pt x="3227070" y="108965"/>
                </a:lnTo>
                <a:lnTo>
                  <a:pt x="3227070" y="104393"/>
                </a:lnTo>
                <a:lnTo>
                  <a:pt x="3231642" y="108965"/>
                </a:lnTo>
                <a:lnTo>
                  <a:pt x="3231641" y="137921"/>
                </a:lnTo>
                <a:lnTo>
                  <a:pt x="3234690" y="137921"/>
                </a:lnTo>
                <a:lnTo>
                  <a:pt x="3236976" y="135635"/>
                </a:lnTo>
                <a:close/>
              </a:path>
              <a:path w="3237229" h="138429">
                <a:moveTo>
                  <a:pt x="3231642" y="128015"/>
                </a:moveTo>
                <a:lnTo>
                  <a:pt x="585216" y="128015"/>
                </a:lnTo>
                <a:lnTo>
                  <a:pt x="585216" y="137921"/>
                </a:lnTo>
                <a:lnTo>
                  <a:pt x="3227069" y="137921"/>
                </a:lnTo>
                <a:lnTo>
                  <a:pt x="3227070" y="132588"/>
                </a:lnTo>
                <a:lnTo>
                  <a:pt x="3231642" y="128015"/>
                </a:lnTo>
                <a:close/>
              </a:path>
              <a:path w="3237229" h="138429">
                <a:moveTo>
                  <a:pt x="3231642" y="108965"/>
                </a:moveTo>
                <a:lnTo>
                  <a:pt x="3227070" y="104393"/>
                </a:lnTo>
                <a:lnTo>
                  <a:pt x="3227070" y="108965"/>
                </a:lnTo>
                <a:lnTo>
                  <a:pt x="3231642" y="108965"/>
                </a:lnTo>
                <a:close/>
              </a:path>
              <a:path w="3237229" h="138429">
                <a:moveTo>
                  <a:pt x="3231642" y="128015"/>
                </a:moveTo>
                <a:lnTo>
                  <a:pt x="3231642" y="108965"/>
                </a:lnTo>
                <a:lnTo>
                  <a:pt x="3227070" y="108965"/>
                </a:lnTo>
                <a:lnTo>
                  <a:pt x="3227070" y="128015"/>
                </a:lnTo>
                <a:lnTo>
                  <a:pt x="3231642" y="128015"/>
                </a:lnTo>
                <a:close/>
              </a:path>
              <a:path w="3237229" h="138429">
                <a:moveTo>
                  <a:pt x="3231641" y="137921"/>
                </a:moveTo>
                <a:lnTo>
                  <a:pt x="3231642" y="128015"/>
                </a:lnTo>
                <a:lnTo>
                  <a:pt x="3227070" y="132588"/>
                </a:lnTo>
                <a:lnTo>
                  <a:pt x="3227069" y="137921"/>
                </a:lnTo>
                <a:lnTo>
                  <a:pt x="3231641" y="13792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2" name="object 106"/>
          <p:cNvSpPr/>
          <p:nvPr/>
        </p:nvSpPr>
        <p:spPr>
          <a:xfrm>
            <a:off x="6680127" y="3503775"/>
            <a:ext cx="306619" cy="0"/>
          </a:xfrm>
          <a:custGeom>
            <a:avLst/>
            <a:gdLst/>
            <a:ahLst/>
            <a:cxnLst/>
            <a:rect l="l" t="t" r="r" b="b"/>
            <a:pathLst>
              <a:path w="464184">
                <a:moveTo>
                  <a:pt x="0" y="0"/>
                </a:moveTo>
                <a:lnTo>
                  <a:pt x="464057" y="0"/>
                </a:lnTo>
              </a:path>
            </a:pathLst>
          </a:custGeom>
          <a:ln w="28194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3" name="object 107"/>
          <p:cNvSpPr/>
          <p:nvPr/>
        </p:nvSpPr>
        <p:spPr>
          <a:xfrm>
            <a:off x="6676612" y="3495140"/>
            <a:ext cx="313332" cy="17495"/>
          </a:xfrm>
          <a:custGeom>
            <a:avLst/>
            <a:gdLst/>
            <a:ahLst/>
            <a:cxnLst/>
            <a:rect l="l" t="t" r="r" b="b"/>
            <a:pathLst>
              <a:path w="474345" h="39370">
                <a:moveTo>
                  <a:pt x="473964" y="38862"/>
                </a:moveTo>
                <a:lnTo>
                  <a:pt x="473964" y="0"/>
                </a:lnTo>
                <a:lnTo>
                  <a:pt x="0" y="0"/>
                </a:lnTo>
                <a:lnTo>
                  <a:pt x="0" y="38862"/>
                </a:lnTo>
                <a:lnTo>
                  <a:pt x="5321" y="38862"/>
                </a:lnTo>
                <a:lnTo>
                  <a:pt x="5321" y="9905"/>
                </a:lnTo>
                <a:lnTo>
                  <a:pt x="9893" y="5333"/>
                </a:lnTo>
                <a:lnTo>
                  <a:pt x="9893" y="9905"/>
                </a:lnTo>
                <a:lnTo>
                  <a:pt x="464807" y="9905"/>
                </a:lnTo>
                <a:lnTo>
                  <a:pt x="464807" y="5333"/>
                </a:lnTo>
                <a:lnTo>
                  <a:pt x="469379" y="9905"/>
                </a:lnTo>
                <a:lnTo>
                  <a:pt x="469379" y="38862"/>
                </a:lnTo>
                <a:lnTo>
                  <a:pt x="473964" y="38862"/>
                </a:lnTo>
                <a:close/>
              </a:path>
              <a:path w="474345" h="39370">
                <a:moveTo>
                  <a:pt x="9893" y="9905"/>
                </a:moveTo>
                <a:lnTo>
                  <a:pt x="9893" y="5333"/>
                </a:lnTo>
                <a:lnTo>
                  <a:pt x="5321" y="9905"/>
                </a:lnTo>
                <a:lnTo>
                  <a:pt x="9893" y="9905"/>
                </a:lnTo>
                <a:close/>
              </a:path>
              <a:path w="474345" h="39370">
                <a:moveTo>
                  <a:pt x="9893" y="28955"/>
                </a:moveTo>
                <a:lnTo>
                  <a:pt x="9893" y="9905"/>
                </a:lnTo>
                <a:lnTo>
                  <a:pt x="5321" y="9905"/>
                </a:lnTo>
                <a:lnTo>
                  <a:pt x="5321" y="28955"/>
                </a:lnTo>
                <a:lnTo>
                  <a:pt x="9893" y="28955"/>
                </a:lnTo>
                <a:close/>
              </a:path>
              <a:path w="474345" h="39370">
                <a:moveTo>
                  <a:pt x="469379" y="28955"/>
                </a:moveTo>
                <a:lnTo>
                  <a:pt x="5321" y="28955"/>
                </a:lnTo>
                <a:lnTo>
                  <a:pt x="9893" y="33527"/>
                </a:lnTo>
                <a:lnTo>
                  <a:pt x="9893" y="38862"/>
                </a:lnTo>
                <a:lnTo>
                  <a:pt x="464807" y="38862"/>
                </a:lnTo>
                <a:lnTo>
                  <a:pt x="464807" y="33527"/>
                </a:lnTo>
                <a:lnTo>
                  <a:pt x="469379" y="28955"/>
                </a:lnTo>
                <a:close/>
              </a:path>
              <a:path w="474345" h="39370">
                <a:moveTo>
                  <a:pt x="9893" y="38862"/>
                </a:moveTo>
                <a:lnTo>
                  <a:pt x="9893" y="33527"/>
                </a:lnTo>
                <a:lnTo>
                  <a:pt x="5321" y="28955"/>
                </a:lnTo>
                <a:lnTo>
                  <a:pt x="5321" y="38862"/>
                </a:lnTo>
                <a:lnTo>
                  <a:pt x="9893" y="38862"/>
                </a:lnTo>
                <a:close/>
              </a:path>
              <a:path w="474345" h="39370">
                <a:moveTo>
                  <a:pt x="469379" y="9905"/>
                </a:moveTo>
                <a:lnTo>
                  <a:pt x="464807" y="5333"/>
                </a:lnTo>
                <a:lnTo>
                  <a:pt x="464807" y="9905"/>
                </a:lnTo>
                <a:lnTo>
                  <a:pt x="469379" y="9905"/>
                </a:lnTo>
                <a:close/>
              </a:path>
              <a:path w="474345" h="39370">
                <a:moveTo>
                  <a:pt x="469379" y="28955"/>
                </a:moveTo>
                <a:lnTo>
                  <a:pt x="469379" y="9905"/>
                </a:lnTo>
                <a:lnTo>
                  <a:pt x="464807" y="9905"/>
                </a:lnTo>
                <a:lnTo>
                  <a:pt x="464807" y="28955"/>
                </a:lnTo>
                <a:lnTo>
                  <a:pt x="469379" y="28955"/>
                </a:lnTo>
                <a:close/>
              </a:path>
              <a:path w="474345" h="39370">
                <a:moveTo>
                  <a:pt x="469379" y="38862"/>
                </a:moveTo>
                <a:lnTo>
                  <a:pt x="469379" y="28955"/>
                </a:lnTo>
                <a:lnTo>
                  <a:pt x="464807" y="33527"/>
                </a:lnTo>
                <a:lnTo>
                  <a:pt x="464807" y="38862"/>
                </a:lnTo>
                <a:lnTo>
                  <a:pt x="469379" y="3886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4" name="object 108"/>
          <p:cNvSpPr/>
          <p:nvPr/>
        </p:nvSpPr>
        <p:spPr>
          <a:xfrm>
            <a:off x="7063683" y="3503944"/>
            <a:ext cx="306619" cy="0"/>
          </a:xfrm>
          <a:custGeom>
            <a:avLst/>
            <a:gdLst/>
            <a:ahLst/>
            <a:cxnLst/>
            <a:rect l="l" t="t" r="r" b="b"/>
            <a:pathLst>
              <a:path w="464184">
                <a:moveTo>
                  <a:pt x="0" y="0"/>
                </a:moveTo>
                <a:lnTo>
                  <a:pt x="464057" y="0"/>
                </a:lnTo>
              </a:path>
            </a:pathLst>
          </a:custGeom>
          <a:ln w="2895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5" name="object 109"/>
          <p:cNvSpPr/>
          <p:nvPr/>
        </p:nvSpPr>
        <p:spPr>
          <a:xfrm>
            <a:off x="7060150" y="3495479"/>
            <a:ext cx="313332" cy="16930"/>
          </a:xfrm>
          <a:custGeom>
            <a:avLst/>
            <a:gdLst/>
            <a:ahLst/>
            <a:cxnLst/>
            <a:rect l="l" t="t" r="r" b="b"/>
            <a:pathLst>
              <a:path w="474345" h="38100">
                <a:moveTo>
                  <a:pt x="473964" y="38100"/>
                </a:moveTo>
                <a:lnTo>
                  <a:pt x="473964" y="0"/>
                </a:lnTo>
                <a:lnTo>
                  <a:pt x="0" y="0"/>
                </a:lnTo>
                <a:lnTo>
                  <a:pt x="0" y="38100"/>
                </a:lnTo>
                <a:lnTo>
                  <a:pt x="5346" y="38100"/>
                </a:lnTo>
                <a:lnTo>
                  <a:pt x="5346" y="9905"/>
                </a:lnTo>
                <a:lnTo>
                  <a:pt x="9918" y="4571"/>
                </a:lnTo>
                <a:lnTo>
                  <a:pt x="9918" y="9905"/>
                </a:lnTo>
                <a:lnTo>
                  <a:pt x="464832" y="9905"/>
                </a:lnTo>
                <a:lnTo>
                  <a:pt x="464832" y="4571"/>
                </a:lnTo>
                <a:lnTo>
                  <a:pt x="469404" y="9905"/>
                </a:lnTo>
                <a:lnTo>
                  <a:pt x="469404" y="38100"/>
                </a:lnTo>
                <a:lnTo>
                  <a:pt x="473964" y="38100"/>
                </a:lnTo>
                <a:close/>
              </a:path>
              <a:path w="474345" h="38100">
                <a:moveTo>
                  <a:pt x="9918" y="9905"/>
                </a:moveTo>
                <a:lnTo>
                  <a:pt x="9918" y="4571"/>
                </a:lnTo>
                <a:lnTo>
                  <a:pt x="5346" y="9905"/>
                </a:lnTo>
                <a:lnTo>
                  <a:pt x="9918" y="9905"/>
                </a:lnTo>
                <a:close/>
              </a:path>
              <a:path w="474345" h="38100">
                <a:moveTo>
                  <a:pt x="9918" y="28955"/>
                </a:moveTo>
                <a:lnTo>
                  <a:pt x="9918" y="9905"/>
                </a:lnTo>
                <a:lnTo>
                  <a:pt x="5346" y="9905"/>
                </a:lnTo>
                <a:lnTo>
                  <a:pt x="5346" y="28955"/>
                </a:lnTo>
                <a:lnTo>
                  <a:pt x="9918" y="28955"/>
                </a:lnTo>
                <a:close/>
              </a:path>
              <a:path w="474345" h="38100">
                <a:moveTo>
                  <a:pt x="469404" y="28955"/>
                </a:moveTo>
                <a:lnTo>
                  <a:pt x="5346" y="28955"/>
                </a:lnTo>
                <a:lnTo>
                  <a:pt x="9918" y="33527"/>
                </a:lnTo>
                <a:lnTo>
                  <a:pt x="9918" y="38100"/>
                </a:lnTo>
                <a:lnTo>
                  <a:pt x="464832" y="38100"/>
                </a:lnTo>
                <a:lnTo>
                  <a:pt x="464832" y="33527"/>
                </a:lnTo>
                <a:lnTo>
                  <a:pt x="469404" y="28955"/>
                </a:lnTo>
                <a:close/>
              </a:path>
              <a:path w="474345" h="38100">
                <a:moveTo>
                  <a:pt x="9918" y="38100"/>
                </a:moveTo>
                <a:lnTo>
                  <a:pt x="9918" y="33527"/>
                </a:lnTo>
                <a:lnTo>
                  <a:pt x="5346" y="28955"/>
                </a:lnTo>
                <a:lnTo>
                  <a:pt x="5346" y="38100"/>
                </a:lnTo>
                <a:lnTo>
                  <a:pt x="9918" y="38100"/>
                </a:lnTo>
                <a:close/>
              </a:path>
              <a:path w="474345" h="38100">
                <a:moveTo>
                  <a:pt x="469404" y="9905"/>
                </a:moveTo>
                <a:lnTo>
                  <a:pt x="464832" y="4571"/>
                </a:lnTo>
                <a:lnTo>
                  <a:pt x="464832" y="9905"/>
                </a:lnTo>
                <a:lnTo>
                  <a:pt x="469404" y="9905"/>
                </a:lnTo>
                <a:close/>
              </a:path>
              <a:path w="474345" h="38100">
                <a:moveTo>
                  <a:pt x="469404" y="28955"/>
                </a:moveTo>
                <a:lnTo>
                  <a:pt x="469404" y="9905"/>
                </a:lnTo>
                <a:lnTo>
                  <a:pt x="464832" y="9905"/>
                </a:lnTo>
                <a:lnTo>
                  <a:pt x="464832" y="28955"/>
                </a:lnTo>
                <a:lnTo>
                  <a:pt x="469404" y="28955"/>
                </a:lnTo>
                <a:close/>
              </a:path>
              <a:path w="474345" h="38100">
                <a:moveTo>
                  <a:pt x="469404" y="38100"/>
                </a:moveTo>
                <a:lnTo>
                  <a:pt x="469404" y="28955"/>
                </a:lnTo>
                <a:lnTo>
                  <a:pt x="464832" y="33527"/>
                </a:lnTo>
                <a:lnTo>
                  <a:pt x="464832" y="38100"/>
                </a:lnTo>
                <a:lnTo>
                  <a:pt x="469404" y="38100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6" name="object 110"/>
          <p:cNvSpPr/>
          <p:nvPr/>
        </p:nvSpPr>
        <p:spPr>
          <a:xfrm>
            <a:off x="7444211" y="3503944"/>
            <a:ext cx="307040" cy="0"/>
          </a:xfrm>
          <a:custGeom>
            <a:avLst/>
            <a:gdLst/>
            <a:ahLst/>
            <a:cxnLst/>
            <a:rect l="l" t="t" r="r" b="b"/>
            <a:pathLst>
              <a:path w="464820">
                <a:moveTo>
                  <a:pt x="0" y="0"/>
                </a:moveTo>
                <a:lnTo>
                  <a:pt x="464820" y="0"/>
                </a:lnTo>
              </a:path>
            </a:pathLst>
          </a:custGeom>
          <a:ln w="2895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7" name="object 111"/>
          <p:cNvSpPr/>
          <p:nvPr/>
        </p:nvSpPr>
        <p:spPr>
          <a:xfrm>
            <a:off x="7441190" y="3495479"/>
            <a:ext cx="313332" cy="16930"/>
          </a:xfrm>
          <a:custGeom>
            <a:avLst/>
            <a:gdLst/>
            <a:ahLst/>
            <a:cxnLst/>
            <a:rect l="l" t="t" r="r" b="b"/>
            <a:pathLst>
              <a:path w="474345" h="38100">
                <a:moveTo>
                  <a:pt x="473964" y="38100"/>
                </a:moveTo>
                <a:lnTo>
                  <a:pt x="473964" y="0"/>
                </a:lnTo>
                <a:lnTo>
                  <a:pt x="0" y="0"/>
                </a:lnTo>
                <a:lnTo>
                  <a:pt x="0" y="38100"/>
                </a:lnTo>
                <a:lnTo>
                  <a:pt x="4572" y="38100"/>
                </a:lnTo>
                <a:lnTo>
                  <a:pt x="4572" y="9905"/>
                </a:lnTo>
                <a:lnTo>
                  <a:pt x="9893" y="4571"/>
                </a:lnTo>
                <a:lnTo>
                  <a:pt x="9893" y="9905"/>
                </a:lnTo>
                <a:lnTo>
                  <a:pt x="464058" y="9905"/>
                </a:lnTo>
                <a:lnTo>
                  <a:pt x="464058" y="4571"/>
                </a:lnTo>
                <a:lnTo>
                  <a:pt x="469379" y="9905"/>
                </a:lnTo>
                <a:lnTo>
                  <a:pt x="469379" y="38100"/>
                </a:lnTo>
                <a:lnTo>
                  <a:pt x="473964" y="38100"/>
                </a:lnTo>
                <a:close/>
              </a:path>
              <a:path w="474345" h="38100">
                <a:moveTo>
                  <a:pt x="9893" y="9905"/>
                </a:moveTo>
                <a:lnTo>
                  <a:pt x="9893" y="4571"/>
                </a:lnTo>
                <a:lnTo>
                  <a:pt x="4572" y="9905"/>
                </a:lnTo>
                <a:lnTo>
                  <a:pt x="9893" y="9905"/>
                </a:lnTo>
                <a:close/>
              </a:path>
              <a:path w="474345" h="38100">
                <a:moveTo>
                  <a:pt x="9893" y="28955"/>
                </a:moveTo>
                <a:lnTo>
                  <a:pt x="9893" y="9905"/>
                </a:lnTo>
                <a:lnTo>
                  <a:pt x="4572" y="9905"/>
                </a:lnTo>
                <a:lnTo>
                  <a:pt x="4572" y="28955"/>
                </a:lnTo>
                <a:lnTo>
                  <a:pt x="9893" y="28955"/>
                </a:lnTo>
                <a:close/>
              </a:path>
              <a:path w="474345" h="38100">
                <a:moveTo>
                  <a:pt x="469379" y="28955"/>
                </a:moveTo>
                <a:lnTo>
                  <a:pt x="4572" y="28955"/>
                </a:lnTo>
                <a:lnTo>
                  <a:pt x="9893" y="33527"/>
                </a:lnTo>
                <a:lnTo>
                  <a:pt x="9893" y="38100"/>
                </a:lnTo>
                <a:lnTo>
                  <a:pt x="464058" y="38100"/>
                </a:lnTo>
                <a:lnTo>
                  <a:pt x="464058" y="33527"/>
                </a:lnTo>
                <a:lnTo>
                  <a:pt x="469379" y="28955"/>
                </a:lnTo>
                <a:close/>
              </a:path>
              <a:path w="474345" h="38100">
                <a:moveTo>
                  <a:pt x="9893" y="38100"/>
                </a:moveTo>
                <a:lnTo>
                  <a:pt x="9893" y="33527"/>
                </a:lnTo>
                <a:lnTo>
                  <a:pt x="4572" y="28955"/>
                </a:lnTo>
                <a:lnTo>
                  <a:pt x="4572" y="38100"/>
                </a:lnTo>
                <a:lnTo>
                  <a:pt x="9893" y="38100"/>
                </a:lnTo>
                <a:close/>
              </a:path>
              <a:path w="474345" h="38100">
                <a:moveTo>
                  <a:pt x="469379" y="9905"/>
                </a:moveTo>
                <a:lnTo>
                  <a:pt x="464058" y="4571"/>
                </a:lnTo>
                <a:lnTo>
                  <a:pt x="464058" y="9905"/>
                </a:lnTo>
                <a:lnTo>
                  <a:pt x="469379" y="9905"/>
                </a:lnTo>
                <a:close/>
              </a:path>
              <a:path w="474345" h="38100">
                <a:moveTo>
                  <a:pt x="469379" y="28955"/>
                </a:moveTo>
                <a:lnTo>
                  <a:pt x="469379" y="9905"/>
                </a:lnTo>
                <a:lnTo>
                  <a:pt x="464058" y="9905"/>
                </a:lnTo>
                <a:lnTo>
                  <a:pt x="464058" y="28955"/>
                </a:lnTo>
                <a:lnTo>
                  <a:pt x="469379" y="28955"/>
                </a:lnTo>
                <a:close/>
              </a:path>
              <a:path w="474345" h="38100">
                <a:moveTo>
                  <a:pt x="469379" y="38100"/>
                </a:moveTo>
                <a:lnTo>
                  <a:pt x="469379" y="28955"/>
                </a:lnTo>
                <a:lnTo>
                  <a:pt x="464058" y="33527"/>
                </a:lnTo>
                <a:lnTo>
                  <a:pt x="464058" y="38100"/>
                </a:lnTo>
                <a:lnTo>
                  <a:pt x="469379" y="38100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8" name="object 112"/>
          <p:cNvSpPr/>
          <p:nvPr/>
        </p:nvSpPr>
        <p:spPr>
          <a:xfrm>
            <a:off x="8152910" y="3367320"/>
            <a:ext cx="242444" cy="0"/>
          </a:xfrm>
          <a:custGeom>
            <a:avLst/>
            <a:gdLst/>
            <a:ahLst/>
            <a:cxnLst/>
            <a:rect l="l" t="t" r="r" b="b"/>
            <a:pathLst>
              <a:path w="367029">
                <a:moveTo>
                  <a:pt x="0" y="0"/>
                </a:moveTo>
                <a:lnTo>
                  <a:pt x="366522" y="0"/>
                </a:lnTo>
              </a:path>
            </a:pathLst>
          </a:custGeom>
          <a:ln w="3276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9" name="object 113"/>
          <p:cNvSpPr/>
          <p:nvPr/>
        </p:nvSpPr>
        <p:spPr>
          <a:xfrm>
            <a:off x="8149899" y="3358009"/>
            <a:ext cx="248317" cy="18623"/>
          </a:xfrm>
          <a:custGeom>
            <a:avLst/>
            <a:gdLst/>
            <a:ahLst/>
            <a:cxnLst/>
            <a:rect l="l" t="t" r="r" b="b"/>
            <a:pathLst>
              <a:path w="375920" h="41910">
                <a:moveTo>
                  <a:pt x="375666" y="41910"/>
                </a:moveTo>
                <a:lnTo>
                  <a:pt x="375666" y="0"/>
                </a:lnTo>
                <a:lnTo>
                  <a:pt x="0" y="0"/>
                </a:lnTo>
                <a:lnTo>
                  <a:pt x="0" y="41910"/>
                </a:lnTo>
                <a:lnTo>
                  <a:pt x="4559" y="41910"/>
                </a:lnTo>
                <a:lnTo>
                  <a:pt x="4559" y="9143"/>
                </a:lnTo>
                <a:lnTo>
                  <a:pt x="9906" y="4572"/>
                </a:lnTo>
                <a:lnTo>
                  <a:pt x="9906" y="9143"/>
                </a:lnTo>
                <a:lnTo>
                  <a:pt x="365760" y="9143"/>
                </a:lnTo>
                <a:lnTo>
                  <a:pt x="365760" y="4572"/>
                </a:lnTo>
                <a:lnTo>
                  <a:pt x="371081" y="9143"/>
                </a:lnTo>
                <a:lnTo>
                  <a:pt x="371081" y="41910"/>
                </a:lnTo>
                <a:lnTo>
                  <a:pt x="375666" y="41910"/>
                </a:lnTo>
                <a:close/>
              </a:path>
              <a:path w="375920" h="41910">
                <a:moveTo>
                  <a:pt x="9906" y="9143"/>
                </a:moveTo>
                <a:lnTo>
                  <a:pt x="9906" y="4572"/>
                </a:lnTo>
                <a:lnTo>
                  <a:pt x="4559" y="9143"/>
                </a:lnTo>
                <a:lnTo>
                  <a:pt x="9906" y="9143"/>
                </a:lnTo>
                <a:close/>
              </a:path>
              <a:path w="375920" h="41910">
                <a:moveTo>
                  <a:pt x="9906" y="32765"/>
                </a:moveTo>
                <a:lnTo>
                  <a:pt x="9906" y="9143"/>
                </a:lnTo>
                <a:lnTo>
                  <a:pt x="4559" y="9143"/>
                </a:lnTo>
                <a:lnTo>
                  <a:pt x="4559" y="32765"/>
                </a:lnTo>
                <a:lnTo>
                  <a:pt x="9906" y="32765"/>
                </a:lnTo>
                <a:close/>
              </a:path>
              <a:path w="375920" h="41910">
                <a:moveTo>
                  <a:pt x="371081" y="32765"/>
                </a:moveTo>
                <a:lnTo>
                  <a:pt x="4559" y="32765"/>
                </a:lnTo>
                <a:lnTo>
                  <a:pt x="9906" y="37337"/>
                </a:lnTo>
                <a:lnTo>
                  <a:pt x="9906" y="41910"/>
                </a:lnTo>
                <a:lnTo>
                  <a:pt x="365760" y="41910"/>
                </a:lnTo>
                <a:lnTo>
                  <a:pt x="365760" y="37337"/>
                </a:lnTo>
                <a:lnTo>
                  <a:pt x="371081" y="32765"/>
                </a:lnTo>
                <a:close/>
              </a:path>
              <a:path w="375920" h="41910">
                <a:moveTo>
                  <a:pt x="9906" y="41910"/>
                </a:moveTo>
                <a:lnTo>
                  <a:pt x="9906" y="37337"/>
                </a:lnTo>
                <a:lnTo>
                  <a:pt x="4559" y="32765"/>
                </a:lnTo>
                <a:lnTo>
                  <a:pt x="4559" y="41910"/>
                </a:lnTo>
                <a:lnTo>
                  <a:pt x="9906" y="41910"/>
                </a:lnTo>
                <a:close/>
              </a:path>
              <a:path w="375920" h="41910">
                <a:moveTo>
                  <a:pt x="371081" y="9143"/>
                </a:moveTo>
                <a:lnTo>
                  <a:pt x="365760" y="4572"/>
                </a:lnTo>
                <a:lnTo>
                  <a:pt x="365760" y="9143"/>
                </a:lnTo>
                <a:lnTo>
                  <a:pt x="371081" y="9143"/>
                </a:lnTo>
                <a:close/>
              </a:path>
              <a:path w="375920" h="41910">
                <a:moveTo>
                  <a:pt x="371081" y="32765"/>
                </a:moveTo>
                <a:lnTo>
                  <a:pt x="371081" y="9143"/>
                </a:lnTo>
                <a:lnTo>
                  <a:pt x="365760" y="9143"/>
                </a:lnTo>
                <a:lnTo>
                  <a:pt x="365760" y="32765"/>
                </a:lnTo>
                <a:lnTo>
                  <a:pt x="371081" y="32765"/>
                </a:lnTo>
                <a:close/>
              </a:path>
              <a:path w="375920" h="41910">
                <a:moveTo>
                  <a:pt x="371081" y="41910"/>
                </a:moveTo>
                <a:lnTo>
                  <a:pt x="371081" y="32765"/>
                </a:lnTo>
                <a:lnTo>
                  <a:pt x="365760" y="37337"/>
                </a:lnTo>
                <a:lnTo>
                  <a:pt x="365760" y="41910"/>
                </a:lnTo>
                <a:lnTo>
                  <a:pt x="371081" y="4191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0" name="object 114"/>
          <p:cNvSpPr/>
          <p:nvPr/>
        </p:nvSpPr>
        <p:spPr>
          <a:xfrm>
            <a:off x="7980271" y="3488876"/>
            <a:ext cx="414839" cy="0"/>
          </a:xfrm>
          <a:custGeom>
            <a:avLst/>
            <a:gdLst/>
            <a:ahLst/>
            <a:cxnLst/>
            <a:rect l="l" t="t" r="r" b="b"/>
            <a:pathLst>
              <a:path w="628015">
                <a:moveTo>
                  <a:pt x="0" y="0"/>
                </a:moveTo>
                <a:lnTo>
                  <a:pt x="627888" y="0"/>
                </a:lnTo>
              </a:path>
            </a:pathLst>
          </a:custGeom>
          <a:ln w="34289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1" name="object 115"/>
          <p:cNvSpPr/>
          <p:nvPr/>
        </p:nvSpPr>
        <p:spPr>
          <a:xfrm>
            <a:off x="7977243" y="3479227"/>
            <a:ext cx="421131" cy="19469"/>
          </a:xfrm>
          <a:custGeom>
            <a:avLst/>
            <a:gdLst/>
            <a:ahLst/>
            <a:cxnLst/>
            <a:rect l="l" t="t" r="r" b="b"/>
            <a:pathLst>
              <a:path w="637540" h="43814">
                <a:moveTo>
                  <a:pt x="637031" y="43434"/>
                </a:moveTo>
                <a:lnTo>
                  <a:pt x="637031" y="0"/>
                </a:lnTo>
                <a:lnTo>
                  <a:pt x="0" y="0"/>
                </a:lnTo>
                <a:lnTo>
                  <a:pt x="0" y="43434"/>
                </a:lnTo>
                <a:lnTo>
                  <a:pt x="4584" y="43434"/>
                </a:lnTo>
                <a:lnTo>
                  <a:pt x="4584" y="9144"/>
                </a:lnTo>
                <a:lnTo>
                  <a:pt x="9918" y="4572"/>
                </a:lnTo>
                <a:lnTo>
                  <a:pt x="9918" y="9144"/>
                </a:lnTo>
                <a:lnTo>
                  <a:pt x="627138" y="9144"/>
                </a:lnTo>
                <a:lnTo>
                  <a:pt x="627138" y="4572"/>
                </a:lnTo>
                <a:lnTo>
                  <a:pt x="632460" y="9144"/>
                </a:lnTo>
                <a:lnTo>
                  <a:pt x="632460" y="43434"/>
                </a:lnTo>
                <a:lnTo>
                  <a:pt x="637031" y="43434"/>
                </a:lnTo>
                <a:close/>
              </a:path>
              <a:path w="637540" h="43814">
                <a:moveTo>
                  <a:pt x="9918" y="9144"/>
                </a:moveTo>
                <a:lnTo>
                  <a:pt x="9918" y="4572"/>
                </a:lnTo>
                <a:lnTo>
                  <a:pt x="4584" y="9144"/>
                </a:lnTo>
                <a:lnTo>
                  <a:pt x="9918" y="9144"/>
                </a:lnTo>
                <a:close/>
              </a:path>
              <a:path w="637540" h="43814">
                <a:moveTo>
                  <a:pt x="9918" y="33528"/>
                </a:moveTo>
                <a:lnTo>
                  <a:pt x="9918" y="9144"/>
                </a:lnTo>
                <a:lnTo>
                  <a:pt x="4584" y="9144"/>
                </a:lnTo>
                <a:lnTo>
                  <a:pt x="4584" y="33528"/>
                </a:lnTo>
                <a:lnTo>
                  <a:pt x="9918" y="33528"/>
                </a:lnTo>
                <a:close/>
              </a:path>
              <a:path w="637540" h="43814">
                <a:moveTo>
                  <a:pt x="632460" y="33528"/>
                </a:moveTo>
                <a:lnTo>
                  <a:pt x="4584" y="33528"/>
                </a:lnTo>
                <a:lnTo>
                  <a:pt x="9918" y="38862"/>
                </a:lnTo>
                <a:lnTo>
                  <a:pt x="9918" y="43434"/>
                </a:lnTo>
                <a:lnTo>
                  <a:pt x="627138" y="43434"/>
                </a:lnTo>
                <a:lnTo>
                  <a:pt x="627138" y="38862"/>
                </a:lnTo>
                <a:lnTo>
                  <a:pt x="632460" y="33528"/>
                </a:lnTo>
                <a:close/>
              </a:path>
              <a:path w="637540" h="43814">
                <a:moveTo>
                  <a:pt x="9918" y="43434"/>
                </a:moveTo>
                <a:lnTo>
                  <a:pt x="9918" y="38862"/>
                </a:lnTo>
                <a:lnTo>
                  <a:pt x="4584" y="33528"/>
                </a:lnTo>
                <a:lnTo>
                  <a:pt x="4584" y="43434"/>
                </a:lnTo>
                <a:lnTo>
                  <a:pt x="9918" y="43434"/>
                </a:lnTo>
                <a:close/>
              </a:path>
              <a:path w="637540" h="43814">
                <a:moveTo>
                  <a:pt x="632460" y="9144"/>
                </a:moveTo>
                <a:lnTo>
                  <a:pt x="627138" y="4572"/>
                </a:lnTo>
                <a:lnTo>
                  <a:pt x="627138" y="9144"/>
                </a:lnTo>
                <a:lnTo>
                  <a:pt x="632460" y="9144"/>
                </a:lnTo>
                <a:close/>
              </a:path>
              <a:path w="637540" h="43814">
                <a:moveTo>
                  <a:pt x="632460" y="33528"/>
                </a:moveTo>
                <a:lnTo>
                  <a:pt x="632460" y="9144"/>
                </a:lnTo>
                <a:lnTo>
                  <a:pt x="627138" y="9144"/>
                </a:lnTo>
                <a:lnTo>
                  <a:pt x="627138" y="33528"/>
                </a:lnTo>
                <a:lnTo>
                  <a:pt x="632460" y="33528"/>
                </a:lnTo>
                <a:close/>
              </a:path>
              <a:path w="637540" h="43814">
                <a:moveTo>
                  <a:pt x="632460" y="43434"/>
                </a:moveTo>
                <a:lnTo>
                  <a:pt x="632460" y="33528"/>
                </a:lnTo>
                <a:lnTo>
                  <a:pt x="627138" y="38862"/>
                </a:lnTo>
                <a:lnTo>
                  <a:pt x="627138" y="43434"/>
                </a:lnTo>
                <a:lnTo>
                  <a:pt x="632460" y="434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2" name="object 116"/>
          <p:cNvSpPr/>
          <p:nvPr/>
        </p:nvSpPr>
        <p:spPr>
          <a:xfrm>
            <a:off x="7782961" y="3067606"/>
            <a:ext cx="610556" cy="278214"/>
          </a:xfrm>
          <a:prstGeom prst="rect">
            <a:avLst/>
          </a:prstGeom>
          <a:blipFill>
            <a:blip r:embed="rId6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3" name="object 117"/>
          <p:cNvSpPr/>
          <p:nvPr/>
        </p:nvSpPr>
        <p:spPr>
          <a:xfrm>
            <a:off x="7774899" y="3061737"/>
            <a:ext cx="626662" cy="319127"/>
          </a:xfrm>
          <a:custGeom>
            <a:avLst/>
            <a:gdLst/>
            <a:ahLst/>
            <a:cxnLst/>
            <a:rect l="l" t="t" r="r" b="b"/>
            <a:pathLst>
              <a:path w="948690" h="718185">
                <a:moveTo>
                  <a:pt x="948689" y="11429"/>
                </a:moveTo>
                <a:lnTo>
                  <a:pt x="948689" y="7619"/>
                </a:lnTo>
                <a:lnTo>
                  <a:pt x="947165" y="4571"/>
                </a:lnTo>
                <a:lnTo>
                  <a:pt x="944879" y="1523"/>
                </a:lnTo>
                <a:lnTo>
                  <a:pt x="941831" y="0"/>
                </a:lnTo>
                <a:lnTo>
                  <a:pt x="6095" y="0"/>
                </a:lnTo>
                <a:lnTo>
                  <a:pt x="3047" y="1523"/>
                </a:lnTo>
                <a:lnTo>
                  <a:pt x="0" y="7619"/>
                </a:lnTo>
                <a:lnTo>
                  <a:pt x="0" y="11429"/>
                </a:lnTo>
                <a:lnTo>
                  <a:pt x="1523" y="14477"/>
                </a:lnTo>
                <a:lnTo>
                  <a:pt x="9905" y="28906"/>
                </a:lnTo>
                <a:lnTo>
                  <a:pt x="9905" y="19049"/>
                </a:lnTo>
                <a:lnTo>
                  <a:pt x="18287" y="4571"/>
                </a:lnTo>
                <a:lnTo>
                  <a:pt x="26699" y="19049"/>
                </a:lnTo>
                <a:lnTo>
                  <a:pt x="921163" y="19049"/>
                </a:lnTo>
                <a:lnTo>
                  <a:pt x="930401" y="4571"/>
                </a:lnTo>
                <a:lnTo>
                  <a:pt x="938783" y="19049"/>
                </a:lnTo>
                <a:lnTo>
                  <a:pt x="938783" y="26419"/>
                </a:lnTo>
                <a:lnTo>
                  <a:pt x="946403" y="14477"/>
                </a:lnTo>
                <a:lnTo>
                  <a:pt x="948689" y="11429"/>
                </a:lnTo>
                <a:close/>
              </a:path>
              <a:path w="948690" h="718185">
                <a:moveTo>
                  <a:pt x="26699" y="19049"/>
                </a:moveTo>
                <a:lnTo>
                  <a:pt x="18287" y="4571"/>
                </a:lnTo>
                <a:lnTo>
                  <a:pt x="9905" y="19049"/>
                </a:lnTo>
                <a:lnTo>
                  <a:pt x="26699" y="19049"/>
                </a:lnTo>
                <a:close/>
              </a:path>
              <a:path w="948690" h="718185">
                <a:moveTo>
                  <a:pt x="390905" y="698753"/>
                </a:moveTo>
                <a:lnTo>
                  <a:pt x="390905" y="646175"/>
                </a:lnTo>
                <a:lnTo>
                  <a:pt x="390143" y="644651"/>
                </a:lnTo>
                <a:lnTo>
                  <a:pt x="26699" y="19049"/>
                </a:lnTo>
                <a:lnTo>
                  <a:pt x="9905" y="19049"/>
                </a:lnTo>
                <a:lnTo>
                  <a:pt x="9905" y="28906"/>
                </a:lnTo>
                <a:lnTo>
                  <a:pt x="371855" y="651934"/>
                </a:lnTo>
                <a:lnTo>
                  <a:pt x="371855" y="649985"/>
                </a:lnTo>
                <a:lnTo>
                  <a:pt x="373379" y="654557"/>
                </a:lnTo>
                <a:lnTo>
                  <a:pt x="373379" y="714755"/>
                </a:lnTo>
                <a:lnTo>
                  <a:pt x="376427" y="717803"/>
                </a:lnTo>
                <a:lnTo>
                  <a:pt x="381761" y="717803"/>
                </a:lnTo>
                <a:lnTo>
                  <a:pt x="381761" y="698753"/>
                </a:lnTo>
                <a:lnTo>
                  <a:pt x="390905" y="698753"/>
                </a:lnTo>
                <a:close/>
              </a:path>
              <a:path w="948690" h="718185">
                <a:moveTo>
                  <a:pt x="373379" y="654557"/>
                </a:moveTo>
                <a:lnTo>
                  <a:pt x="371855" y="649985"/>
                </a:lnTo>
                <a:lnTo>
                  <a:pt x="371855" y="651934"/>
                </a:lnTo>
                <a:lnTo>
                  <a:pt x="373379" y="654557"/>
                </a:lnTo>
                <a:close/>
              </a:path>
              <a:path w="948690" h="718185">
                <a:moveTo>
                  <a:pt x="373379" y="714755"/>
                </a:moveTo>
                <a:lnTo>
                  <a:pt x="373379" y="654557"/>
                </a:lnTo>
                <a:lnTo>
                  <a:pt x="371855" y="651934"/>
                </a:lnTo>
                <a:lnTo>
                  <a:pt x="371855" y="713231"/>
                </a:lnTo>
                <a:lnTo>
                  <a:pt x="373379" y="714755"/>
                </a:lnTo>
                <a:close/>
              </a:path>
              <a:path w="948690" h="718185">
                <a:moveTo>
                  <a:pt x="529589" y="698753"/>
                </a:moveTo>
                <a:lnTo>
                  <a:pt x="381761" y="698753"/>
                </a:lnTo>
                <a:lnTo>
                  <a:pt x="390905" y="707897"/>
                </a:lnTo>
                <a:lnTo>
                  <a:pt x="390905" y="717803"/>
                </a:lnTo>
                <a:lnTo>
                  <a:pt x="520445" y="717803"/>
                </a:lnTo>
                <a:lnTo>
                  <a:pt x="520445" y="707897"/>
                </a:lnTo>
                <a:lnTo>
                  <a:pt x="529589" y="698753"/>
                </a:lnTo>
                <a:close/>
              </a:path>
              <a:path w="948690" h="718185">
                <a:moveTo>
                  <a:pt x="390905" y="717803"/>
                </a:moveTo>
                <a:lnTo>
                  <a:pt x="390905" y="707897"/>
                </a:lnTo>
                <a:lnTo>
                  <a:pt x="381761" y="698753"/>
                </a:lnTo>
                <a:lnTo>
                  <a:pt x="381761" y="717803"/>
                </a:lnTo>
                <a:lnTo>
                  <a:pt x="390905" y="717803"/>
                </a:lnTo>
                <a:close/>
              </a:path>
              <a:path w="948690" h="718185">
                <a:moveTo>
                  <a:pt x="938783" y="26419"/>
                </a:moveTo>
                <a:lnTo>
                  <a:pt x="938783" y="19049"/>
                </a:lnTo>
                <a:lnTo>
                  <a:pt x="921163" y="19049"/>
                </a:lnTo>
                <a:lnTo>
                  <a:pt x="521969" y="644651"/>
                </a:lnTo>
                <a:lnTo>
                  <a:pt x="520445" y="647699"/>
                </a:lnTo>
                <a:lnTo>
                  <a:pt x="520445" y="698753"/>
                </a:lnTo>
                <a:lnTo>
                  <a:pt x="529589" y="698753"/>
                </a:lnTo>
                <a:lnTo>
                  <a:pt x="529589" y="717803"/>
                </a:lnTo>
                <a:lnTo>
                  <a:pt x="534923" y="717803"/>
                </a:lnTo>
                <a:lnTo>
                  <a:pt x="537971" y="714755"/>
                </a:lnTo>
                <a:lnTo>
                  <a:pt x="537971" y="654557"/>
                </a:lnTo>
                <a:lnTo>
                  <a:pt x="539495" y="649985"/>
                </a:lnTo>
                <a:lnTo>
                  <a:pt x="539495" y="652169"/>
                </a:lnTo>
                <a:lnTo>
                  <a:pt x="938783" y="26419"/>
                </a:lnTo>
                <a:close/>
              </a:path>
              <a:path w="948690" h="718185">
                <a:moveTo>
                  <a:pt x="529589" y="717803"/>
                </a:moveTo>
                <a:lnTo>
                  <a:pt x="529589" y="698753"/>
                </a:lnTo>
                <a:lnTo>
                  <a:pt x="520445" y="707897"/>
                </a:lnTo>
                <a:lnTo>
                  <a:pt x="520445" y="717803"/>
                </a:lnTo>
                <a:lnTo>
                  <a:pt x="529589" y="717803"/>
                </a:lnTo>
                <a:close/>
              </a:path>
              <a:path w="948690" h="718185">
                <a:moveTo>
                  <a:pt x="539495" y="652169"/>
                </a:moveTo>
                <a:lnTo>
                  <a:pt x="539495" y="649985"/>
                </a:lnTo>
                <a:lnTo>
                  <a:pt x="537971" y="654557"/>
                </a:lnTo>
                <a:lnTo>
                  <a:pt x="539495" y="652169"/>
                </a:lnTo>
                <a:close/>
              </a:path>
              <a:path w="948690" h="718185">
                <a:moveTo>
                  <a:pt x="539495" y="713231"/>
                </a:moveTo>
                <a:lnTo>
                  <a:pt x="539495" y="652169"/>
                </a:lnTo>
                <a:lnTo>
                  <a:pt x="537971" y="654557"/>
                </a:lnTo>
                <a:lnTo>
                  <a:pt x="537971" y="714755"/>
                </a:lnTo>
                <a:lnTo>
                  <a:pt x="539495" y="713231"/>
                </a:lnTo>
                <a:close/>
              </a:path>
              <a:path w="948690" h="718185">
                <a:moveTo>
                  <a:pt x="938783" y="19049"/>
                </a:moveTo>
                <a:lnTo>
                  <a:pt x="930401" y="4571"/>
                </a:lnTo>
                <a:lnTo>
                  <a:pt x="921163" y="19049"/>
                </a:lnTo>
                <a:lnTo>
                  <a:pt x="938783" y="19049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4" name="object 118"/>
          <p:cNvSpPr/>
          <p:nvPr/>
        </p:nvSpPr>
        <p:spPr>
          <a:xfrm>
            <a:off x="7781451" y="3027201"/>
            <a:ext cx="613575" cy="38600"/>
          </a:xfrm>
          <a:prstGeom prst="rect">
            <a:avLst/>
          </a:prstGeom>
          <a:blipFill>
            <a:blip r:embed="rId5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5" name="object 119"/>
          <p:cNvSpPr/>
          <p:nvPr/>
        </p:nvSpPr>
        <p:spPr>
          <a:xfrm>
            <a:off x="7774899" y="3022800"/>
            <a:ext cx="626243" cy="43171"/>
          </a:xfrm>
          <a:custGeom>
            <a:avLst/>
            <a:gdLst/>
            <a:ahLst/>
            <a:cxnLst/>
            <a:rect l="l" t="t" r="r" b="b"/>
            <a:pathLst>
              <a:path w="948054" h="97154">
                <a:moveTo>
                  <a:pt x="947928" y="96774"/>
                </a:moveTo>
                <a:lnTo>
                  <a:pt x="947928" y="4572"/>
                </a:lnTo>
                <a:lnTo>
                  <a:pt x="944118" y="0"/>
                </a:lnTo>
                <a:lnTo>
                  <a:pt x="4571" y="0"/>
                </a:lnTo>
                <a:lnTo>
                  <a:pt x="0" y="4572"/>
                </a:lnTo>
                <a:lnTo>
                  <a:pt x="0" y="96774"/>
                </a:lnTo>
                <a:lnTo>
                  <a:pt x="9906" y="96774"/>
                </a:lnTo>
                <a:lnTo>
                  <a:pt x="9905" y="19050"/>
                </a:lnTo>
                <a:lnTo>
                  <a:pt x="19049" y="9906"/>
                </a:lnTo>
                <a:lnTo>
                  <a:pt x="19049" y="19050"/>
                </a:lnTo>
                <a:lnTo>
                  <a:pt x="928878" y="19050"/>
                </a:lnTo>
                <a:lnTo>
                  <a:pt x="928878" y="9906"/>
                </a:lnTo>
                <a:lnTo>
                  <a:pt x="938784" y="19050"/>
                </a:lnTo>
                <a:lnTo>
                  <a:pt x="938784" y="96774"/>
                </a:lnTo>
                <a:lnTo>
                  <a:pt x="947928" y="96774"/>
                </a:lnTo>
                <a:close/>
              </a:path>
              <a:path w="948054" h="97154">
                <a:moveTo>
                  <a:pt x="19049" y="19050"/>
                </a:moveTo>
                <a:lnTo>
                  <a:pt x="19049" y="9906"/>
                </a:lnTo>
                <a:lnTo>
                  <a:pt x="9905" y="19050"/>
                </a:lnTo>
                <a:lnTo>
                  <a:pt x="19049" y="19050"/>
                </a:lnTo>
                <a:close/>
              </a:path>
              <a:path w="948054" h="97154">
                <a:moveTo>
                  <a:pt x="19050" y="96774"/>
                </a:moveTo>
                <a:lnTo>
                  <a:pt x="19049" y="19050"/>
                </a:lnTo>
                <a:lnTo>
                  <a:pt x="9905" y="19050"/>
                </a:lnTo>
                <a:lnTo>
                  <a:pt x="9906" y="96774"/>
                </a:lnTo>
                <a:lnTo>
                  <a:pt x="19050" y="96774"/>
                </a:lnTo>
                <a:close/>
              </a:path>
              <a:path w="948054" h="97154">
                <a:moveTo>
                  <a:pt x="938784" y="19050"/>
                </a:moveTo>
                <a:lnTo>
                  <a:pt x="928878" y="9906"/>
                </a:lnTo>
                <a:lnTo>
                  <a:pt x="928878" y="19050"/>
                </a:lnTo>
                <a:lnTo>
                  <a:pt x="938784" y="19050"/>
                </a:lnTo>
                <a:close/>
              </a:path>
              <a:path w="948054" h="97154">
                <a:moveTo>
                  <a:pt x="938784" y="96774"/>
                </a:moveTo>
                <a:lnTo>
                  <a:pt x="938784" y="19050"/>
                </a:lnTo>
                <a:lnTo>
                  <a:pt x="928878" y="19050"/>
                </a:lnTo>
                <a:lnTo>
                  <a:pt x="928878" y="96774"/>
                </a:lnTo>
                <a:lnTo>
                  <a:pt x="938784" y="96774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6" name="object 120"/>
          <p:cNvSpPr/>
          <p:nvPr/>
        </p:nvSpPr>
        <p:spPr>
          <a:xfrm>
            <a:off x="5849115" y="3397286"/>
            <a:ext cx="285647" cy="71951"/>
          </a:xfrm>
          <a:custGeom>
            <a:avLst/>
            <a:gdLst/>
            <a:ahLst/>
            <a:cxnLst/>
            <a:rect l="l" t="t" r="r" b="b"/>
            <a:pathLst>
              <a:path w="432435" h="161925">
                <a:moveTo>
                  <a:pt x="386334" y="0"/>
                </a:moveTo>
                <a:lnTo>
                  <a:pt x="70866" y="77724"/>
                </a:lnTo>
                <a:lnTo>
                  <a:pt x="762" y="77724"/>
                </a:lnTo>
                <a:lnTo>
                  <a:pt x="0" y="92202"/>
                </a:lnTo>
                <a:lnTo>
                  <a:pt x="68580" y="92202"/>
                </a:lnTo>
                <a:lnTo>
                  <a:pt x="245364" y="125928"/>
                </a:lnTo>
                <a:lnTo>
                  <a:pt x="245364" y="65532"/>
                </a:lnTo>
                <a:lnTo>
                  <a:pt x="386334" y="0"/>
                </a:lnTo>
                <a:close/>
              </a:path>
              <a:path w="432435" h="161925">
                <a:moveTo>
                  <a:pt x="432054" y="161544"/>
                </a:moveTo>
                <a:lnTo>
                  <a:pt x="245364" y="65532"/>
                </a:lnTo>
                <a:lnTo>
                  <a:pt x="245364" y="125928"/>
                </a:lnTo>
                <a:lnTo>
                  <a:pt x="432054" y="161544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7" name="object 121"/>
          <p:cNvSpPr/>
          <p:nvPr/>
        </p:nvSpPr>
        <p:spPr>
          <a:xfrm>
            <a:off x="5845592" y="3394916"/>
            <a:ext cx="292778" cy="76749"/>
          </a:xfrm>
          <a:custGeom>
            <a:avLst/>
            <a:gdLst/>
            <a:ahLst/>
            <a:cxnLst/>
            <a:rect l="l" t="t" r="r" b="b"/>
            <a:pathLst>
              <a:path w="443229" h="172720">
                <a:moveTo>
                  <a:pt x="76200" y="77724"/>
                </a:moveTo>
                <a:lnTo>
                  <a:pt x="3048" y="77724"/>
                </a:lnTo>
                <a:lnTo>
                  <a:pt x="1524" y="80010"/>
                </a:lnTo>
                <a:lnTo>
                  <a:pt x="1524" y="82296"/>
                </a:lnTo>
                <a:lnTo>
                  <a:pt x="0" y="97536"/>
                </a:lnTo>
                <a:lnTo>
                  <a:pt x="0" y="98298"/>
                </a:lnTo>
                <a:lnTo>
                  <a:pt x="762" y="99822"/>
                </a:lnTo>
                <a:lnTo>
                  <a:pt x="2286" y="101346"/>
                </a:lnTo>
                <a:lnTo>
                  <a:pt x="3810" y="102108"/>
                </a:lnTo>
                <a:lnTo>
                  <a:pt x="5334" y="102108"/>
                </a:lnTo>
                <a:lnTo>
                  <a:pt x="5334" y="92964"/>
                </a:lnTo>
                <a:lnTo>
                  <a:pt x="6096" y="92964"/>
                </a:lnTo>
                <a:lnTo>
                  <a:pt x="6096" y="87630"/>
                </a:lnTo>
                <a:lnTo>
                  <a:pt x="10668" y="83058"/>
                </a:lnTo>
                <a:lnTo>
                  <a:pt x="10668" y="87630"/>
                </a:lnTo>
                <a:lnTo>
                  <a:pt x="75438" y="87630"/>
                </a:lnTo>
                <a:lnTo>
                  <a:pt x="75438" y="78486"/>
                </a:lnTo>
                <a:lnTo>
                  <a:pt x="76200" y="77724"/>
                </a:lnTo>
                <a:close/>
              </a:path>
              <a:path w="443229" h="172720">
                <a:moveTo>
                  <a:pt x="10146" y="92964"/>
                </a:moveTo>
                <a:lnTo>
                  <a:pt x="5334" y="92964"/>
                </a:lnTo>
                <a:lnTo>
                  <a:pt x="9906" y="97536"/>
                </a:lnTo>
                <a:lnTo>
                  <a:pt x="10146" y="92964"/>
                </a:lnTo>
                <a:close/>
              </a:path>
              <a:path w="443229" h="172720">
                <a:moveTo>
                  <a:pt x="438150" y="171958"/>
                </a:moveTo>
                <a:lnTo>
                  <a:pt x="438150" y="162306"/>
                </a:lnTo>
                <a:lnTo>
                  <a:pt x="435102" y="170688"/>
                </a:lnTo>
                <a:lnTo>
                  <a:pt x="407395" y="156438"/>
                </a:lnTo>
                <a:lnTo>
                  <a:pt x="74676" y="92964"/>
                </a:lnTo>
                <a:lnTo>
                  <a:pt x="10146" y="92964"/>
                </a:lnTo>
                <a:lnTo>
                  <a:pt x="9906" y="97536"/>
                </a:lnTo>
                <a:lnTo>
                  <a:pt x="5334" y="92964"/>
                </a:lnTo>
                <a:lnTo>
                  <a:pt x="5334" y="102108"/>
                </a:lnTo>
                <a:lnTo>
                  <a:pt x="73914" y="102108"/>
                </a:lnTo>
                <a:lnTo>
                  <a:pt x="73914" y="102253"/>
                </a:lnTo>
                <a:lnTo>
                  <a:pt x="436626" y="171450"/>
                </a:lnTo>
                <a:lnTo>
                  <a:pt x="438150" y="171958"/>
                </a:lnTo>
                <a:close/>
              </a:path>
              <a:path w="443229" h="172720">
                <a:moveTo>
                  <a:pt x="10668" y="83058"/>
                </a:moveTo>
                <a:lnTo>
                  <a:pt x="6096" y="87630"/>
                </a:lnTo>
                <a:lnTo>
                  <a:pt x="10427" y="87630"/>
                </a:lnTo>
                <a:lnTo>
                  <a:pt x="10668" y="83058"/>
                </a:lnTo>
                <a:close/>
              </a:path>
              <a:path w="443229" h="172720">
                <a:moveTo>
                  <a:pt x="10427" y="87630"/>
                </a:moveTo>
                <a:lnTo>
                  <a:pt x="6096" y="87630"/>
                </a:lnTo>
                <a:lnTo>
                  <a:pt x="6096" y="92964"/>
                </a:lnTo>
                <a:lnTo>
                  <a:pt x="10146" y="92964"/>
                </a:lnTo>
                <a:lnTo>
                  <a:pt x="10427" y="87630"/>
                </a:lnTo>
                <a:close/>
              </a:path>
              <a:path w="443229" h="172720">
                <a:moveTo>
                  <a:pt x="10668" y="87630"/>
                </a:moveTo>
                <a:lnTo>
                  <a:pt x="10668" y="83058"/>
                </a:lnTo>
                <a:lnTo>
                  <a:pt x="10427" y="87630"/>
                </a:lnTo>
                <a:lnTo>
                  <a:pt x="10668" y="87630"/>
                </a:lnTo>
                <a:close/>
              </a:path>
              <a:path w="443229" h="172720">
                <a:moveTo>
                  <a:pt x="73914" y="102253"/>
                </a:moveTo>
                <a:lnTo>
                  <a:pt x="73914" y="102108"/>
                </a:lnTo>
                <a:lnTo>
                  <a:pt x="73152" y="102108"/>
                </a:lnTo>
                <a:lnTo>
                  <a:pt x="73914" y="102253"/>
                </a:lnTo>
                <a:close/>
              </a:path>
              <a:path w="443229" h="172720">
                <a:moveTo>
                  <a:pt x="388560" y="1144"/>
                </a:moveTo>
                <a:lnTo>
                  <a:pt x="75438" y="78486"/>
                </a:lnTo>
                <a:lnTo>
                  <a:pt x="75438" y="87630"/>
                </a:lnTo>
                <a:lnTo>
                  <a:pt x="77724" y="87630"/>
                </a:lnTo>
                <a:lnTo>
                  <a:pt x="343961" y="21876"/>
                </a:lnTo>
                <a:lnTo>
                  <a:pt x="388560" y="1144"/>
                </a:lnTo>
                <a:close/>
              </a:path>
              <a:path w="443229" h="172720">
                <a:moveTo>
                  <a:pt x="392184" y="9966"/>
                </a:moveTo>
                <a:lnTo>
                  <a:pt x="343961" y="21876"/>
                </a:lnTo>
                <a:lnTo>
                  <a:pt x="248412" y="66294"/>
                </a:lnTo>
                <a:lnTo>
                  <a:pt x="246888" y="67056"/>
                </a:lnTo>
                <a:lnTo>
                  <a:pt x="246126" y="68580"/>
                </a:lnTo>
                <a:lnTo>
                  <a:pt x="246126" y="72390"/>
                </a:lnTo>
                <a:lnTo>
                  <a:pt x="246888" y="73914"/>
                </a:lnTo>
                <a:lnTo>
                  <a:pt x="248412" y="74676"/>
                </a:lnTo>
                <a:lnTo>
                  <a:pt x="252984" y="77027"/>
                </a:lnTo>
                <a:lnTo>
                  <a:pt x="252984" y="66294"/>
                </a:lnTo>
                <a:lnTo>
                  <a:pt x="261544" y="70696"/>
                </a:lnTo>
                <a:lnTo>
                  <a:pt x="392184" y="9966"/>
                </a:lnTo>
                <a:close/>
              </a:path>
              <a:path w="443229" h="172720">
                <a:moveTo>
                  <a:pt x="261544" y="70696"/>
                </a:moveTo>
                <a:lnTo>
                  <a:pt x="252984" y="66294"/>
                </a:lnTo>
                <a:lnTo>
                  <a:pt x="252984" y="74676"/>
                </a:lnTo>
                <a:lnTo>
                  <a:pt x="261544" y="70696"/>
                </a:lnTo>
                <a:close/>
              </a:path>
              <a:path w="443229" h="172720">
                <a:moveTo>
                  <a:pt x="442722" y="166116"/>
                </a:moveTo>
                <a:lnTo>
                  <a:pt x="441960" y="163830"/>
                </a:lnTo>
                <a:lnTo>
                  <a:pt x="439674" y="162306"/>
                </a:lnTo>
                <a:lnTo>
                  <a:pt x="261544" y="70696"/>
                </a:lnTo>
                <a:lnTo>
                  <a:pt x="252984" y="74676"/>
                </a:lnTo>
                <a:lnTo>
                  <a:pt x="252984" y="77027"/>
                </a:lnTo>
                <a:lnTo>
                  <a:pt x="407395" y="156438"/>
                </a:lnTo>
                <a:lnTo>
                  <a:pt x="438150" y="162306"/>
                </a:lnTo>
                <a:lnTo>
                  <a:pt x="438150" y="171958"/>
                </a:lnTo>
                <a:lnTo>
                  <a:pt x="438912" y="172212"/>
                </a:lnTo>
                <a:lnTo>
                  <a:pt x="441198" y="170688"/>
                </a:lnTo>
                <a:lnTo>
                  <a:pt x="442722" y="166116"/>
                </a:lnTo>
                <a:close/>
              </a:path>
              <a:path w="443229" h="172720">
                <a:moveTo>
                  <a:pt x="392414" y="9859"/>
                </a:moveTo>
                <a:lnTo>
                  <a:pt x="389437" y="927"/>
                </a:lnTo>
                <a:lnTo>
                  <a:pt x="388560" y="1144"/>
                </a:lnTo>
                <a:lnTo>
                  <a:pt x="343961" y="21876"/>
                </a:lnTo>
                <a:lnTo>
                  <a:pt x="392184" y="9966"/>
                </a:lnTo>
                <a:lnTo>
                  <a:pt x="392414" y="9859"/>
                </a:lnTo>
                <a:close/>
              </a:path>
              <a:path w="443229" h="172720">
                <a:moveTo>
                  <a:pt x="389437" y="927"/>
                </a:moveTo>
                <a:lnTo>
                  <a:pt x="389382" y="762"/>
                </a:lnTo>
                <a:lnTo>
                  <a:pt x="388560" y="1144"/>
                </a:lnTo>
                <a:lnTo>
                  <a:pt x="389437" y="927"/>
                </a:lnTo>
                <a:close/>
              </a:path>
              <a:path w="443229" h="172720">
                <a:moveTo>
                  <a:pt x="397002" y="6096"/>
                </a:moveTo>
                <a:lnTo>
                  <a:pt x="395478" y="1524"/>
                </a:lnTo>
                <a:lnTo>
                  <a:pt x="393192" y="0"/>
                </a:lnTo>
                <a:lnTo>
                  <a:pt x="389437" y="927"/>
                </a:lnTo>
                <a:lnTo>
                  <a:pt x="392414" y="9859"/>
                </a:lnTo>
                <a:lnTo>
                  <a:pt x="393954" y="9144"/>
                </a:lnTo>
                <a:lnTo>
                  <a:pt x="396240" y="8382"/>
                </a:lnTo>
                <a:lnTo>
                  <a:pt x="397002" y="6096"/>
                </a:lnTo>
                <a:close/>
              </a:path>
              <a:path w="443229" h="172720">
                <a:moveTo>
                  <a:pt x="438150" y="162306"/>
                </a:moveTo>
                <a:lnTo>
                  <a:pt x="407395" y="156438"/>
                </a:lnTo>
                <a:lnTo>
                  <a:pt x="435102" y="170688"/>
                </a:lnTo>
                <a:lnTo>
                  <a:pt x="438150" y="162306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8" name="object 122"/>
          <p:cNvSpPr/>
          <p:nvPr/>
        </p:nvSpPr>
        <p:spPr>
          <a:xfrm>
            <a:off x="5411206" y="3245256"/>
            <a:ext cx="127933" cy="393336"/>
          </a:xfrm>
          <a:custGeom>
            <a:avLst/>
            <a:gdLst/>
            <a:ahLst/>
            <a:cxnLst/>
            <a:rect l="l" t="t" r="r" b="b"/>
            <a:pathLst>
              <a:path w="193675" h="885189">
                <a:moveTo>
                  <a:pt x="193548" y="723900"/>
                </a:moveTo>
                <a:lnTo>
                  <a:pt x="186690" y="198119"/>
                </a:lnTo>
                <a:lnTo>
                  <a:pt x="0" y="0"/>
                </a:lnTo>
                <a:lnTo>
                  <a:pt x="4572" y="41910"/>
                </a:lnTo>
                <a:lnTo>
                  <a:pt x="150876" y="190500"/>
                </a:lnTo>
                <a:lnTo>
                  <a:pt x="150876" y="759348"/>
                </a:lnTo>
                <a:lnTo>
                  <a:pt x="193548" y="723900"/>
                </a:lnTo>
                <a:close/>
              </a:path>
              <a:path w="193675" h="885189">
                <a:moveTo>
                  <a:pt x="150876" y="759348"/>
                </a:moveTo>
                <a:lnTo>
                  <a:pt x="150876" y="723900"/>
                </a:lnTo>
                <a:lnTo>
                  <a:pt x="0" y="842010"/>
                </a:lnTo>
                <a:lnTo>
                  <a:pt x="0" y="884682"/>
                </a:lnTo>
                <a:lnTo>
                  <a:pt x="150876" y="759348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9" name="object 123"/>
          <p:cNvSpPr/>
          <p:nvPr/>
        </p:nvSpPr>
        <p:spPr>
          <a:xfrm>
            <a:off x="5407683" y="3242887"/>
            <a:ext cx="134645" cy="397568"/>
          </a:xfrm>
          <a:custGeom>
            <a:avLst/>
            <a:gdLst/>
            <a:ahLst/>
            <a:cxnLst/>
            <a:rect l="l" t="t" r="r" b="b"/>
            <a:pathLst>
              <a:path w="203835" h="894714">
                <a:moveTo>
                  <a:pt x="203454" y="732282"/>
                </a:moveTo>
                <a:lnTo>
                  <a:pt x="203454" y="729234"/>
                </a:lnTo>
                <a:lnTo>
                  <a:pt x="196596" y="203454"/>
                </a:lnTo>
                <a:lnTo>
                  <a:pt x="196596" y="201930"/>
                </a:lnTo>
                <a:lnTo>
                  <a:pt x="195834" y="201168"/>
                </a:lnTo>
                <a:lnTo>
                  <a:pt x="195072" y="199644"/>
                </a:lnTo>
                <a:lnTo>
                  <a:pt x="8382" y="1524"/>
                </a:lnTo>
                <a:lnTo>
                  <a:pt x="7620" y="0"/>
                </a:lnTo>
                <a:lnTo>
                  <a:pt x="5334" y="0"/>
                </a:lnTo>
                <a:lnTo>
                  <a:pt x="3048" y="762"/>
                </a:lnTo>
                <a:lnTo>
                  <a:pt x="1524" y="1524"/>
                </a:lnTo>
                <a:lnTo>
                  <a:pt x="0" y="3810"/>
                </a:lnTo>
                <a:lnTo>
                  <a:pt x="762" y="5334"/>
                </a:lnTo>
                <a:lnTo>
                  <a:pt x="1524" y="12446"/>
                </a:lnTo>
                <a:lnTo>
                  <a:pt x="1524" y="8382"/>
                </a:lnTo>
                <a:lnTo>
                  <a:pt x="9906" y="4572"/>
                </a:lnTo>
                <a:lnTo>
                  <a:pt x="11441" y="18907"/>
                </a:lnTo>
                <a:lnTo>
                  <a:pt x="187452" y="205693"/>
                </a:lnTo>
                <a:lnTo>
                  <a:pt x="187452" y="203454"/>
                </a:lnTo>
                <a:lnTo>
                  <a:pt x="188214" y="206502"/>
                </a:lnTo>
                <a:lnTo>
                  <a:pt x="188214" y="261874"/>
                </a:lnTo>
                <a:lnTo>
                  <a:pt x="194277" y="726717"/>
                </a:lnTo>
                <a:lnTo>
                  <a:pt x="195834" y="725424"/>
                </a:lnTo>
                <a:lnTo>
                  <a:pt x="195834" y="738084"/>
                </a:lnTo>
                <a:lnTo>
                  <a:pt x="201930" y="733044"/>
                </a:lnTo>
                <a:lnTo>
                  <a:pt x="203454" y="732282"/>
                </a:lnTo>
                <a:close/>
              </a:path>
              <a:path w="203835" h="894714">
                <a:moveTo>
                  <a:pt x="153162" y="725424"/>
                </a:moveTo>
                <a:lnTo>
                  <a:pt x="2286" y="843534"/>
                </a:lnTo>
                <a:lnTo>
                  <a:pt x="762" y="844296"/>
                </a:lnTo>
                <a:lnTo>
                  <a:pt x="762" y="891540"/>
                </a:lnTo>
                <a:lnTo>
                  <a:pt x="1524" y="893064"/>
                </a:lnTo>
                <a:lnTo>
                  <a:pt x="2286" y="893445"/>
                </a:lnTo>
                <a:lnTo>
                  <a:pt x="2286" y="886206"/>
                </a:lnTo>
                <a:lnTo>
                  <a:pt x="8382" y="881142"/>
                </a:lnTo>
                <a:lnTo>
                  <a:pt x="8382" y="851154"/>
                </a:lnTo>
                <a:lnTo>
                  <a:pt x="9906" y="847344"/>
                </a:lnTo>
                <a:lnTo>
                  <a:pt x="9906" y="849960"/>
                </a:lnTo>
                <a:lnTo>
                  <a:pt x="150876" y="739605"/>
                </a:lnTo>
                <a:lnTo>
                  <a:pt x="150876" y="729234"/>
                </a:lnTo>
                <a:lnTo>
                  <a:pt x="153162" y="725424"/>
                </a:lnTo>
                <a:close/>
              </a:path>
              <a:path w="203835" h="894714">
                <a:moveTo>
                  <a:pt x="11441" y="18907"/>
                </a:moveTo>
                <a:lnTo>
                  <a:pt x="9906" y="4572"/>
                </a:lnTo>
                <a:lnTo>
                  <a:pt x="1524" y="8382"/>
                </a:lnTo>
                <a:lnTo>
                  <a:pt x="11441" y="18907"/>
                </a:lnTo>
                <a:close/>
              </a:path>
              <a:path w="203835" h="894714">
                <a:moveTo>
                  <a:pt x="14204" y="44695"/>
                </a:moveTo>
                <a:lnTo>
                  <a:pt x="11441" y="18907"/>
                </a:lnTo>
                <a:lnTo>
                  <a:pt x="1524" y="8382"/>
                </a:lnTo>
                <a:lnTo>
                  <a:pt x="1524" y="12446"/>
                </a:lnTo>
                <a:lnTo>
                  <a:pt x="5334" y="48006"/>
                </a:lnTo>
                <a:lnTo>
                  <a:pt x="5334" y="48768"/>
                </a:lnTo>
                <a:lnTo>
                  <a:pt x="6096" y="50292"/>
                </a:lnTo>
                <a:lnTo>
                  <a:pt x="13716" y="58070"/>
                </a:lnTo>
                <a:lnTo>
                  <a:pt x="13716" y="44196"/>
                </a:lnTo>
                <a:lnTo>
                  <a:pt x="14204" y="44695"/>
                </a:lnTo>
                <a:close/>
              </a:path>
              <a:path w="203835" h="894714">
                <a:moveTo>
                  <a:pt x="195834" y="738084"/>
                </a:moveTo>
                <a:lnTo>
                  <a:pt x="195834" y="725424"/>
                </a:lnTo>
                <a:lnTo>
                  <a:pt x="194310" y="729234"/>
                </a:lnTo>
                <a:lnTo>
                  <a:pt x="194277" y="726717"/>
                </a:lnTo>
                <a:lnTo>
                  <a:pt x="2286" y="886206"/>
                </a:lnTo>
                <a:lnTo>
                  <a:pt x="9906" y="890016"/>
                </a:lnTo>
                <a:lnTo>
                  <a:pt x="9906" y="891804"/>
                </a:lnTo>
                <a:lnTo>
                  <a:pt x="195834" y="738084"/>
                </a:lnTo>
                <a:close/>
              </a:path>
              <a:path w="203835" h="894714">
                <a:moveTo>
                  <a:pt x="9906" y="891804"/>
                </a:moveTo>
                <a:lnTo>
                  <a:pt x="9906" y="890016"/>
                </a:lnTo>
                <a:lnTo>
                  <a:pt x="2286" y="886206"/>
                </a:lnTo>
                <a:lnTo>
                  <a:pt x="2286" y="893445"/>
                </a:lnTo>
                <a:lnTo>
                  <a:pt x="4572" y="894588"/>
                </a:lnTo>
                <a:lnTo>
                  <a:pt x="6858" y="894588"/>
                </a:lnTo>
                <a:lnTo>
                  <a:pt x="8382" y="893064"/>
                </a:lnTo>
                <a:lnTo>
                  <a:pt x="9906" y="891804"/>
                </a:lnTo>
                <a:close/>
              </a:path>
              <a:path w="203835" h="894714">
                <a:moveTo>
                  <a:pt x="9906" y="849960"/>
                </a:moveTo>
                <a:lnTo>
                  <a:pt x="9906" y="847344"/>
                </a:lnTo>
                <a:lnTo>
                  <a:pt x="8382" y="851154"/>
                </a:lnTo>
                <a:lnTo>
                  <a:pt x="9906" y="849960"/>
                </a:lnTo>
                <a:close/>
              </a:path>
              <a:path w="203835" h="894714">
                <a:moveTo>
                  <a:pt x="9906" y="879876"/>
                </a:moveTo>
                <a:lnTo>
                  <a:pt x="9906" y="849960"/>
                </a:lnTo>
                <a:lnTo>
                  <a:pt x="8382" y="851154"/>
                </a:lnTo>
                <a:lnTo>
                  <a:pt x="8382" y="881142"/>
                </a:lnTo>
                <a:lnTo>
                  <a:pt x="9906" y="879876"/>
                </a:lnTo>
                <a:close/>
              </a:path>
              <a:path w="203835" h="894714">
                <a:moveTo>
                  <a:pt x="14478" y="47244"/>
                </a:moveTo>
                <a:lnTo>
                  <a:pt x="14204" y="44695"/>
                </a:lnTo>
                <a:lnTo>
                  <a:pt x="13716" y="44196"/>
                </a:lnTo>
                <a:lnTo>
                  <a:pt x="14478" y="47244"/>
                </a:lnTo>
                <a:close/>
              </a:path>
              <a:path w="203835" h="894714">
                <a:moveTo>
                  <a:pt x="14478" y="58848"/>
                </a:moveTo>
                <a:lnTo>
                  <a:pt x="14478" y="47244"/>
                </a:lnTo>
                <a:lnTo>
                  <a:pt x="13716" y="44196"/>
                </a:lnTo>
                <a:lnTo>
                  <a:pt x="13716" y="58070"/>
                </a:lnTo>
                <a:lnTo>
                  <a:pt x="14478" y="58848"/>
                </a:lnTo>
                <a:close/>
              </a:path>
              <a:path w="203835" h="894714">
                <a:moveTo>
                  <a:pt x="160782" y="730758"/>
                </a:moveTo>
                <a:lnTo>
                  <a:pt x="160782" y="195072"/>
                </a:lnTo>
                <a:lnTo>
                  <a:pt x="160020" y="193548"/>
                </a:lnTo>
                <a:lnTo>
                  <a:pt x="14204" y="44695"/>
                </a:lnTo>
                <a:lnTo>
                  <a:pt x="14478" y="47244"/>
                </a:lnTo>
                <a:lnTo>
                  <a:pt x="14478" y="58848"/>
                </a:lnTo>
                <a:lnTo>
                  <a:pt x="150876" y="198088"/>
                </a:lnTo>
                <a:lnTo>
                  <a:pt x="150876" y="195834"/>
                </a:lnTo>
                <a:lnTo>
                  <a:pt x="152400" y="199644"/>
                </a:lnTo>
                <a:lnTo>
                  <a:pt x="152400" y="726020"/>
                </a:lnTo>
                <a:lnTo>
                  <a:pt x="153162" y="725424"/>
                </a:lnTo>
                <a:lnTo>
                  <a:pt x="153162" y="737816"/>
                </a:lnTo>
                <a:lnTo>
                  <a:pt x="159258" y="733044"/>
                </a:lnTo>
                <a:lnTo>
                  <a:pt x="160020" y="732282"/>
                </a:lnTo>
                <a:lnTo>
                  <a:pt x="160782" y="730758"/>
                </a:lnTo>
                <a:close/>
              </a:path>
              <a:path w="203835" h="894714">
                <a:moveTo>
                  <a:pt x="152400" y="199644"/>
                </a:moveTo>
                <a:lnTo>
                  <a:pt x="150876" y="195834"/>
                </a:lnTo>
                <a:lnTo>
                  <a:pt x="150876" y="198088"/>
                </a:lnTo>
                <a:lnTo>
                  <a:pt x="152400" y="199644"/>
                </a:lnTo>
                <a:close/>
              </a:path>
              <a:path w="203835" h="894714">
                <a:moveTo>
                  <a:pt x="152400" y="726020"/>
                </a:moveTo>
                <a:lnTo>
                  <a:pt x="152400" y="199644"/>
                </a:lnTo>
                <a:lnTo>
                  <a:pt x="150876" y="198088"/>
                </a:lnTo>
                <a:lnTo>
                  <a:pt x="150876" y="727213"/>
                </a:lnTo>
                <a:lnTo>
                  <a:pt x="152400" y="726020"/>
                </a:lnTo>
                <a:close/>
              </a:path>
              <a:path w="203835" h="894714">
                <a:moveTo>
                  <a:pt x="153162" y="737816"/>
                </a:moveTo>
                <a:lnTo>
                  <a:pt x="153162" y="725424"/>
                </a:lnTo>
                <a:lnTo>
                  <a:pt x="150876" y="729234"/>
                </a:lnTo>
                <a:lnTo>
                  <a:pt x="150876" y="739605"/>
                </a:lnTo>
                <a:lnTo>
                  <a:pt x="153162" y="737816"/>
                </a:lnTo>
                <a:close/>
              </a:path>
              <a:path w="203835" h="894714">
                <a:moveTo>
                  <a:pt x="188214" y="206502"/>
                </a:moveTo>
                <a:lnTo>
                  <a:pt x="187452" y="203454"/>
                </a:lnTo>
                <a:lnTo>
                  <a:pt x="187481" y="205724"/>
                </a:lnTo>
                <a:lnTo>
                  <a:pt x="188214" y="206502"/>
                </a:lnTo>
                <a:close/>
              </a:path>
              <a:path w="203835" h="894714">
                <a:moveTo>
                  <a:pt x="187481" y="205724"/>
                </a:moveTo>
                <a:lnTo>
                  <a:pt x="187452" y="203454"/>
                </a:lnTo>
                <a:lnTo>
                  <a:pt x="187452" y="205693"/>
                </a:lnTo>
                <a:close/>
              </a:path>
              <a:path w="203835" h="894714">
                <a:moveTo>
                  <a:pt x="188214" y="261874"/>
                </a:moveTo>
                <a:lnTo>
                  <a:pt x="188214" y="206502"/>
                </a:lnTo>
                <a:lnTo>
                  <a:pt x="187481" y="205724"/>
                </a:lnTo>
                <a:lnTo>
                  <a:pt x="188214" y="261874"/>
                </a:lnTo>
                <a:close/>
              </a:path>
              <a:path w="203835" h="894714">
                <a:moveTo>
                  <a:pt x="195834" y="725424"/>
                </a:moveTo>
                <a:lnTo>
                  <a:pt x="194277" y="726717"/>
                </a:lnTo>
                <a:lnTo>
                  <a:pt x="194310" y="729234"/>
                </a:lnTo>
                <a:lnTo>
                  <a:pt x="195834" y="725424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0" name="object 124"/>
          <p:cNvSpPr/>
          <p:nvPr/>
        </p:nvSpPr>
        <p:spPr>
          <a:xfrm>
            <a:off x="5539056" y="3415909"/>
            <a:ext cx="27264" cy="63205"/>
          </a:xfrm>
          <a:custGeom>
            <a:avLst/>
            <a:gdLst/>
            <a:ahLst/>
            <a:cxnLst/>
            <a:rect l="l" t="t" r="r" b="b"/>
            <a:pathLst>
              <a:path w="41275" h="142239">
                <a:moveTo>
                  <a:pt x="41148" y="85344"/>
                </a:moveTo>
                <a:lnTo>
                  <a:pt x="41148" y="44958"/>
                </a:lnTo>
                <a:lnTo>
                  <a:pt x="0" y="0"/>
                </a:lnTo>
                <a:lnTo>
                  <a:pt x="0" y="141732"/>
                </a:lnTo>
                <a:lnTo>
                  <a:pt x="41148" y="85344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1" name="object 125"/>
          <p:cNvSpPr/>
          <p:nvPr/>
        </p:nvSpPr>
        <p:spPr>
          <a:xfrm>
            <a:off x="5562713" y="3432838"/>
            <a:ext cx="292778" cy="21162"/>
          </a:xfrm>
          <a:custGeom>
            <a:avLst/>
            <a:gdLst/>
            <a:ahLst/>
            <a:cxnLst/>
            <a:rect l="l" t="t" r="r" b="b"/>
            <a:pathLst>
              <a:path w="443229" h="47625">
                <a:moveTo>
                  <a:pt x="442722" y="25907"/>
                </a:moveTo>
                <a:lnTo>
                  <a:pt x="0" y="0"/>
                </a:lnTo>
                <a:lnTo>
                  <a:pt x="0" y="47244"/>
                </a:lnTo>
                <a:lnTo>
                  <a:pt x="442722" y="25907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2" name="object 126"/>
          <p:cNvSpPr/>
          <p:nvPr/>
        </p:nvSpPr>
        <p:spPr>
          <a:xfrm>
            <a:off x="4118117" y="3385775"/>
            <a:ext cx="852328" cy="118226"/>
          </a:xfrm>
          <a:custGeom>
            <a:avLst/>
            <a:gdLst/>
            <a:ahLst/>
            <a:cxnLst/>
            <a:rect l="l" t="t" r="r" b="b"/>
            <a:pathLst>
              <a:path w="1290320" h="266064">
                <a:moveTo>
                  <a:pt x="0" y="0"/>
                </a:moveTo>
                <a:lnTo>
                  <a:pt x="0" y="265938"/>
                </a:lnTo>
                <a:lnTo>
                  <a:pt x="1290065" y="265938"/>
                </a:lnTo>
                <a:lnTo>
                  <a:pt x="1290065" y="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3" name="object 127"/>
          <p:cNvSpPr/>
          <p:nvPr/>
        </p:nvSpPr>
        <p:spPr>
          <a:xfrm>
            <a:off x="4115097" y="3383404"/>
            <a:ext cx="858200" cy="123024"/>
          </a:xfrm>
          <a:custGeom>
            <a:avLst/>
            <a:gdLst/>
            <a:ahLst/>
            <a:cxnLst/>
            <a:rect l="l" t="t" r="r" b="b"/>
            <a:pathLst>
              <a:path w="1299210" h="276860">
                <a:moveTo>
                  <a:pt x="1299209" y="276606"/>
                </a:moveTo>
                <a:lnTo>
                  <a:pt x="1299209" y="0"/>
                </a:lnTo>
                <a:lnTo>
                  <a:pt x="0" y="0"/>
                </a:lnTo>
                <a:lnTo>
                  <a:pt x="0" y="276606"/>
                </a:lnTo>
                <a:lnTo>
                  <a:pt x="4571" y="276606"/>
                </a:lnTo>
                <a:lnTo>
                  <a:pt x="4571" y="9906"/>
                </a:lnTo>
                <a:lnTo>
                  <a:pt x="9143" y="5334"/>
                </a:lnTo>
                <a:lnTo>
                  <a:pt x="9143" y="9906"/>
                </a:lnTo>
                <a:lnTo>
                  <a:pt x="1289303" y="9906"/>
                </a:lnTo>
                <a:lnTo>
                  <a:pt x="1289303" y="5334"/>
                </a:lnTo>
                <a:lnTo>
                  <a:pt x="1294637" y="9906"/>
                </a:lnTo>
                <a:lnTo>
                  <a:pt x="1294637" y="276606"/>
                </a:lnTo>
                <a:lnTo>
                  <a:pt x="1299209" y="276606"/>
                </a:lnTo>
                <a:close/>
              </a:path>
              <a:path w="1299210" h="276860">
                <a:moveTo>
                  <a:pt x="9143" y="9906"/>
                </a:moveTo>
                <a:lnTo>
                  <a:pt x="9143" y="5334"/>
                </a:lnTo>
                <a:lnTo>
                  <a:pt x="4571" y="9906"/>
                </a:lnTo>
                <a:lnTo>
                  <a:pt x="9143" y="9906"/>
                </a:lnTo>
                <a:close/>
              </a:path>
              <a:path w="1299210" h="276860">
                <a:moveTo>
                  <a:pt x="9143" y="266700"/>
                </a:moveTo>
                <a:lnTo>
                  <a:pt x="9143" y="9906"/>
                </a:lnTo>
                <a:lnTo>
                  <a:pt x="4571" y="9906"/>
                </a:lnTo>
                <a:lnTo>
                  <a:pt x="4571" y="266700"/>
                </a:lnTo>
                <a:lnTo>
                  <a:pt x="9143" y="266700"/>
                </a:lnTo>
                <a:close/>
              </a:path>
              <a:path w="1299210" h="276860">
                <a:moveTo>
                  <a:pt x="1294637" y="266700"/>
                </a:moveTo>
                <a:lnTo>
                  <a:pt x="4571" y="266700"/>
                </a:lnTo>
                <a:lnTo>
                  <a:pt x="9143" y="271272"/>
                </a:lnTo>
                <a:lnTo>
                  <a:pt x="9143" y="276606"/>
                </a:lnTo>
                <a:lnTo>
                  <a:pt x="1289303" y="276606"/>
                </a:lnTo>
                <a:lnTo>
                  <a:pt x="1289303" y="271272"/>
                </a:lnTo>
                <a:lnTo>
                  <a:pt x="1294637" y="266700"/>
                </a:lnTo>
                <a:close/>
              </a:path>
              <a:path w="1299210" h="276860">
                <a:moveTo>
                  <a:pt x="9143" y="276606"/>
                </a:moveTo>
                <a:lnTo>
                  <a:pt x="9143" y="271272"/>
                </a:lnTo>
                <a:lnTo>
                  <a:pt x="4571" y="266700"/>
                </a:lnTo>
                <a:lnTo>
                  <a:pt x="4571" y="276606"/>
                </a:lnTo>
                <a:lnTo>
                  <a:pt x="9143" y="276606"/>
                </a:lnTo>
                <a:close/>
              </a:path>
              <a:path w="1299210" h="276860">
                <a:moveTo>
                  <a:pt x="1294637" y="9906"/>
                </a:moveTo>
                <a:lnTo>
                  <a:pt x="1289303" y="5334"/>
                </a:lnTo>
                <a:lnTo>
                  <a:pt x="1289303" y="9906"/>
                </a:lnTo>
                <a:lnTo>
                  <a:pt x="1294637" y="9906"/>
                </a:lnTo>
                <a:close/>
              </a:path>
              <a:path w="1299210" h="276860">
                <a:moveTo>
                  <a:pt x="1294637" y="266700"/>
                </a:moveTo>
                <a:lnTo>
                  <a:pt x="1294637" y="9906"/>
                </a:lnTo>
                <a:lnTo>
                  <a:pt x="1289303" y="9906"/>
                </a:lnTo>
                <a:lnTo>
                  <a:pt x="1289303" y="266700"/>
                </a:lnTo>
                <a:lnTo>
                  <a:pt x="1294637" y="266700"/>
                </a:lnTo>
                <a:close/>
              </a:path>
              <a:path w="1299210" h="276860">
                <a:moveTo>
                  <a:pt x="1294637" y="276606"/>
                </a:moveTo>
                <a:lnTo>
                  <a:pt x="1294637" y="266700"/>
                </a:lnTo>
                <a:lnTo>
                  <a:pt x="1289303" y="271272"/>
                </a:lnTo>
                <a:lnTo>
                  <a:pt x="1289303" y="276606"/>
                </a:lnTo>
                <a:lnTo>
                  <a:pt x="1294637" y="27660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4" name="object 128"/>
          <p:cNvSpPr/>
          <p:nvPr/>
        </p:nvSpPr>
        <p:spPr>
          <a:xfrm>
            <a:off x="3226192" y="3383742"/>
            <a:ext cx="854006" cy="124434"/>
          </a:xfrm>
          <a:custGeom>
            <a:avLst/>
            <a:gdLst/>
            <a:ahLst/>
            <a:cxnLst/>
            <a:rect l="l" t="t" r="r" b="b"/>
            <a:pathLst>
              <a:path w="1292860" h="280035">
                <a:moveTo>
                  <a:pt x="1292352" y="266700"/>
                </a:moveTo>
                <a:lnTo>
                  <a:pt x="1290066" y="0"/>
                </a:lnTo>
                <a:lnTo>
                  <a:pt x="0" y="12954"/>
                </a:lnTo>
                <a:lnTo>
                  <a:pt x="3047" y="279654"/>
                </a:lnTo>
                <a:lnTo>
                  <a:pt x="1292352" y="26670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5" name="object 129"/>
          <p:cNvSpPr/>
          <p:nvPr/>
        </p:nvSpPr>
        <p:spPr>
          <a:xfrm>
            <a:off x="3223171" y="3381711"/>
            <a:ext cx="860298" cy="128385"/>
          </a:xfrm>
          <a:custGeom>
            <a:avLst/>
            <a:gdLst/>
            <a:ahLst/>
            <a:cxnLst/>
            <a:rect l="l" t="t" r="r" b="b"/>
            <a:pathLst>
              <a:path w="1302385" h="288925">
                <a:moveTo>
                  <a:pt x="1302258" y="275844"/>
                </a:moveTo>
                <a:lnTo>
                  <a:pt x="1299210" y="0"/>
                </a:lnTo>
                <a:lnTo>
                  <a:pt x="0" y="12954"/>
                </a:lnTo>
                <a:lnTo>
                  <a:pt x="3047" y="288798"/>
                </a:lnTo>
                <a:lnTo>
                  <a:pt x="4572" y="288782"/>
                </a:lnTo>
                <a:lnTo>
                  <a:pt x="4571" y="22098"/>
                </a:lnTo>
                <a:lnTo>
                  <a:pt x="9906" y="17526"/>
                </a:lnTo>
                <a:lnTo>
                  <a:pt x="9944" y="22047"/>
                </a:lnTo>
                <a:lnTo>
                  <a:pt x="1290066" y="9949"/>
                </a:lnTo>
                <a:lnTo>
                  <a:pt x="1290066" y="5334"/>
                </a:lnTo>
                <a:lnTo>
                  <a:pt x="1294638" y="9906"/>
                </a:lnTo>
                <a:lnTo>
                  <a:pt x="1294638" y="266721"/>
                </a:lnTo>
                <a:lnTo>
                  <a:pt x="1296924" y="266700"/>
                </a:lnTo>
                <a:lnTo>
                  <a:pt x="1296924" y="275897"/>
                </a:lnTo>
                <a:lnTo>
                  <a:pt x="1302258" y="275844"/>
                </a:lnTo>
                <a:close/>
              </a:path>
              <a:path w="1302385" h="288925">
                <a:moveTo>
                  <a:pt x="12152" y="278849"/>
                </a:moveTo>
                <a:lnTo>
                  <a:pt x="9906" y="17526"/>
                </a:lnTo>
                <a:lnTo>
                  <a:pt x="4571" y="22098"/>
                </a:lnTo>
                <a:lnTo>
                  <a:pt x="9944" y="22047"/>
                </a:lnTo>
                <a:lnTo>
                  <a:pt x="9944" y="278870"/>
                </a:lnTo>
                <a:lnTo>
                  <a:pt x="12152" y="278849"/>
                </a:lnTo>
                <a:close/>
              </a:path>
              <a:path w="1302385" h="288925">
                <a:moveTo>
                  <a:pt x="9944" y="278870"/>
                </a:moveTo>
                <a:lnTo>
                  <a:pt x="9944" y="22047"/>
                </a:lnTo>
                <a:lnTo>
                  <a:pt x="4571" y="22098"/>
                </a:lnTo>
                <a:lnTo>
                  <a:pt x="4572" y="288782"/>
                </a:lnTo>
                <a:lnTo>
                  <a:pt x="7619" y="288752"/>
                </a:lnTo>
                <a:lnTo>
                  <a:pt x="7619" y="278892"/>
                </a:lnTo>
                <a:lnTo>
                  <a:pt x="9944" y="278870"/>
                </a:lnTo>
                <a:close/>
              </a:path>
              <a:path w="1302385" h="288925">
                <a:moveTo>
                  <a:pt x="12191" y="283464"/>
                </a:moveTo>
                <a:lnTo>
                  <a:pt x="12152" y="278849"/>
                </a:lnTo>
                <a:lnTo>
                  <a:pt x="7619" y="278892"/>
                </a:lnTo>
                <a:lnTo>
                  <a:pt x="12191" y="283464"/>
                </a:lnTo>
                <a:close/>
              </a:path>
              <a:path w="1302385" h="288925">
                <a:moveTo>
                  <a:pt x="12191" y="288706"/>
                </a:moveTo>
                <a:lnTo>
                  <a:pt x="12191" y="283464"/>
                </a:lnTo>
                <a:lnTo>
                  <a:pt x="7619" y="278892"/>
                </a:lnTo>
                <a:lnTo>
                  <a:pt x="7619" y="288752"/>
                </a:lnTo>
                <a:lnTo>
                  <a:pt x="12191" y="288706"/>
                </a:lnTo>
                <a:close/>
              </a:path>
              <a:path w="1302385" h="288925">
                <a:moveTo>
                  <a:pt x="1296924" y="275897"/>
                </a:moveTo>
                <a:lnTo>
                  <a:pt x="1296924" y="266700"/>
                </a:lnTo>
                <a:lnTo>
                  <a:pt x="1292352" y="271272"/>
                </a:lnTo>
                <a:lnTo>
                  <a:pt x="1292313" y="266743"/>
                </a:lnTo>
                <a:lnTo>
                  <a:pt x="12152" y="278849"/>
                </a:lnTo>
                <a:lnTo>
                  <a:pt x="12191" y="288706"/>
                </a:lnTo>
                <a:lnTo>
                  <a:pt x="1296924" y="275897"/>
                </a:lnTo>
                <a:close/>
              </a:path>
              <a:path w="1302385" h="288925">
                <a:moveTo>
                  <a:pt x="1294638" y="9906"/>
                </a:moveTo>
                <a:lnTo>
                  <a:pt x="1290066" y="5334"/>
                </a:lnTo>
                <a:lnTo>
                  <a:pt x="1290105" y="9948"/>
                </a:lnTo>
                <a:lnTo>
                  <a:pt x="1294638" y="9906"/>
                </a:lnTo>
                <a:close/>
              </a:path>
              <a:path w="1302385" h="288925">
                <a:moveTo>
                  <a:pt x="1290105" y="9948"/>
                </a:moveTo>
                <a:lnTo>
                  <a:pt x="1290066" y="5334"/>
                </a:lnTo>
                <a:lnTo>
                  <a:pt x="1290066" y="9949"/>
                </a:lnTo>
                <a:close/>
              </a:path>
              <a:path w="1302385" h="288925">
                <a:moveTo>
                  <a:pt x="1294638" y="266721"/>
                </a:moveTo>
                <a:lnTo>
                  <a:pt x="1294638" y="9906"/>
                </a:lnTo>
                <a:lnTo>
                  <a:pt x="1290105" y="9948"/>
                </a:lnTo>
                <a:lnTo>
                  <a:pt x="1292313" y="266743"/>
                </a:lnTo>
                <a:lnTo>
                  <a:pt x="1294638" y="266721"/>
                </a:lnTo>
                <a:close/>
              </a:path>
              <a:path w="1302385" h="288925">
                <a:moveTo>
                  <a:pt x="1296924" y="266700"/>
                </a:moveTo>
                <a:lnTo>
                  <a:pt x="1292313" y="266743"/>
                </a:lnTo>
                <a:lnTo>
                  <a:pt x="1292352" y="271272"/>
                </a:lnTo>
                <a:lnTo>
                  <a:pt x="1296924" y="2667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6" name="object 130"/>
          <p:cNvSpPr/>
          <p:nvPr/>
        </p:nvSpPr>
        <p:spPr>
          <a:xfrm>
            <a:off x="3991833" y="3361584"/>
            <a:ext cx="211824" cy="146725"/>
          </a:xfrm>
          <a:custGeom>
            <a:avLst/>
            <a:gdLst/>
            <a:ahLst/>
            <a:cxnLst/>
            <a:rect l="l" t="t" r="r" b="b"/>
            <a:pathLst>
              <a:path w="320675" h="330200">
                <a:moveTo>
                  <a:pt x="320378" y="183698"/>
                </a:moveTo>
                <a:lnTo>
                  <a:pt x="317849" y="140638"/>
                </a:lnTo>
                <a:lnTo>
                  <a:pt x="303953" y="97874"/>
                </a:lnTo>
                <a:lnTo>
                  <a:pt x="280098" y="59912"/>
                </a:lnTo>
                <a:lnTo>
                  <a:pt x="248750" y="30395"/>
                </a:lnTo>
                <a:lnTo>
                  <a:pt x="211941" y="10149"/>
                </a:lnTo>
                <a:lnTo>
                  <a:pt x="171703" y="0"/>
                </a:lnTo>
                <a:lnTo>
                  <a:pt x="130069" y="772"/>
                </a:lnTo>
                <a:lnTo>
                  <a:pt x="89069" y="13292"/>
                </a:lnTo>
                <a:lnTo>
                  <a:pt x="53435" y="36692"/>
                </a:lnTo>
                <a:lnTo>
                  <a:pt x="26246" y="68156"/>
                </a:lnTo>
                <a:lnTo>
                  <a:pt x="8202" y="105589"/>
                </a:lnTo>
                <a:lnTo>
                  <a:pt x="0" y="146896"/>
                </a:lnTo>
                <a:lnTo>
                  <a:pt x="2338" y="189981"/>
                </a:lnTo>
                <a:lnTo>
                  <a:pt x="15917" y="232748"/>
                </a:lnTo>
                <a:lnTo>
                  <a:pt x="40089" y="270654"/>
                </a:lnTo>
                <a:lnTo>
                  <a:pt x="71627" y="300030"/>
                </a:lnTo>
                <a:lnTo>
                  <a:pt x="108500" y="320092"/>
                </a:lnTo>
                <a:lnTo>
                  <a:pt x="148674" y="330058"/>
                </a:lnTo>
                <a:lnTo>
                  <a:pt x="190118" y="329145"/>
                </a:lnTo>
                <a:lnTo>
                  <a:pt x="230801" y="316568"/>
                </a:lnTo>
                <a:lnTo>
                  <a:pt x="266752" y="293489"/>
                </a:lnTo>
                <a:lnTo>
                  <a:pt x="294131" y="262240"/>
                </a:lnTo>
                <a:lnTo>
                  <a:pt x="312240" y="224938"/>
                </a:lnTo>
                <a:lnTo>
                  <a:pt x="320378" y="183698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7" name="object 131"/>
          <p:cNvSpPr/>
          <p:nvPr/>
        </p:nvSpPr>
        <p:spPr>
          <a:xfrm>
            <a:off x="3988340" y="3359426"/>
            <a:ext cx="218535" cy="151522"/>
          </a:xfrm>
          <a:custGeom>
            <a:avLst/>
            <a:gdLst/>
            <a:ahLst/>
            <a:cxnLst/>
            <a:rect l="l" t="t" r="r" b="b"/>
            <a:pathLst>
              <a:path w="330835" h="340995">
                <a:moveTo>
                  <a:pt x="330693" y="188608"/>
                </a:moveTo>
                <a:lnTo>
                  <a:pt x="320414" y="117517"/>
                </a:lnTo>
                <a:lnTo>
                  <a:pt x="283837" y="55679"/>
                </a:lnTo>
                <a:lnTo>
                  <a:pt x="225645" y="13138"/>
                </a:lnTo>
                <a:lnTo>
                  <a:pt x="151874" y="18"/>
                </a:lnTo>
                <a:lnTo>
                  <a:pt x="150182" y="0"/>
                </a:lnTo>
                <a:lnTo>
                  <a:pt x="108075" y="7481"/>
                </a:lnTo>
                <a:lnTo>
                  <a:pt x="70737" y="26531"/>
                </a:lnTo>
                <a:lnTo>
                  <a:pt x="40420" y="54049"/>
                </a:lnTo>
                <a:lnTo>
                  <a:pt x="5626" y="117797"/>
                </a:lnTo>
                <a:lnTo>
                  <a:pt x="0" y="151929"/>
                </a:lnTo>
                <a:lnTo>
                  <a:pt x="1454" y="186168"/>
                </a:lnTo>
                <a:lnTo>
                  <a:pt x="9366" y="219261"/>
                </a:lnTo>
                <a:lnTo>
                  <a:pt x="9366" y="159894"/>
                </a:lnTo>
                <a:lnTo>
                  <a:pt x="13580" y="125674"/>
                </a:lnTo>
                <a:lnTo>
                  <a:pt x="46325" y="61619"/>
                </a:lnTo>
                <a:lnTo>
                  <a:pt x="76071" y="34151"/>
                </a:lnTo>
                <a:lnTo>
                  <a:pt x="111123" y="16625"/>
                </a:lnTo>
                <a:lnTo>
                  <a:pt x="151874" y="9336"/>
                </a:lnTo>
                <a:lnTo>
                  <a:pt x="189593" y="11772"/>
                </a:lnTo>
                <a:lnTo>
                  <a:pt x="253657" y="40693"/>
                </a:lnTo>
                <a:lnTo>
                  <a:pt x="298756" y="93130"/>
                </a:lnTo>
                <a:lnTo>
                  <a:pt x="320330" y="158831"/>
                </a:lnTo>
                <a:lnTo>
                  <a:pt x="320870" y="193450"/>
                </a:lnTo>
                <a:lnTo>
                  <a:pt x="320870" y="233107"/>
                </a:lnTo>
                <a:lnTo>
                  <a:pt x="324506" y="224486"/>
                </a:lnTo>
                <a:lnTo>
                  <a:pt x="330693" y="188608"/>
                </a:lnTo>
                <a:close/>
              </a:path>
              <a:path w="330835" h="340995">
                <a:moveTo>
                  <a:pt x="320870" y="233107"/>
                </a:moveTo>
                <a:lnTo>
                  <a:pt x="320870" y="193450"/>
                </a:lnTo>
                <a:lnTo>
                  <a:pt x="313820" y="227539"/>
                </a:lnTo>
                <a:lnTo>
                  <a:pt x="298609" y="259815"/>
                </a:lnTo>
                <a:lnTo>
                  <a:pt x="241425" y="313805"/>
                </a:lnTo>
                <a:lnTo>
                  <a:pt x="187344" y="330085"/>
                </a:lnTo>
                <a:lnTo>
                  <a:pt x="150182" y="329924"/>
                </a:lnTo>
                <a:lnTo>
                  <a:pt x="85606" y="305589"/>
                </a:lnTo>
                <a:lnTo>
                  <a:pt x="38077" y="257125"/>
                </a:lnTo>
                <a:lnTo>
                  <a:pt x="12449" y="193998"/>
                </a:lnTo>
                <a:lnTo>
                  <a:pt x="9366" y="159894"/>
                </a:lnTo>
                <a:lnTo>
                  <a:pt x="9366" y="219261"/>
                </a:lnTo>
                <a:lnTo>
                  <a:pt x="42556" y="279032"/>
                </a:lnTo>
                <a:lnTo>
                  <a:pt x="94829" y="322239"/>
                </a:lnTo>
                <a:lnTo>
                  <a:pt x="161634" y="340692"/>
                </a:lnTo>
                <a:lnTo>
                  <a:pt x="199051" y="338013"/>
                </a:lnTo>
                <a:lnTo>
                  <a:pt x="238377" y="325997"/>
                </a:lnTo>
                <a:lnTo>
                  <a:pt x="253657" y="318343"/>
                </a:lnTo>
                <a:lnTo>
                  <a:pt x="286554" y="290625"/>
                </a:lnTo>
                <a:lnTo>
                  <a:pt x="309988" y="258910"/>
                </a:lnTo>
                <a:lnTo>
                  <a:pt x="320870" y="2331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8" name="object 132"/>
          <p:cNvSpPr/>
          <p:nvPr/>
        </p:nvSpPr>
        <p:spPr>
          <a:xfrm>
            <a:off x="4069434" y="3422261"/>
            <a:ext cx="51681" cy="33939"/>
          </a:xfrm>
          <a:prstGeom prst="rect">
            <a:avLst/>
          </a:prstGeom>
          <a:blipFill>
            <a:blip r:embed="rId6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9" name="object 133"/>
          <p:cNvSpPr/>
          <p:nvPr/>
        </p:nvSpPr>
        <p:spPr>
          <a:xfrm>
            <a:off x="2915126" y="2997743"/>
            <a:ext cx="3182138" cy="29458"/>
          </a:xfrm>
          <a:prstGeom prst="rect">
            <a:avLst/>
          </a:prstGeom>
          <a:blipFill>
            <a:blip r:embed="rId6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0" name="object 134"/>
          <p:cNvSpPr/>
          <p:nvPr/>
        </p:nvSpPr>
        <p:spPr>
          <a:xfrm>
            <a:off x="2912106" y="2995711"/>
            <a:ext cx="3188262" cy="33577"/>
          </a:xfrm>
          <a:custGeom>
            <a:avLst/>
            <a:gdLst/>
            <a:ahLst/>
            <a:cxnLst/>
            <a:rect l="l" t="t" r="r" b="b"/>
            <a:pathLst>
              <a:path w="4826635" h="75564">
                <a:moveTo>
                  <a:pt x="4826508" y="75437"/>
                </a:moveTo>
                <a:lnTo>
                  <a:pt x="4826508" y="0"/>
                </a:lnTo>
                <a:lnTo>
                  <a:pt x="0" y="0"/>
                </a:lnTo>
                <a:lnTo>
                  <a:pt x="0" y="75437"/>
                </a:lnTo>
                <a:lnTo>
                  <a:pt x="4572" y="75437"/>
                </a:lnTo>
                <a:lnTo>
                  <a:pt x="4571" y="9143"/>
                </a:lnTo>
                <a:lnTo>
                  <a:pt x="9906" y="4572"/>
                </a:lnTo>
                <a:lnTo>
                  <a:pt x="9905" y="9143"/>
                </a:lnTo>
                <a:lnTo>
                  <a:pt x="4816602" y="9143"/>
                </a:lnTo>
                <a:lnTo>
                  <a:pt x="4816602" y="4572"/>
                </a:lnTo>
                <a:lnTo>
                  <a:pt x="4821936" y="9143"/>
                </a:lnTo>
                <a:lnTo>
                  <a:pt x="4821936" y="75437"/>
                </a:lnTo>
                <a:lnTo>
                  <a:pt x="4826508" y="75437"/>
                </a:lnTo>
                <a:close/>
              </a:path>
              <a:path w="4826635" h="75564">
                <a:moveTo>
                  <a:pt x="9906" y="9143"/>
                </a:moveTo>
                <a:lnTo>
                  <a:pt x="9906" y="4572"/>
                </a:lnTo>
                <a:lnTo>
                  <a:pt x="4571" y="9143"/>
                </a:lnTo>
                <a:lnTo>
                  <a:pt x="9906" y="9143"/>
                </a:lnTo>
                <a:close/>
              </a:path>
              <a:path w="4826635" h="75564">
                <a:moveTo>
                  <a:pt x="9906" y="65531"/>
                </a:moveTo>
                <a:lnTo>
                  <a:pt x="9906" y="9143"/>
                </a:lnTo>
                <a:lnTo>
                  <a:pt x="4571" y="9143"/>
                </a:lnTo>
                <a:lnTo>
                  <a:pt x="4571" y="65531"/>
                </a:lnTo>
                <a:lnTo>
                  <a:pt x="9906" y="65531"/>
                </a:lnTo>
                <a:close/>
              </a:path>
              <a:path w="4826635" h="75564">
                <a:moveTo>
                  <a:pt x="4821936" y="65531"/>
                </a:moveTo>
                <a:lnTo>
                  <a:pt x="4571" y="65531"/>
                </a:lnTo>
                <a:lnTo>
                  <a:pt x="9906" y="70865"/>
                </a:lnTo>
                <a:lnTo>
                  <a:pt x="9906" y="75437"/>
                </a:lnTo>
                <a:lnTo>
                  <a:pt x="4816602" y="75437"/>
                </a:lnTo>
                <a:lnTo>
                  <a:pt x="4816602" y="70865"/>
                </a:lnTo>
                <a:lnTo>
                  <a:pt x="4821936" y="65531"/>
                </a:lnTo>
                <a:close/>
              </a:path>
              <a:path w="4826635" h="75564">
                <a:moveTo>
                  <a:pt x="9906" y="75437"/>
                </a:moveTo>
                <a:lnTo>
                  <a:pt x="9906" y="70865"/>
                </a:lnTo>
                <a:lnTo>
                  <a:pt x="4571" y="65531"/>
                </a:lnTo>
                <a:lnTo>
                  <a:pt x="4572" y="75437"/>
                </a:lnTo>
                <a:lnTo>
                  <a:pt x="9906" y="75437"/>
                </a:lnTo>
                <a:close/>
              </a:path>
              <a:path w="4826635" h="75564">
                <a:moveTo>
                  <a:pt x="4821936" y="9143"/>
                </a:moveTo>
                <a:lnTo>
                  <a:pt x="4816602" y="4572"/>
                </a:lnTo>
                <a:lnTo>
                  <a:pt x="4816602" y="9143"/>
                </a:lnTo>
                <a:lnTo>
                  <a:pt x="4821936" y="9143"/>
                </a:lnTo>
                <a:close/>
              </a:path>
              <a:path w="4826635" h="75564">
                <a:moveTo>
                  <a:pt x="4821936" y="65531"/>
                </a:moveTo>
                <a:lnTo>
                  <a:pt x="4821936" y="9143"/>
                </a:lnTo>
                <a:lnTo>
                  <a:pt x="4816602" y="9143"/>
                </a:lnTo>
                <a:lnTo>
                  <a:pt x="4816602" y="65531"/>
                </a:lnTo>
                <a:lnTo>
                  <a:pt x="4821936" y="65531"/>
                </a:lnTo>
                <a:close/>
              </a:path>
              <a:path w="4826635" h="75564">
                <a:moveTo>
                  <a:pt x="4821936" y="75437"/>
                </a:moveTo>
                <a:lnTo>
                  <a:pt x="4821936" y="65531"/>
                </a:lnTo>
                <a:lnTo>
                  <a:pt x="4816602" y="70865"/>
                </a:lnTo>
                <a:lnTo>
                  <a:pt x="4816602" y="75437"/>
                </a:lnTo>
                <a:lnTo>
                  <a:pt x="4821936" y="754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1" name="object 135"/>
          <p:cNvSpPr/>
          <p:nvPr/>
        </p:nvSpPr>
        <p:spPr>
          <a:xfrm>
            <a:off x="2915126" y="3889944"/>
            <a:ext cx="3182138" cy="29119"/>
          </a:xfrm>
          <a:prstGeom prst="rect">
            <a:avLst/>
          </a:prstGeom>
          <a:blipFill>
            <a:blip r:embed="rId6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2" name="object 136"/>
          <p:cNvSpPr/>
          <p:nvPr/>
        </p:nvSpPr>
        <p:spPr>
          <a:xfrm>
            <a:off x="2912106" y="3887573"/>
            <a:ext cx="3188262" cy="33860"/>
          </a:xfrm>
          <a:custGeom>
            <a:avLst/>
            <a:gdLst/>
            <a:ahLst/>
            <a:cxnLst/>
            <a:rect l="l" t="t" r="r" b="b"/>
            <a:pathLst>
              <a:path w="4826635" h="76200">
                <a:moveTo>
                  <a:pt x="4826508" y="76200"/>
                </a:moveTo>
                <a:lnTo>
                  <a:pt x="4826508" y="0"/>
                </a:lnTo>
                <a:lnTo>
                  <a:pt x="0" y="0"/>
                </a:lnTo>
                <a:lnTo>
                  <a:pt x="0" y="76200"/>
                </a:lnTo>
                <a:lnTo>
                  <a:pt x="4572" y="76200"/>
                </a:lnTo>
                <a:lnTo>
                  <a:pt x="4571" y="9906"/>
                </a:lnTo>
                <a:lnTo>
                  <a:pt x="9906" y="5334"/>
                </a:lnTo>
                <a:lnTo>
                  <a:pt x="9905" y="9906"/>
                </a:lnTo>
                <a:lnTo>
                  <a:pt x="4816602" y="9906"/>
                </a:lnTo>
                <a:lnTo>
                  <a:pt x="4816602" y="5334"/>
                </a:lnTo>
                <a:lnTo>
                  <a:pt x="4821935" y="9906"/>
                </a:lnTo>
                <a:lnTo>
                  <a:pt x="4821935" y="76200"/>
                </a:lnTo>
                <a:lnTo>
                  <a:pt x="4826508" y="76200"/>
                </a:lnTo>
                <a:close/>
              </a:path>
              <a:path w="4826635" h="76200">
                <a:moveTo>
                  <a:pt x="9906" y="9906"/>
                </a:moveTo>
                <a:lnTo>
                  <a:pt x="9906" y="5334"/>
                </a:lnTo>
                <a:lnTo>
                  <a:pt x="4571" y="9906"/>
                </a:lnTo>
                <a:lnTo>
                  <a:pt x="9906" y="9906"/>
                </a:lnTo>
                <a:close/>
              </a:path>
              <a:path w="4826635" h="76200">
                <a:moveTo>
                  <a:pt x="9906" y="66294"/>
                </a:moveTo>
                <a:lnTo>
                  <a:pt x="9906" y="9906"/>
                </a:lnTo>
                <a:lnTo>
                  <a:pt x="4571" y="9906"/>
                </a:lnTo>
                <a:lnTo>
                  <a:pt x="4571" y="66294"/>
                </a:lnTo>
                <a:lnTo>
                  <a:pt x="9906" y="66294"/>
                </a:lnTo>
                <a:close/>
              </a:path>
              <a:path w="4826635" h="76200">
                <a:moveTo>
                  <a:pt x="4821935" y="66294"/>
                </a:moveTo>
                <a:lnTo>
                  <a:pt x="4571" y="66294"/>
                </a:lnTo>
                <a:lnTo>
                  <a:pt x="9906" y="70866"/>
                </a:lnTo>
                <a:lnTo>
                  <a:pt x="9906" y="76200"/>
                </a:lnTo>
                <a:lnTo>
                  <a:pt x="4816602" y="76200"/>
                </a:lnTo>
                <a:lnTo>
                  <a:pt x="4816602" y="70866"/>
                </a:lnTo>
                <a:lnTo>
                  <a:pt x="4821935" y="66294"/>
                </a:lnTo>
                <a:close/>
              </a:path>
              <a:path w="4826635" h="76200">
                <a:moveTo>
                  <a:pt x="9906" y="76200"/>
                </a:moveTo>
                <a:lnTo>
                  <a:pt x="9906" y="70866"/>
                </a:lnTo>
                <a:lnTo>
                  <a:pt x="4571" y="66294"/>
                </a:lnTo>
                <a:lnTo>
                  <a:pt x="4572" y="76200"/>
                </a:lnTo>
                <a:lnTo>
                  <a:pt x="9906" y="76200"/>
                </a:lnTo>
                <a:close/>
              </a:path>
              <a:path w="4826635" h="76200">
                <a:moveTo>
                  <a:pt x="4821935" y="9906"/>
                </a:moveTo>
                <a:lnTo>
                  <a:pt x="4816602" y="5334"/>
                </a:lnTo>
                <a:lnTo>
                  <a:pt x="4816602" y="9906"/>
                </a:lnTo>
                <a:lnTo>
                  <a:pt x="4821935" y="9906"/>
                </a:lnTo>
                <a:close/>
              </a:path>
              <a:path w="4826635" h="76200">
                <a:moveTo>
                  <a:pt x="4821935" y="66294"/>
                </a:moveTo>
                <a:lnTo>
                  <a:pt x="4821935" y="9906"/>
                </a:lnTo>
                <a:lnTo>
                  <a:pt x="4816602" y="9906"/>
                </a:lnTo>
                <a:lnTo>
                  <a:pt x="4816602" y="66294"/>
                </a:lnTo>
                <a:lnTo>
                  <a:pt x="4821935" y="66294"/>
                </a:lnTo>
                <a:close/>
              </a:path>
              <a:path w="4826635" h="76200">
                <a:moveTo>
                  <a:pt x="4821935" y="76200"/>
                </a:moveTo>
                <a:lnTo>
                  <a:pt x="4821935" y="66294"/>
                </a:lnTo>
                <a:lnTo>
                  <a:pt x="4816602" y="70866"/>
                </a:lnTo>
                <a:lnTo>
                  <a:pt x="4816602" y="76200"/>
                </a:lnTo>
                <a:lnTo>
                  <a:pt x="4821935" y="762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3" name="object 137"/>
          <p:cNvSpPr/>
          <p:nvPr/>
        </p:nvSpPr>
        <p:spPr>
          <a:xfrm>
            <a:off x="3154213" y="3406767"/>
            <a:ext cx="49076" cy="21727"/>
          </a:xfrm>
          <a:custGeom>
            <a:avLst/>
            <a:gdLst/>
            <a:ahLst/>
            <a:cxnLst/>
            <a:rect l="l" t="t" r="r" b="b"/>
            <a:pathLst>
              <a:path w="74294" h="48895">
                <a:moveTo>
                  <a:pt x="73913" y="8381"/>
                </a:moveTo>
                <a:lnTo>
                  <a:pt x="69341" y="0"/>
                </a:lnTo>
                <a:lnTo>
                  <a:pt x="0" y="40385"/>
                </a:lnTo>
                <a:lnTo>
                  <a:pt x="4571" y="48767"/>
                </a:lnTo>
                <a:lnTo>
                  <a:pt x="73913" y="83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4" name="object 138"/>
          <p:cNvSpPr/>
          <p:nvPr/>
        </p:nvSpPr>
        <p:spPr>
          <a:xfrm>
            <a:off x="3123887" y="3422342"/>
            <a:ext cx="99830" cy="119637"/>
          </a:xfrm>
          <a:custGeom>
            <a:avLst/>
            <a:gdLst/>
            <a:ahLst/>
            <a:cxnLst/>
            <a:rect l="l" t="t" r="r" b="b"/>
            <a:pathLst>
              <a:path w="151130" h="269239">
                <a:moveTo>
                  <a:pt x="151066" y="157733"/>
                </a:moveTo>
                <a:lnTo>
                  <a:pt x="149423" y="112311"/>
                </a:lnTo>
                <a:lnTo>
                  <a:pt x="144780" y="84105"/>
                </a:lnTo>
                <a:lnTo>
                  <a:pt x="132421" y="60328"/>
                </a:lnTo>
                <a:lnTo>
                  <a:pt x="107632" y="28193"/>
                </a:lnTo>
                <a:lnTo>
                  <a:pt x="100417" y="17037"/>
                </a:lnTo>
                <a:lnTo>
                  <a:pt x="85344" y="8667"/>
                </a:lnTo>
                <a:lnTo>
                  <a:pt x="67127" y="3012"/>
                </a:lnTo>
                <a:lnTo>
                  <a:pt x="50482" y="0"/>
                </a:lnTo>
                <a:lnTo>
                  <a:pt x="40350" y="2071"/>
                </a:lnTo>
                <a:lnTo>
                  <a:pt x="31146" y="4571"/>
                </a:lnTo>
                <a:lnTo>
                  <a:pt x="22086" y="7072"/>
                </a:lnTo>
                <a:lnTo>
                  <a:pt x="12382" y="9143"/>
                </a:lnTo>
                <a:lnTo>
                  <a:pt x="3738" y="14567"/>
                </a:lnTo>
                <a:lnTo>
                  <a:pt x="0" y="16668"/>
                </a:lnTo>
                <a:lnTo>
                  <a:pt x="1023" y="16966"/>
                </a:lnTo>
                <a:lnTo>
                  <a:pt x="7048" y="16763"/>
                </a:lnTo>
                <a:lnTo>
                  <a:pt x="7048" y="267298"/>
                </a:lnTo>
                <a:lnTo>
                  <a:pt x="19597" y="258032"/>
                </a:lnTo>
                <a:lnTo>
                  <a:pt x="35433" y="247649"/>
                </a:lnTo>
                <a:lnTo>
                  <a:pt x="52125" y="238982"/>
                </a:lnTo>
                <a:lnTo>
                  <a:pt x="69532" y="233171"/>
                </a:lnTo>
                <a:lnTo>
                  <a:pt x="88165" y="212597"/>
                </a:lnTo>
                <a:lnTo>
                  <a:pt x="110013" y="196595"/>
                </a:lnTo>
                <a:lnTo>
                  <a:pt x="132004" y="180022"/>
                </a:lnTo>
                <a:lnTo>
                  <a:pt x="151066" y="157733"/>
                </a:lnTo>
                <a:close/>
              </a:path>
              <a:path w="151130" h="269239">
                <a:moveTo>
                  <a:pt x="7048" y="267298"/>
                </a:moveTo>
                <a:lnTo>
                  <a:pt x="7048" y="16763"/>
                </a:lnTo>
                <a:lnTo>
                  <a:pt x="3738" y="67281"/>
                </a:lnTo>
                <a:lnTo>
                  <a:pt x="1964" y="117506"/>
                </a:lnTo>
                <a:lnTo>
                  <a:pt x="1616" y="167694"/>
                </a:lnTo>
                <a:lnTo>
                  <a:pt x="2586" y="218102"/>
                </a:lnTo>
                <a:lnTo>
                  <a:pt x="4762" y="268985"/>
                </a:lnTo>
                <a:lnTo>
                  <a:pt x="7048" y="267298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5" name="object 139"/>
          <p:cNvSpPr/>
          <p:nvPr/>
        </p:nvSpPr>
        <p:spPr>
          <a:xfrm>
            <a:off x="3137605" y="3496157"/>
            <a:ext cx="94376" cy="50507"/>
          </a:xfrm>
          <a:custGeom>
            <a:avLst/>
            <a:gdLst/>
            <a:ahLst/>
            <a:cxnLst/>
            <a:rect l="l" t="t" r="r" b="b"/>
            <a:pathLst>
              <a:path w="142875" h="113664">
                <a:moveTo>
                  <a:pt x="142494" y="7619"/>
                </a:moveTo>
                <a:lnTo>
                  <a:pt x="136398" y="0"/>
                </a:lnTo>
                <a:lnTo>
                  <a:pt x="0" y="105917"/>
                </a:lnTo>
                <a:lnTo>
                  <a:pt x="6096" y="113537"/>
                </a:lnTo>
                <a:lnTo>
                  <a:pt x="142494" y="76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6" name="object 140"/>
          <p:cNvSpPr/>
          <p:nvPr/>
        </p:nvSpPr>
        <p:spPr>
          <a:xfrm>
            <a:off x="3005224" y="2938150"/>
            <a:ext cx="143956" cy="1044909"/>
          </a:xfrm>
          <a:prstGeom prst="rect">
            <a:avLst/>
          </a:prstGeom>
          <a:blipFill>
            <a:blip r:embed="rId6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7" name="object 141"/>
          <p:cNvSpPr/>
          <p:nvPr/>
        </p:nvSpPr>
        <p:spPr>
          <a:xfrm>
            <a:off x="3002204" y="2935780"/>
            <a:ext cx="150164" cy="1049649"/>
          </a:xfrm>
          <a:custGeom>
            <a:avLst/>
            <a:gdLst/>
            <a:ahLst/>
            <a:cxnLst/>
            <a:rect l="l" t="t" r="r" b="b"/>
            <a:pathLst>
              <a:path w="227330" h="2362200">
                <a:moveTo>
                  <a:pt x="227076" y="2362200"/>
                </a:moveTo>
                <a:lnTo>
                  <a:pt x="227075" y="0"/>
                </a:lnTo>
                <a:lnTo>
                  <a:pt x="0" y="0"/>
                </a:lnTo>
                <a:lnTo>
                  <a:pt x="0" y="2362200"/>
                </a:lnTo>
                <a:lnTo>
                  <a:pt x="4572" y="2362200"/>
                </a:lnTo>
                <a:lnTo>
                  <a:pt x="4571" y="9906"/>
                </a:lnTo>
                <a:lnTo>
                  <a:pt x="9906" y="5333"/>
                </a:lnTo>
                <a:lnTo>
                  <a:pt x="9906" y="9906"/>
                </a:lnTo>
                <a:lnTo>
                  <a:pt x="217931" y="9906"/>
                </a:lnTo>
                <a:lnTo>
                  <a:pt x="217931" y="5333"/>
                </a:lnTo>
                <a:lnTo>
                  <a:pt x="222503" y="9906"/>
                </a:lnTo>
                <a:lnTo>
                  <a:pt x="222504" y="2362200"/>
                </a:lnTo>
                <a:lnTo>
                  <a:pt x="227076" y="2362200"/>
                </a:lnTo>
                <a:close/>
              </a:path>
              <a:path w="227330" h="2362200">
                <a:moveTo>
                  <a:pt x="9906" y="9906"/>
                </a:moveTo>
                <a:lnTo>
                  <a:pt x="9906" y="5333"/>
                </a:lnTo>
                <a:lnTo>
                  <a:pt x="4571" y="9906"/>
                </a:lnTo>
                <a:lnTo>
                  <a:pt x="9906" y="9906"/>
                </a:lnTo>
                <a:close/>
              </a:path>
              <a:path w="227330" h="2362200">
                <a:moveTo>
                  <a:pt x="9906" y="2352293"/>
                </a:moveTo>
                <a:lnTo>
                  <a:pt x="9906" y="9906"/>
                </a:lnTo>
                <a:lnTo>
                  <a:pt x="4571" y="9906"/>
                </a:lnTo>
                <a:lnTo>
                  <a:pt x="4572" y="2352293"/>
                </a:lnTo>
                <a:lnTo>
                  <a:pt x="9906" y="2352293"/>
                </a:lnTo>
                <a:close/>
              </a:path>
              <a:path w="227330" h="2362200">
                <a:moveTo>
                  <a:pt x="222504" y="2352293"/>
                </a:moveTo>
                <a:lnTo>
                  <a:pt x="4572" y="2352293"/>
                </a:lnTo>
                <a:lnTo>
                  <a:pt x="9906" y="2356866"/>
                </a:lnTo>
                <a:lnTo>
                  <a:pt x="9906" y="2362200"/>
                </a:lnTo>
                <a:lnTo>
                  <a:pt x="217932" y="2362200"/>
                </a:lnTo>
                <a:lnTo>
                  <a:pt x="217932" y="2356866"/>
                </a:lnTo>
                <a:lnTo>
                  <a:pt x="222504" y="2352293"/>
                </a:lnTo>
                <a:close/>
              </a:path>
              <a:path w="227330" h="2362200">
                <a:moveTo>
                  <a:pt x="9906" y="2362200"/>
                </a:moveTo>
                <a:lnTo>
                  <a:pt x="9906" y="2356866"/>
                </a:lnTo>
                <a:lnTo>
                  <a:pt x="4572" y="2352293"/>
                </a:lnTo>
                <a:lnTo>
                  <a:pt x="4572" y="2362200"/>
                </a:lnTo>
                <a:lnTo>
                  <a:pt x="9906" y="2362200"/>
                </a:lnTo>
                <a:close/>
              </a:path>
              <a:path w="227330" h="2362200">
                <a:moveTo>
                  <a:pt x="222503" y="9906"/>
                </a:moveTo>
                <a:lnTo>
                  <a:pt x="217931" y="5333"/>
                </a:lnTo>
                <a:lnTo>
                  <a:pt x="217931" y="9906"/>
                </a:lnTo>
                <a:lnTo>
                  <a:pt x="222503" y="9906"/>
                </a:lnTo>
                <a:close/>
              </a:path>
              <a:path w="227330" h="2362200">
                <a:moveTo>
                  <a:pt x="222504" y="2352293"/>
                </a:moveTo>
                <a:lnTo>
                  <a:pt x="222503" y="9906"/>
                </a:lnTo>
                <a:lnTo>
                  <a:pt x="217931" y="9906"/>
                </a:lnTo>
                <a:lnTo>
                  <a:pt x="217932" y="2352293"/>
                </a:lnTo>
                <a:lnTo>
                  <a:pt x="222504" y="2352293"/>
                </a:lnTo>
                <a:close/>
              </a:path>
              <a:path w="227330" h="2362200">
                <a:moveTo>
                  <a:pt x="222504" y="2362200"/>
                </a:moveTo>
                <a:lnTo>
                  <a:pt x="222504" y="2352293"/>
                </a:lnTo>
                <a:lnTo>
                  <a:pt x="217932" y="2356866"/>
                </a:lnTo>
                <a:lnTo>
                  <a:pt x="217932" y="2362200"/>
                </a:lnTo>
                <a:lnTo>
                  <a:pt x="222504" y="23622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8" name="object 142"/>
          <p:cNvSpPr/>
          <p:nvPr/>
        </p:nvSpPr>
        <p:spPr>
          <a:xfrm>
            <a:off x="3185421" y="3373103"/>
            <a:ext cx="158133" cy="121048"/>
          </a:xfrm>
          <a:custGeom>
            <a:avLst/>
            <a:gdLst/>
            <a:ahLst/>
            <a:cxnLst/>
            <a:rect l="l" t="t" r="r" b="b"/>
            <a:pathLst>
              <a:path w="239394" h="272414">
                <a:moveTo>
                  <a:pt x="239160" y="120455"/>
                </a:moveTo>
                <a:lnTo>
                  <a:pt x="231814" y="82879"/>
                </a:lnTo>
                <a:lnTo>
                  <a:pt x="213193" y="45303"/>
                </a:lnTo>
                <a:lnTo>
                  <a:pt x="167068" y="12037"/>
                </a:lnTo>
                <a:lnTo>
                  <a:pt x="129539" y="1845"/>
                </a:lnTo>
                <a:lnTo>
                  <a:pt x="113097" y="0"/>
                </a:lnTo>
                <a:lnTo>
                  <a:pt x="96297" y="797"/>
                </a:lnTo>
                <a:lnTo>
                  <a:pt x="50625" y="11084"/>
                </a:lnTo>
                <a:lnTo>
                  <a:pt x="16763" y="30801"/>
                </a:lnTo>
                <a:lnTo>
                  <a:pt x="2619" y="64877"/>
                </a:lnTo>
                <a:lnTo>
                  <a:pt x="0" y="72711"/>
                </a:lnTo>
                <a:lnTo>
                  <a:pt x="62484" y="266259"/>
                </a:lnTo>
                <a:lnTo>
                  <a:pt x="73961" y="267723"/>
                </a:lnTo>
                <a:lnTo>
                  <a:pt x="89154" y="270545"/>
                </a:lnTo>
                <a:lnTo>
                  <a:pt x="106632" y="272367"/>
                </a:lnTo>
                <a:lnTo>
                  <a:pt x="124968" y="270831"/>
                </a:lnTo>
                <a:lnTo>
                  <a:pt x="144482" y="264997"/>
                </a:lnTo>
                <a:lnTo>
                  <a:pt x="185511" y="244471"/>
                </a:lnTo>
                <a:lnTo>
                  <a:pt x="221361" y="209014"/>
                </a:lnTo>
                <a:lnTo>
                  <a:pt x="235803" y="161460"/>
                </a:lnTo>
                <a:lnTo>
                  <a:pt x="238410" y="141100"/>
                </a:lnTo>
                <a:lnTo>
                  <a:pt x="239160" y="120455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9" name="object 143"/>
          <p:cNvSpPr/>
          <p:nvPr/>
        </p:nvSpPr>
        <p:spPr>
          <a:xfrm>
            <a:off x="3182401" y="3371417"/>
            <a:ext cx="164425" cy="124998"/>
          </a:xfrm>
          <a:custGeom>
            <a:avLst/>
            <a:gdLst/>
            <a:ahLst/>
            <a:cxnLst/>
            <a:rect l="l" t="t" r="r" b="b"/>
            <a:pathLst>
              <a:path w="248919" h="281304">
                <a:moveTo>
                  <a:pt x="248411" y="134419"/>
                </a:moveTo>
                <a:lnTo>
                  <a:pt x="248411" y="123751"/>
                </a:lnTo>
                <a:lnTo>
                  <a:pt x="247650" y="113845"/>
                </a:lnTo>
                <a:lnTo>
                  <a:pt x="236414" y="73763"/>
                </a:lnTo>
                <a:lnTo>
                  <a:pt x="201431" y="24770"/>
                </a:lnTo>
                <a:lnTo>
                  <a:pt x="163068" y="7927"/>
                </a:lnTo>
                <a:lnTo>
                  <a:pt x="123444" y="0"/>
                </a:lnTo>
                <a:lnTo>
                  <a:pt x="92321" y="1088"/>
                </a:lnTo>
                <a:lnTo>
                  <a:pt x="33527" y="18595"/>
                </a:lnTo>
                <a:lnTo>
                  <a:pt x="18287" y="30787"/>
                </a:lnTo>
                <a:lnTo>
                  <a:pt x="18287" y="31549"/>
                </a:lnTo>
                <a:lnTo>
                  <a:pt x="17525" y="31549"/>
                </a:lnTo>
                <a:lnTo>
                  <a:pt x="761" y="74221"/>
                </a:lnTo>
                <a:lnTo>
                  <a:pt x="0" y="75745"/>
                </a:lnTo>
                <a:lnTo>
                  <a:pt x="9144" y="78031"/>
                </a:lnTo>
                <a:lnTo>
                  <a:pt x="10668" y="74983"/>
                </a:lnTo>
                <a:lnTo>
                  <a:pt x="11430" y="72697"/>
                </a:lnTo>
                <a:lnTo>
                  <a:pt x="11430" y="70411"/>
                </a:lnTo>
                <a:lnTo>
                  <a:pt x="12954" y="64315"/>
                </a:lnTo>
                <a:lnTo>
                  <a:pt x="15240" y="58981"/>
                </a:lnTo>
                <a:lnTo>
                  <a:pt x="19811" y="46789"/>
                </a:lnTo>
                <a:lnTo>
                  <a:pt x="22859" y="41455"/>
                </a:lnTo>
                <a:lnTo>
                  <a:pt x="25145" y="38026"/>
                </a:lnTo>
                <a:lnTo>
                  <a:pt x="25145" y="37645"/>
                </a:lnTo>
                <a:lnTo>
                  <a:pt x="28956" y="33073"/>
                </a:lnTo>
                <a:lnTo>
                  <a:pt x="38099" y="26977"/>
                </a:lnTo>
                <a:lnTo>
                  <a:pt x="68659" y="15692"/>
                </a:lnTo>
                <a:lnTo>
                  <a:pt x="98564" y="9832"/>
                </a:lnTo>
                <a:lnTo>
                  <a:pt x="128907" y="10067"/>
                </a:lnTo>
                <a:lnTo>
                  <a:pt x="170688" y="20119"/>
                </a:lnTo>
                <a:lnTo>
                  <a:pt x="217908" y="57852"/>
                </a:lnTo>
                <a:lnTo>
                  <a:pt x="236982" y="106225"/>
                </a:lnTo>
                <a:lnTo>
                  <a:pt x="239268" y="124513"/>
                </a:lnTo>
                <a:lnTo>
                  <a:pt x="239268" y="190631"/>
                </a:lnTo>
                <a:lnTo>
                  <a:pt x="243653" y="174481"/>
                </a:lnTo>
                <a:lnTo>
                  <a:pt x="247650" y="145087"/>
                </a:lnTo>
                <a:lnTo>
                  <a:pt x="248411" y="134419"/>
                </a:lnTo>
                <a:close/>
              </a:path>
              <a:path w="248919" h="281304">
                <a:moveTo>
                  <a:pt x="25908" y="36883"/>
                </a:moveTo>
                <a:lnTo>
                  <a:pt x="25145" y="37645"/>
                </a:lnTo>
                <a:lnTo>
                  <a:pt x="25145" y="38026"/>
                </a:lnTo>
                <a:lnTo>
                  <a:pt x="25908" y="36883"/>
                </a:lnTo>
                <a:close/>
              </a:path>
              <a:path w="248919" h="281304">
                <a:moveTo>
                  <a:pt x="239268" y="190631"/>
                </a:moveTo>
                <a:lnTo>
                  <a:pt x="239268" y="124513"/>
                </a:lnTo>
                <a:lnTo>
                  <a:pt x="238506" y="134419"/>
                </a:lnTo>
                <a:lnTo>
                  <a:pt x="238506" y="144325"/>
                </a:lnTo>
                <a:lnTo>
                  <a:pt x="233920" y="173463"/>
                </a:lnTo>
                <a:lnTo>
                  <a:pt x="226928" y="199198"/>
                </a:lnTo>
                <a:lnTo>
                  <a:pt x="214104" y="221881"/>
                </a:lnTo>
                <a:lnTo>
                  <a:pt x="192024" y="241861"/>
                </a:lnTo>
                <a:lnTo>
                  <a:pt x="187452" y="244147"/>
                </a:lnTo>
                <a:lnTo>
                  <a:pt x="178308" y="250243"/>
                </a:lnTo>
                <a:lnTo>
                  <a:pt x="151507" y="262960"/>
                </a:lnTo>
                <a:lnTo>
                  <a:pt x="128687" y="270050"/>
                </a:lnTo>
                <a:lnTo>
                  <a:pt x="105150" y="271236"/>
                </a:lnTo>
                <a:lnTo>
                  <a:pt x="76200" y="266245"/>
                </a:lnTo>
                <a:lnTo>
                  <a:pt x="73152" y="266245"/>
                </a:lnTo>
                <a:lnTo>
                  <a:pt x="70104" y="265483"/>
                </a:lnTo>
                <a:lnTo>
                  <a:pt x="67056" y="265483"/>
                </a:lnTo>
                <a:lnTo>
                  <a:pt x="67056" y="275389"/>
                </a:lnTo>
                <a:lnTo>
                  <a:pt x="71628" y="275389"/>
                </a:lnTo>
                <a:lnTo>
                  <a:pt x="74676" y="276151"/>
                </a:lnTo>
                <a:lnTo>
                  <a:pt x="77724" y="276151"/>
                </a:lnTo>
                <a:lnTo>
                  <a:pt x="89514" y="278594"/>
                </a:lnTo>
                <a:lnTo>
                  <a:pt x="101555" y="280046"/>
                </a:lnTo>
                <a:lnTo>
                  <a:pt x="113682" y="280694"/>
                </a:lnTo>
                <a:lnTo>
                  <a:pt x="125730" y="280723"/>
                </a:lnTo>
                <a:lnTo>
                  <a:pt x="130302" y="279961"/>
                </a:lnTo>
                <a:lnTo>
                  <a:pt x="134874" y="278437"/>
                </a:lnTo>
                <a:lnTo>
                  <a:pt x="147754" y="274387"/>
                </a:lnTo>
                <a:lnTo>
                  <a:pt x="182880" y="258625"/>
                </a:lnTo>
                <a:lnTo>
                  <a:pt x="223200" y="225711"/>
                </a:lnTo>
                <a:lnTo>
                  <a:pt x="236305" y="201541"/>
                </a:lnTo>
                <a:lnTo>
                  <a:pt x="239268" y="19063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0" name="object 144"/>
          <p:cNvSpPr/>
          <p:nvPr/>
        </p:nvSpPr>
        <p:spPr>
          <a:xfrm>
            <a:off x="3217132" y="3414939"/>
            <a:ext cx="51156" cy="34516"/>
          </a:xfrm>
          <a:prstGeom prst="rect">
            <a:avLst/>
          </a:prstGeom>
          <a:blipFill>
            <a:blip r:embed="rId6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1" name="object 145"/>
          <p:cNvSpPr/>
          <p:nvPr/>
        </p:nvSpPr>
        <p:spPr>
          <a:xfrm>
            <a:off x="4034561" y="3425390"/>
            <a:ext cx="83891" cy="642769"/>
          </a:xfrm>
          <a:custGeom>
            <a:avLst/>
            <a:gdLst/>
            <a:ahLst/>
            <a:cxnLst/>
            <a:rect l="l" t="t" r="r" b="b"/>
            <a:pathLst>
              <a:path w="127000" h="1446529">
                <a:moveTo>
                  <a:pt x="0" y="0"/>
                </a:moveTo>
                <a:lnTo>
                  <a:pt x="0" y="1446276"/>
                </a:lnTo>
                <a:lnTo>
                  <a:pt x="126492" y="1446276"/>
                </a:lnTo>
                <a:lnTo>
                  <a:pt x="126492" y="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2" name="object 146"/>
          <p:cNvSpPr/>
          <p:nvPr/>
        </p:nvSpPr>
        <p:spPr>
          <a:xfrm>
            <a:off x="4031039" y="3423359"/>
            <a:ext cx="90182" cy="646719"/>
          </a:xfrm>
          <a:custGeom>
            <a:avLst/>
            <a:gdLst/>
            <a:ahLst/>
            <a:cxnLst/>
            <a:rect l="l" t="t" r="r" b="b"/>
            <a:pathLst>
              <a:path w="136525" h="1455420">
                <a:moveTo>
                  <a:pt x="136398" y="1455420"/>
                </a:moveTo>
                <a:lnTo>
                  <a:pt x="136398" y="0"/>
                </a:lnTo>
                <a:lnTo>
                  <a:pt x="0" y="0"/>
                </a:lnTo>
                <a:lnTo>
                  <a:pt x="0" y="1455420"/>
                </a:lnTo>
                <a:lnTo>
                  <a:pt x="5333" y="1455420"/>
                </a:lnTo>
                <a:lnTo>
                  <a:pt x="5333" y="9144"/>
                </a:lnTo>
                <a:lnTo>
                  <a:pt x="9906" y="4572"/>
                </a:lnTo>
                <a:lnTo>
                  <a:pt x="9906" y="9144"/>
                </a:lnTo>
                <a:lnTo>
                  <a:pt x="127254" y="9144"/>
                </a:lnTo>
                <a:lnTo>
                  <a:pt x="127254" y="4572"/>
                </a:lnTo>
                <a:lnTo>
                  <a:pt x="131825" y="9144"/>
                </a:lnTo>
                <a:lnTo>
                  <a:pt x="131825" y="1455420"/>
                </a:lnTo>
                <a:lnTo>
                  <a:pt x="136398" y="1455420"/>
                </a:lnTo>
                <a:close/>
              </a:path>
              <a:path w="136525" h="1455420">
                <a:moveTo>
                  <a:pt x="9906" y="9144"/>
                </a:moveTo>
                <a:lnTo>
                  <a:pt x="9906" y="4572"/>
                </a:lnTo>
                <a:lnTo>
                  <a:pt x="5333" y="9144"/>
                </a:lnTo>
                <a:lnTo>
                  <a:pt x="9906" y="9144"/>
                </a:lnTo>
                <a:close/>
              </a:path>
              <a:path w="136525" h="1455420">
                <a:moveTo>
                  <a:pt x="9906" y="1446276"/>
                </a:moveTo>
                <a:lnTo>
                  <a:pt x="9906" y="9144"/>
                </a:lnTo>
                <a:lnTo>
                  <a:pt x="5333" y="9144"/>
                </a:lnTo>
                <a:lnTo>
                  <a:pt x="5333" y="1446276"/>
                </a:lnTo>
                <a:lnTo>
                  <a:pt x="9906" y="1446276"/>
                </a:lnTo>
                <a:close/>
              </a:path>
              <a:path w="136525" h="1455420">
                <a:moveTo>
                  <a:pt x="131825" y="1446276"/>
                </a:moveTo>
                <a:lnTo>
                  <a:pt x="5333" y="1446276"/>
                </a:lnTo>
                <a:lnTo>
                  <a:pt x="9906" y="1450848"/>
                </a:lnTo>
                <a:lnTo>
                  <a:pt x="9906" y="1455420"/>
                </a:lnTo>
                <a:lnTo>
                  <a:pt x="127254" y="1455420"/>
                </a:lnTo>
                <a:lnTo>
                  <a:pt x="127254" y="1450848"/>
                </a:lnTo>
                <a:lnTo>
                  <a:pt x="131825" y="1446276"/>
                </a:lnTo>
                <a:close/>
              </a:path>
              <a:path w="136525" h="1455420">
                <a:moveTo>
                  <a:pt x="9906" y="1455420"/>
                </a:moveTo>
                <a:lnTo>
                  <a:pt x="9906" y="1450848"/>
                </a:lnTo>
                <a:lnTo>
                  <a:pt x="5333" y="1446276"/>
                </a:lnTo>
                <a:lnTo>
                  <a:pt x="5333" y="1455420"/>
                </a:lnTo>
                <a:lnTo>
                  <a:pt x="9906" y="1455420"/>
                </a:lnTo>
                <a:close/>
              </a:path>
              <a:path w="136525" h="1455420">
                <a:moveTo>
                  <a:pt x="131825" y="9144"/>
                </a:moveTo>
                <a:lnTo>
                  <a:pt x="127254" y="4572"/>
                </a:lnTo>
                <a:lnTo>
                  <a:pt x="127254" y="9144"/>
                </a:lnTo>
                <a:lnTo>
                  <a:pt x="131825" y="9144"/>
                </a:lnTo>
                <a:close/>
              </a:path>
              <a:path w="136525" h="1455420">
                <a:moveTo>
                  <a:pt x="131825" y="1446276"/>
                </a:moveTo>
                <a:lnTo>
                  <a:pt x="131825" y="9144"/>
                </a:lnTo>
                <a:lnTo>
                  <a:pt x="127254" y="9144"/>
                </a:lnTo>
                <a:lnTo>
                  <a:pt x="127254" y="1446276"/>
                </a:lnTo>
                <a:lnTo>
                  <a:pt x="131825" y="1446276"/>
                </a:lnTo>
                <a:close/>
              </a:path>
              <a:path w="136525" h="1455420">
                <a:moveTo>
                  <a:pt x="131825" y="1455420"/>
                </a:moveTo>
                <a:lnTo>
                  <a:pt x="131825" y="1446276"/>
                </a:lnTo>
                <a:lnTo>
                  <a:pt x="127254" y="1450848"/>
                </a:lnTo>
                <a:lnTo>
                  <a:pt x="127254" y="1455420"/>
                </a:lnTo>
                <a:lnTo>
                  <a:pt x="131825" y="14554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3" name="object 147"/>
          <p:cNvSpPr/>
          <p:nvPr/>
        </p:nvSpPr>
        <p:spPr>
          <a:xfrm>
            <a:off x="5060375" y="2938150"/>
            <a:ext cx="143453" cy="104490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4" name="object 148"/>
          <p:cNvSpPr/>
          <p:nvPr/>
        </p:nvSpPr>
        <p:spPr>
          <a:xfrm>
            <a:off x="5056853" y="2935780"/>
            <a:ext cx="150583" cy="1049649"/>
          </a:xfrm>
          <a:custGeom>
            <a:avLst/>
            <a:gdLst/>
            <a:ahLst/>
            <a:cxnLst/>
            <a:rect l="l" t="t" r="r" b="b"/>
            <a:pathLst>
              <a:path w="227964" h="2362200">
                <a:moveTo>
                  <a:pt x="227837" y="2362200"/>
                </a:moveTo>
                <a:lnTo>
                  <a:pt x="227837" y="0"/>
                </a:lnTo>
                <a:lnTo>
                  <a:pt x="0" y="0"/>
                </a:lnTo>
                <a:lnTo>
                  <a:pt x="0" y="2362200"/>
                </a:lnTo>
                <a:lnTo>
                  <a:pt x="5334" y="2362200"/>
                </a:lnTo>
                <a:lnTo>
                  <a:pt x="5334" y="9905"/>
                </a:lnTo>
                <a:lnTo>
                  <a:pt x="9906" y="5333"/>
                </a:lnTo>
                <a:lnTo>
                  <a:pt x="9906" y="9905"/>
                </a:lnTo>
                <a:lnTo>
                  <a:pt x="217932" y="9905"/>
                </a:lnTo>
                <a:lnTo>
                  <a:pt x="217932" y="5333"/>
                </a:lnTo>
                <a:lnTo>
                  <a:pt x="222504" y="9905"/>
                </a:lnTo>
                <a:lnTo>
                  <a:pt x="222504" y="2362200"/>
                </a:lnTo>
                <a:lnTo>
                  <a:pt x="227837" y="2362200"/>
                </a:lnTo>
                <a:close/>
              </a:path>
              <a:path w="227964" h="2362200">
                <a:moveTo>
                  <a:pt x="9906" y="9905"/>
                </a:moveTo>
                <a:lnTo>
                  <a:pt x="9906" y="5333"/>
                </a:lnTo>
                <a:lnTo>
                  <a:pt x="5334" y="9905"/>
                </a:lnTo>
                <a:lnTo>
                  <a:pt x="9906" y="9905"/>
                </a:lnTo>
                <a:close/>
              </a:path>
              <a:path w="227964" h="2362200">
                <a:moveTo>
                  <a:pt x="9906" y="2352293"/>
                </a:moveTo>
                <a:lnTo>
                  <a:pt x="9906" y="9905"/>
                </a:lnTo>
                <a:lnTo>
                  <a:pt x="5334" y="9905"/>
                </a:lnTo>
                <a:lnTo>
                  <a:pt x="5334" y="2352293"/>
                </a:lnTo>
                <a:lnTo>
                  <a:pt x="9906" y="2352293"/>
                </a:lnTo>
                <a:close/>
              </a:path>
              <a:path w="227964" h="2362200">
                <a:moveTo>
                  <a:pt x="222504" y="2352293"/>
                </a:moveTo>
                <a:lnTo>
                  <a:pt x="5334" y="2352293"/>
                </a:lnTo>
                <a:lnTo>
                  <a:pt x="9906" y="2356866"/>
                </a:lnTo>
                <a:lnTo>
                  <a:pt x="9906" y="2362200"/>
                </a:lnTo>
                <a:lnTo>
                  <a:pt x="217932" y="2362200"/>
                </a:lnTo>
                <a:lnTo>
                  <a:pt x="217932" y="2356866"/>
                </a:lnTo>
                <a:lnTo>
                  <a:pt x="222504" y="2352293"/>
                </a:lnTo>
                <a:close/>
              </a:path>
              <a:path w="227964" h="2362200">
                <a:moveTo>
                  <a:pt x="9906" y="2362200"/>
                </a:moveTo>
                <a:lnTo>
                  <a:pt x="9906" y="2356866"/>
                </a:lnTo>
                <a:lnTo>
                  <a:pt x="5334" y="2352293"/>
                </a:lnTo>
                <a:lnTo>
                  <a:pt x="5334" y="2362200"/>
                </a:lnTo>
                <a:lnTo>
                  <a:pt x="9906" y="2362200"/>
                </a:lnTo>
                <a:close/>
              </a:path>
              <a:path w="227964" h="2362200">
                <a:moveTo>
                  <a:pt x="222504" y="9905"/>
                </a:moveTo>
                <a:lnTo>
                  <a:pt x="217932" y="5333"/>
                </a:lnTo>
                <a:lnTo>
                  <a:pt x="217932" y="9905"/>
                </a:lnTo>
                <a:lnTo>
                  <a:pt x="222504" y="9905"/>
                </a:lnTo>
                <a:close/>
              </a:path>
              <a:path w="227964" h="2362200">
                <a:moveTo>
                  <a:pt x="222504" y="2352293"/>
                </a:moveTo>
                <a:lnTo>
                  <a:pt x="222504" y="9905"/>
                </a:lnTo>
                <a:lnTo>
                  <a:pt x="217932" y="9905"/>
                </a:lnTo>
                <a:lnTo>
                  <a:pt x="217932" y="2352293"/>
                </a:lnTo>
                <a:lnTo>
                  <a:pt x="222504" y="2352293"/>
                </a:lnTo>
                <a:close/>
              </a:path>
              <a:path w="227964" h="2362200">
                <a:moveTo>
                  <a:pt x="222504" y="2362200"/>
                </a:moveTo>
                <a:lnTo>
                  <a:pt x="222504" y="2352293"/>
                </a:lnTo>
                <a:lnTo>
                  <a:pt x="217932" y="2356866"/>
                </a:lnTo>
                <a:lnTo>
                  <a:pt x="217932" y="2362200"/>
                </a:lnTo>
                <a:lnTo>
                  <a:pt x="222504" y="23622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5" name="object 149"/>
          <p:cNvSpPr/>
          <p:nvPr/>
        </p:nvSpPr>
        <p:spPr>
          <a:xfrm>
            <a:off x="4849978" y="3377309"/>
            <a:ext cx="210565" cy="163654"/>
          </a:xfrm>
          <a:custGeom>
            <a:avLst/>
            <a:gdLst/>
            <a:ahLst/>
            <a:cxnLst/>
            <a:rect l="l" t="t" r="r" b="b"/>
            <a:pathLst>
              <a:path w="318770" h="368300">
                <a:moveTo>
                  <a:pt x="318516" y="115062"/>
                </a:moveTo>
                <a:lnTo>
                  <a:pt x="251460" y="84582"/>
                </a:lnTo>
                <a:lnTo>
                  <a:pt x="203454" y="35052"/>
                </a:lnTo>
                <a:lnTo>
                  <a:pt x="107442" y="0"/>
                </a:lnTo>
                <a:lnTo>
                  <a:pt x="0" y="99060"/>
                </a:lnTo>
                <a:lnTo>
                  <a:pt x="64770" y="245364"/>
                </a:lnTo>
                <a:lnTo>
                  <a:pt x="107442" y="259080"/>
                </a:lnTo>
                <a:lnTo>
                  <a:pt x="138684" y="266700"/>
                </a:lnTo>
                <a:lnTo>
                  <a:pt x="179832" y="259080"/>
                </a:lnTo>
                <a:lnTo>
                  <a:pt x="260604" y="327660"/>
                </a:lnTo>
                <a:lnTo>
                  <a:pt x="313182" y="368046"/>
                </a:lnTo>
                <a:lnTo>
                  <a:pt x="318516" y="115062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6" name="object 150"/>
          <p:cNvSpPr/>
          <p:nvPr/>
        </p:nvSpPr>
        <p:spPr>
          <a:xfrm>
            <a:off x="4996954" y="3406767"/>
            <a:ext cx="65015" cy="29910"/>
          </a:xfrm>
          <a:custGeom>
            <a:avLst/>
            <a:gdLst/>
            <a:ahLst/>
            <a:cxnLst/>
            <a:rect l="l" t="t" r="r" b="b"/>
            <a:pathLst>
              <a:path w="98425" h="67310">
                <a:moveTo>
                  <a:pt x="98297" y="59435"/>
                </a:moveTo>
                <a:lnTo>
                  <a:pt x="5333" y="0"/>
                </a:lnTo>
                <a:lnTo>
                  <a:pt x="0" y="8381"/>
                </a:lnTo>
                <a:lnTo>
                  <a:pt x="92963" y="67055"/>
                </a:lnTo>
                <a:lnTo>
                  <a:pt x="98297" y="5943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7" name="object 151"/>
          <p:cNvSpPr/>
          <p:nvPr/>
        </p:nvSpPr>
        <p:spPr>
          <a:xfrm>
            <a:off x="4969775" y="3496157"/>
            <a:ext cx="92699" cy="50507"/>
          </a:xfrm>
          <a:custGeom>
            <a:avLst/>
            <a:gdLst/>
            <a:ahLst/>
            <a:cxnLst/>
            <a:rect l="l" t="t" r="r" b="b"/>
            <a:pathLst>
              <a:path w="140335" h="113664">
                <a:moveTo>
                  <a:pt x="140208" y="105917"/>
                </a:moveTo>
                <a:lnTo>
                  <a:pt x="6096" y="0"/>
                </a:lnTo>
                <a:lnTo>
                  <a:pt x="0" y="7619"/>
                </a:lnTo>
                <a:lnTo>
                  <a:pt x="134112" y="113537"/>
                </a:lnTo>
                <a:lnTo>
                  <a:pt x="140208" y="10591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8" name="object 152"/>
          <p:cNvSpPr/>
          <p:nvPr/>
        </p:nvSpPr>
        <p:spPr>
          <a:xfrm>
            <a:off x="4841421" y="3376398"/>
            <a:ext cx="160231" cy="129795"/>
          </a:xfrm>
          <a:custGeom>
            <a:avLst/>
            <a:gdLst/>
            <a:ahLst/>
            <a:cxnLst/>
            <a:rect l="l" t="t" r="r" b="b"/>
            <a:pathLst>
              <a:path w="242570" h="292100">
                <a:moveTo>
                  <a:pt x="242315" y="75967"/>
                </a:moveTo>
                <a:lnTo>
                  <a:pt x="242315" y="74443"/>
                </a:lnTo>
                <a:lnTo>
                  <a:pt x="239200" y="65492"/>
                </a:lnTo>
                <a:lnTo>
                  <a:pt x="236643" y="56260"/>
                </a:lnTo>
                <a:lnTo>
                  <a:pt x="233684" y="46975"/>
                </a:lnTo>
                <a:lnTo>
                  <a:pt x="229361" y="37867"/>
                </a:lnTo>
                <a:lnTo>
                  <a:pt x="225551" y="32533"/>
                </a:lnTo>
                <a:lnTo>
                  <a:pt x="225551" y="31771"/>
                </a:lnTo>
                <a:lnTo>
                  <a:pt x="224789" y="31771"/>
                </a:lnTo>
                <a:lnTo>
                  <a:pt x="220979" y="27199"/>
                </a:lnTo>
                <a:lnTo>
                  <a:pt x="210311" y="19579"/>
                </a:lnTo>
                <a:lnTo>
                  <a:pt x="185318" y="9576"/>
                </a:lnTo>
                <a:lnTo>
                  <a:pt x="157333" y="2524"/>
                </a:lnTo>
                <a:lnTo>
                  <a:pt x="128787" y="0"/>
                </a:lnTo>
                <a:lnTo>
                  <a:pt x="102107" y="3577"/>
                </a:lnTo>
                <a:lnTo>
                  <a:pt x="53939" y="19829"/>
                </a:lnTo>
                <a:lnTo>
                  <a:pt x="19405" y="56297"/>
                </a:lnTo>
                <a:lnTo>
                  <a:pt x="3047" y="95017"/>
                </a:lnTo>
                <a:lnTo>
                  <a:pt x="0" y="114067"/>
                </a:lnTo>
                <a:lnTo>
                  <a:pt x="1382" y="166341"/>
                </a:lnTo>
                <a:lnTo>
                  <a:pt x="8942" y="192085"/>
                </a:lnTo>
                <a:lnTo>
                  <a:pt x="8942" y="119828"/>
                </a:lnTo>
                <a:lnTo>
                  <a:pt x="15239" y="88921"/>
                </a:lnTo>
                <a:lnTo>
                  <a:pt x="19049" y="79015"/>
                </a:lnTo>
                <a:lnTo>
                  <a:pt x="22859" y="69871"/>
                </a:lnTo>
                <a:lnTo>
                  <a:pt x="28193" y="60727"/>
                </a:lnTo>
                <a:lnTo>
                  <a:pt x="32765" y="52345"/>
                </a:lnTo>
                <a:lnTo>
                  <a:pt x="38861" y="44725"/>
                </a:lnTo>
                <a:lnTo>
                  <a:pt x="43687" y="37778"/>
                </a:lnTo>
                <a:lnTo>
                  <a:pt x="50482" y="32622"/>
                </a:lnTo>
                <a:lnTo>
                  <a:pt x="57911" y="28723"/>
                </a:lnTo>
                <a:lnTo>
                  <a:pt x="66293" y="24151"/>
                </a:lnTo>
                <a:lnTo>
                  <a:pt x="75437" y="21103"/>
                </a:lnTo>
                <a:lnTo>
                  <a:pt x="86827" y="17577"/>
                </a:lnTo>
                <a:lnTo>
                  <a:pt x="101250" y="13597"/>
                </a:lnTo>
                <a:lnTo>
                  <a:pt x="115721" y="10512"/>
                </a:lnTo>
                <a:lnTo>
                  <a:pt x="127253" y="9673"/>
                </a:lnTo>
                <a:lnTo>
                  <a:pt x="135635" y="9673"/>
                </a:lnTo>
                <a:lnTo>
                  <a:pt x="181854" y="18182"/>
                </a:lnTo>
                <a:lnTo>
                  <a:pt x="221279" y="43767"/>
                </a:lnTo>
                <a:lnTo>
                  <a:pt x="233171" y="77491"/>
                </a:lnTo>
                <a:lnTo>
                  <a:pt x="233171" y="79015"/>
                </a:lnTo>
                <a:lnTo>
                  <a:pt x="242315" y="75967"/>
                </a:lnTo>
                <a:close/>
              </a:path>
              <a:path w="242570" h="292100">
                <a:moveTo>
                  <a:pt x="166115" y="282469"/>
                </a:moveTo>
                <a:lnTo>
                  <a:pt x="162305" y="281707"/>
                </a:lnTo>
                <a:lnTo>
                  <a:pt x="157733" y="280945"/>
                </a:lnTo>
                <a:lnTo>
                  <a:pt x="151637" y="279421"/>
                </a:lnTo>
                <a:lnTo>
                  <a:pt x="95369" y="262571"/>
                </a:lnTo>
                <a:lnTo>
                  <a:pt x="44195" y="234463"/>
                </a:lnTo>
                <a:lnTo>
                  <a:pt x="18894" y="195416"/>
                </a:lnTo>
                <a:lnTo>
                  <a:pt x="10429" y="158044"/>
                </a:lnTo>
                <a:lnTo>
                  <a:pt x="8942" y="119828"/>
                </a:lnTo>
                <a:lnTo>
                  <a:pt x="8942" y="192085"/>
                </a:lnTo>
                <a:lnTo>
                  <a:pt x="35256" y="237854"/>
                </a:lnTo>
                <a:lnTo>
                  <a:pt x="66629" y="260766"/>
                </a:lnTo>
                <a:lnTo>
                  <a:pt x="106880" y="277565"/>
                </a:lnTo>
                <a:lnTo>
                  <a:pt x="155447" y="290089"/>
                </a:lnTo>
                <a:lnTo>
                  <a:pt x="160019" y="290851"/>
                </a:lnTo>
                <a:lnTo>
                  <a:pt x="163829" y="291613"/>
                </a:lnTo>
                <a:lnTo>
                  <a:pt x="166115" y="2824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9" name="object 153"/>
          <p:cNvSpPr/>
          <p:nvPr/>
        </p:nvSpPr>
        <p:spPr>
          <a:xfrm>
            <a:off x="4895782" y="3420316"/>
            <a:ext cx="50838" cy="34574"/>
          </a:xfrm>
          <a:prstGeom prst="rect">
            <a:avLst/>
          </a:prstGeom>
          <a:blipFill>
            <a:blip r:embed="rId6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00" name="object 154"/>
          <p:cNvSpPr/>
          <p:nvPr/>
        </p:nvSpPr>
        <p:spPr>
          <a:xfrm>
            <a:off x="6249777" y="3293676"/>
            <a:ext cx="287744" cy="23702"/>
          </a:xfrm>
          <a:custGeom>
            <a:avLst/>
            <a:gdLst/>
            <a:ahLst/>
            <a:cxnLst/>
            <a:rect l="l" t="t" r="r" b="b"/>
            <a:pathLst>
              <a:path w="435610" h="53339">
                <a:moveTo>
                  <a:pt x="108965" y="53340"/>
                </a:moveTo>
                <a:lnTo>
                  <a:pt x="108965" y="0"/>
                </a:lnTo>
                <a:lnTo>
                  <a:pt x="0" y="26670"/>
                </a:lnTo>
                <a:lnTo>
                  <a:pt x="108965" y="53340"/>
                </a:lnTo>
                <a:close/>
              </a:path>
              <a:path w="435610" h="53339">
                <a:moveTo>
                  <a:pt x="435101" y="40386"/>
                </a:moveTo>
                <a:lnTo>
                  <a:pt x="435101" y="12954"/>
                </a:lnTo>
                <a:lnTo>
                  <a:pt x="108965" y="12954"/>
                </a:lnTo>
                <a:lnTo>
                  <a:pt x="108965" y="40386"/>
                </a:lnTo>
                <a:lnTo>
                  <a:pt x="435101" y="403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01" name="object 155"/>
          <p:cNvSpPr/>
          <p:nvPr/>
        </p:nvSpPr>
        <p:spPr>
          <a:xfrm>
            <a:off x="6236680" y="3290967"/>
            <a:ext cx="303685" cy="29345"/>
          </a:xfrm>
          <a:custGeom>
            <a:avLst/>
            <a:gdLst/>
            <a:ahLst/>
            <a:cxnLst/>
            <a:rect l="l" t="t" r="r" b="b"/>
            <a:pathLst>
              <a:path w="459739" h="66039">
                <a:moveTo>
                  <a:pt x="133350" y="14477"/>
                </a:moveTo>
                <a:lnTo>
                  <a:pt x="133350" y="0"/>
                </a:lnTo>
                <a:lnTo>
                  <a:pt x="0" y="32765"/>
                </a:lnTo>
                <a:lnTo>
                  <a:pt x="21336" y="38008"/>
                </a:lnTo>
                <a:lnTo>
                  <a:pt x="21336" y="28193"/>
                </a:lnTo>
                <a:lnTo>
                  <a:pt x="40015" y="32765"/>
                </a:lnTo>
                <a:lnTo>
                  <a:pt x="124206" y="12160"/>
                </a:lnTo>
                <a:lnTo>
                  <a:pt x="124206" y="6095"/>
                </a:lnTo>
                <a:lnTo>
                  <a:pt x="130302" y="10667"/>
                </a:lnTo>
                <a:lnTo>
                  <a:pt x="130302" y="14477"/>
                </a:lnTo>
                <a:lnTo>
                  <a:pt x="133350" y="14477"/>
                </a:lnTo>
                <a:close/>
              </a:path>
              <a:path w="459739" h="66039">
                <a:moveTo>
                  <a:pt x="40015" y="32765"/>
                </a:moveTo>
                <a:lnTo>
                  <a:pt x="21336" y="28193"/>
                </a:lnTo>
                <a:lnTo>
                  <a:pt x="21336" y="37337"/>
                </a:lnTo>
                <a:lnTo>
                  <a:pt x="40015" y="32765"/>
                </a:lnTo>
                <a:close/>
              </a:path>
              <a:path w="459739" h="66039">
                <a:moveTo>
                  <a:pt x="130302" y="54863"/>
                </a:moveTo>
                <a:lnTo>
                  <a:pt x="40015" y="32765"/>
                </a:lnTo>
                <a:lnTo>
                  <a:pt x="21336" y="37337"/>
                </a:lnTo>
                <a:lnTo>
                  <a:pt x="21336" y="38008"/>
                </a:lnTo>
                <a:lnTo>
                  <a:pt x="124206" y="63285"/>
                </a:lnTo>
                <a:lnTo>
                  <a:pt x="124206" y="59435"/>
                </a:lnTo>
                <a:lnTo>
                  <a:pt x="130302" y="54863"/>
                </a:lnTo>
                <a:close/>
              </a:path>
              <a:path w="459739" h="66039">
                <a:moveTo>
                  <a:pt x="130302" y="10667"/>
                </a:moveTo>
                <a:lnTo>
                  <a:pt x="124206" y="6095"/>
                </a:lnTo>
                <a:lnTo>
                  <a:pt x="124206" y="12160"/>
                </a:lnTo>
                <a:lnTo>
                  <a:pt x="130302" y="10667"/>
                </a:lnTo>
                <a:close/>
              </a:path>
              <a:path w="459739" h="66039">
                <a:moveTo>
                  <a:pt x="130302" y="14477"/>
                </a:moveTo>
                <a:lnTo>
                  <a:pt x="130302" y="10667"/>
                </a:lnTo>
                <a:lnTo>
                  <a:pt x="124206" y="12160"/>
                </a:lnTo>
                <a:lnTo>
                  <a:pt x="124206" y="24383"/>
                </a:lnTo>
                <a:lnTo>
                  <a:pt x="128778" y="24383"/>
                </a:lnTo>
                <a:lnTo>
                  <a:pt x="128778" y="14477"/>
                </a:lnTo>
                <a:lnTo>
                  <a:pt x="130302" y="14477"/>
                </a:lnTo>
                <a:close/>
              </a:path>
              <a:path w="459739" h="66039">
                <a:moveTo>
                  <a:pt x="454914" y="41147"/>
                </a:moveTo>
                <a:lnTo>
                  <a:pt x="124206" y="41147"/>
                </a:lnTo>
                <a:lnTo>
                  <a:pt x="124206" y="53371"/>
                </a:lnTo>
                <a:lnTo>
                  <a:pt x="128778" y="54490"/>
                </a:lnTo>
                <a:lnTo>
                  <a:pt x="128778" y="51053"/>
                </a:lnTo>
                <a:lnTo>
                  <a:pt x="133350" y="46481"/>
                </a:lnTo>
                <a:lnTo>
                  <a:pt x="133350" y="51053"/>
                </a:lnTo>
                <a:lnTo>
                  <a:pt x="450342" y="51053"/>
                </a:lnTo>
                <a:lnTo>
                  <a:pt x="450342" y="46481"/>
                </a:lnTo>
                <a:lnTo>
                  <a:pt x="454914" y="41147"/>
                </a:lnTo>
                <a:close/>
              </a:path>
              <a:path w="459739" h="66039">
                <a:moveTo>
                  <a:pt x="130302" y="64783"/>
                </a:moveTo>
                <a:lnTo>
                  <a:pt x="130302" y="54863"/>
                </a:lnTo>
                <a:lnTo>
                  <a:pt x="124206" y="59435"/>
                </a:lnTo>
                <a:lnTo>
                  <a:pt x="124206" y="63285"/>
                </a:lnTo>
                <a:lnTo>
                  <a:pt x="130302" y="64783"/>
                </a:lnTo>
                <a:close/>
              </a:path>
              <a:path w="459739" h="66039">
                <a:moveTo>
                  <a:pt x="459486" y="51053"/>
                </a:moveTo>
                <a:lnTo>
                  <a:pt x="459486" y="14477"/>
                </a:lnTo>
                <a:lnTo>
                  <a:pt x="128778" y="14477"/>
                </a:lnTo>
                <a:lnTo>
                  <a:pt x="133350" y="19049"/>
                </a:lnTo>
                <a:lnTo>
                  <a:pt x="133350" y="24383"/>
                </a:lnTo>
                <a:lnTo>
                  <a:pt x="450342" y="24383"/>
                </a:lnTo>
                <a:lnTo>
                  <a:pt x="450342" y="19049"/>
                </a:lnTo>
                <a:lnTo>
                  <a:pt x="454914" y="24383"/>
                </a:lnTo>
                <a:lnTo>
                  <a:pt x="454914" y="51053"/>
                </a:lnTo>
                <a:lnTo>
                  <a:pt x="459486" y="51053"/>
                </a:lnTo>
                <a:close/>
              </a:path>
              <a:path w="459739" h="66039">
                <a:moveTo>
                  <a:pt x="133350" y="24383"/>
                </a:moveTo>
                <a:lnTo>
                  <a:pt x="133350" y="19049"/>
                </a:lnTo>
                <a:lnTo>
                  <a:pt x="128778" y="14477"/>
                </a:lnTo>
                <a:lnTo>
                  <a:pt x="128778" y="24383"/>
                </a:lnTo>
                <a:lnTo>
                  <a:pt x="133350" y="24383"/>
                </a:lnTo>
                <a:close/>
              </a:path>
              <a:path w="459739" h="66039">
                <a:moveTo>
                  <a:pt x="133350" y="51053"/>
                </a:moveTo>
                <a:lnTo>
                  <a:pt x="133350" y="46481"/>
                </a:lnTo>
                <a:lnTo>
                  <a:pt x="128778" y="51053"/>
                </a:lnTo>
                <a:lnTo>
                  <a:pt x="133350" y="51053"/>
                </a:lnTo>
                <a:close/>
              </a:path>
              <a:path w="459739" h="66039">
                <a:moveTo>
                  <a:pt x="133350" y="65531"/>
                </a:moveTo>
                <a:lnTo>
                  <a:pt x="133350" y="51053"/>
                </a:lnTo>
                <a:lnTo>
                  <a:pt x="128778" y="51053"/>
                </a:lnTo>
                <a:lnTo>
                  <a:pt x="128778" y="54490"/>
                </a:lnTo>
                <a:lnTo>
                  <a:pt x="130302" y="54863"/>
                </a:lnTo>
                <a:lnTo>
                  <a:pt x="130302" y="64783"/>
                </a:lnTo>
                <a:lnTo>
                  <a:pt x="133350" y="65531"/>
                </a:lnTo>
                <a:close/>
              </a:path>
              <a:path w="459739" h="66039">
                <a:moveTo>
                  <a:pt x="454914" y="24383"/>
                </a:moveTo>
                <a:lnTo>
                  <a:pt x="450342" y="19049"/>
                </a:lnTo>
                <a:lnTo>
                  <a:pt x="450342" y="24383"/>
                </a:lnTo>
                <a:lnTo>
                  <a:pt x="454914" y="24383"/>
                </a:lnTo>
                <a:close/>
              </a:path>
              <a:path w="459739" h="66039">
                <a:moveTo>
                  <a:pt x="454914" y="41147"/>
                </a:moveTo>
                <a:lnTo>
                  <a:pt x="454914" y="24383"/>
                </a:lnTo>
                <a:lnTo>
                  <a:pt x="450342" y="24383"/>
                </a:lnTo>
                <a:lnTo>
                  <a:pt x="450342" y="41147"/>
                </a:lnTo>
                <a:lnTo>
                  <a:pt x="454914" y="41147"/>
                </a:lnTo>
                <a:close/>
              </a:path>
              <a:path w="459739" h="66039">
                <a:moveTo>
                  <a:pt x="454914" y="51053"/>
                </a:moveTo>
                <a:lnTo>
                  <a:pt x="454914" y="41147"/>
                </a:lnTo>
                <a:lnTo>
                  <a:pt x="450342" y="46481"/>
                </a:lnTo>
                <a:lnTo>
                  <a:pt x="450342" y="51053"/>
                </a:lnTo>
                <a:lnTo>
                  <a:pt x="454914" y="5105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02" name="object 156"/>
          <p:cNvSpPr/>
          <p:nvPr/>
        </p:nvSpPr>
        <p:spPr>
          <a:xfrm>
            <a:off x="5221446" y="4030800"/>
            <a:ext cx="83891" cy="136284"/>
          </a:xfrm>
          <a:custGeom>
            <a:avLst/>
            <a:gdLst/>
            <a:ahLst/>
            <a:cxnLst/>
            <a:rect l="l" t="t" r="r" b="b"/>
            <a:pathLst>
              <a:path w="127000" h="306704">
                <a:moveTo>
                  <a:pt x="126492" y="230124"/>
                </a:moveTo>
                <a:lnTo>
                  <a:pt x="0" y="230124"/>
                </a:lnTo>
                <a:lnTo>
                  <a:pt x="58674" y="300815"/>
                </a:lnTo>
                <a:lnTo>
                  <a:pt x="58674" y="242315"/>
                </a:lnTo>
                <a:lnTo>
                  <a:pt x="67817" y="242315"/>
                </a:lnTo>
                <a:lnTo>
                  <a:pt x="67817" y="300816"/>
                </a:lnTo>
                <a:lnTo>
                  <a:pt x="126492" y="230124"/>
                </a:lnTo>
                <a:close/>
              </a:path>
              <a:path w="127000" h="306704">
                <a:moveTo>
                  <a:pt x="67817" y="230124"/>
                </a:moveTo>
                <a:lnTo>
                  <a:pt x="67817" y="0"/>
                </a:lnTo>
                <a:lnTo>
                  <a:pt x="58674" y="0"/>
                </a:lnTo>
                <a:lnTo>
                  <a:pt x="58674" y="230124"/>
                </a:lnTo>
                <a:lnTo>
                  <a:pt x="67817" y="230124"/>
                </a:lnTo>
                <a:close/>
              </a:path>
              <a:path w="127000" h="306704">
                <a:moveTo>
                  <a:pt x="67817" y="300816"/>
                </a:moveTo>
                <a:lnTo>
                  <a:pt x="67817" y="242315"/>
                </a:lnTo>
                <a:lnTo>
                  <a:pt x="58674" y="242315"/>
                </a:lnTo>
                <a:lnTo>
                  <a:pt x="58674" y="300815"/>
                </a:lnTo>
                <a:lnTo>
                  <a:pt x="63246" y="306324"/>
                </a:lnTo>
                <a:lnTo>
                  <a:pt x="67817" y="3008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03" name="object 157"/>
          <p:cNvSpPr txBox="1"/>
          <p:nvPr/>
        </p:nvSpPr>
        <p:spPr>
          <a:xfrm>
            <a:off x="538673" y="2982717"/>
            <a:ext cx="2021650" cy="746521"/>
          </a:xfrm>
          <a:prstGeom prst="rect">
            <a:avLst/>
          </a:prstGeom>
        </p:spPr>
        <p:txBody>
          <a:bodyPr vert="horz" wrap="square" lIns="0" tIns="7781" rIns="0" bIns="0" rtlCol="0">
            <a:spAutoFit/>
          </a:bodyPr>
          <a:lstStyle/>
          <a:p>
            <a:pPr marL="179388" marR="3113">
              <a:spcBef>
                <a:spcPts val="61"/>
              </a:spcBef>
            </a:pPr>
            <a:r>
              <a:rPr lang="ru-RU" sz="1200" spc="-3" dirty="0">
                <a:latin typeface="Arial Narrow" panose="020B0606020202030204" pitchFamily="34" charset="0"/>
                <a:cs typeface="Arial"/>
              </a:rPr>
              <a:t>Выдержка под давлением с введением доп. объема расплава в полость пресс-формы</a:t>
            </a:r>
            <a:endParaRPr sz="1200" dirty="0"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304" name="object 12"/>
          <p:cNvSpPr txBox="1"/>
          <p:nvPr/>
        </p:nvSpPr>
        <p:spPr>
          <a:xfrm>
            <a:off x="5388388" y="4130269"/>
            <a:ext cx="1582252" cy="284463"/>
          </a:xfrm>
          <a:prstGeom prst="rect">
            <a:avLst/>
          </a:prstGeom>
        </p:spPr>
        <p:txBody>
          <a:bodyPr vert="horz" wrap="square" lIns="0" tIns="7392" rIns="0" bIns="0" rtlCol="0">
            <a:spAutoFit/>
          </a:bodyPr>
          <a:lstStyle/>
          <a:p>
            <a:pPr marL="92597" marR="526013" indent="-38128">
              <a:spcBef>
                <a:spcPts val="58"/>
              </a:spcBef>
            </a:pPr>
            <a:r>
              <a:rPr lang="ru-RU" sz="900" dirty="0">
                <a:latin typeface="Arial Narrow" panose="020B0606020202030204" pitchFamily="34" charset="0"/>
                <a:cs typeface="DaunPenh"/>
              </a:rPr>
              <a:t>Охлаждающая система</a:t>
            </a:r>
            <a:endParaRPr sz="900" dirty="0">
              <a:latin typeface="Arial Narrow" panose="020B0606020202030204" pitchFamily="34" charset="0"/>
              <a:cs typeface="DaunPenh"/>
            </a:endParaRPr>
          </a:p>
        </p:txBody>
      </p:sp>
      <p:sp>
        <p:nvSpPr>
          <p:cNvPr id="308" name="Заголовок 1"/>
          <p:cNvSpPr txBox="1">
            <a:spLocks/>
          </p:cNvSpPr>
          <p:nvPr/>
        </p:nvSpPr>
        <p:spPr>
          <a:xfrm>
            <a:off x="4201198" y="817743"/>
            <a:ext cx="6196212" cy="5274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76041" tIns="38021" rIns="76041" bIns="38021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kern="1200" dirty="0" smtClean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1. Впрыск</a:t>
            </a:r>
            <a:endParaRPr lang="ru-RU" sz="2000" kern="1200" dirty="0">
              <a:solidFill>
                <a:schemeClr val="accent1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10" name="Заголовок 1"/>
          <p:cNvSpPr txBox="1">
            <a:spLocks/>
          </p:cNvSpPr>
          <p:nvPr/>
        </p:nvSpPr>
        <p:spPr>
          <a:xfrm>
            <a:off x="4921201" y="2444036"/>
            <a:ext cx="6196212" cy="5274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76041" tIns="38021" rIns="76041" bIns="38021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kern="1200" dirty="0" smtClean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2. Выдержка под давлением</a:t>
            </a:r>
            <a:endParaRPr lang="ru-RU" sz="2000" kern="1200" dirty="0">
              <a:solidFill>
                <a:schemeClr val="accent1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07" name="Заголовок 1"/>
          <p:cNvSpPr>
            <a:spLocks noGrp="1"/>
          </p:cNvSpPr>
          <p:nvPr>
            <p:ph type="title"/>
          </p:nvPr>
        </p:nvSpPr>
        <p:spPr>
          <a:xfrm>
            <a:off x="291164" y="162313"/>
            <a:ext cx="7945062" cy="527447"/>
          </a:xfrm>
        </p:spPr>
        <p:txBody>
          <a:bodyPr/>
          <a:lstStyle/>
          <a:p>
            <a:r>
              <a:rPr lang="ru-RU" sz="2400" kern="1200" dirty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ЛИТЬЕ ПОД </a:t>
            </a:r>
            <a:r>
              <a:rPr lang="ru-RU" sz="2400" kern="1200" dirty="0" smtClean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ДАВЛЕНИЕМ. ОСНОВНЫЕ </a:t>
            </a:r>
            <a:r>
              <a:rPr lang="ru-RU" sz="2400" kern="1200" dirty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СТАДИИ ПРОЦЕССА</a:t>
            </a:r>
          </a:p>
        </p:txBody>
      </p:sp>
    </p:spTree>
    <p:extLst>
      <p:ext uri="{BB962C8B-B14F-4D97-AF65-F5344CB8AC3E}">
        <p14:creationId xmlns:p14="http://schemas.microsoft.com/office/powerpoint/2010/main" val="872479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1164" y="162313"/>
            <a:ext cx="7945062" cy="527447"/>
          </a:xfrm>
        </p:spPr>
        <p:txBody>
          <a:bodyPr/>
          <a:lstStyle/>
          <a:p>
            <a:r>
              <a:rPr lang="ru-RU" sz="2400" kern="1200" dirty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ЛИТЬЕ ПОД </a:t>
            </a:r>
            <a:r>
              <a:rPr lang="ru-RU" sz="2400" kern="1200" dirty="0" smtClean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ДАВЛЕНИЕМ. ОСНОВНЫЕ </a:t>
            </a:r>
            <a:r>
              <a:rPr lang="ru-RU" sz="2400" kern="1200" dirty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СТАДИИ ПРОЦЕССА</a:t>
            </a:r>
          </a:p>
        </p:txBody>
      </p:sp>
      <p:sp>
        <p:nvSpPr>
          <p:cNvPr id="4" name="object 3"/>
          <p:cNvSpPr/>
          <p:nvPr/>
        </p:nvSpPr>
        <p:spPr>
          <a:xfrm>
            <a:off x="3123280" y="1354655"/>
            <a:ext cx="184453" cy="43917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" name="object 4"/>
          <p:cNvSpPr/>
          <p:nvPr/>
        </p:nvSpPr>
        <p:spPr>
          <a:xfrm>
            <a:off x="3119936" y="1351833"/>
            <a:ext cx="191327" cy="444170"/>
          </a:xfrm>
          <a:custGeom>
            <a:avLst/>
            <a:gdLst/>
            <a:ahLst/>
            <a:cxnLst/>
            <a:rect l="l" t="t" r="r" b="b"/>
            <a:pathLst>
              <a:path w="261620" h="959485">
                <a:moveTo>
                  <a:pt x="261366" y="784098"/>
                </a:moveTo>
                <a:lnTo>
                  <a:pt x="261366" y="782574"/>
                </a:lnTo>
                <a:lnTo>
                  <a:pt x="252222" y="217932"/>
                </a:lnTo>
                <a:lnTo>
                  <a:pt x="252222" y="216408"/>
                </a:lnTo>
                <a:lnTo>
                  <a:pt x="251460" y="214884"/>
                </a:lnTo>
                <a:lnTo>
                  <a:pt x="250697" y="214122"/>
                </a:lnTo>
                <a:lnTo>
                  <a:pt x="7620" y="1524"/>
                </a:lnTo>
                <a:lnTo>
                  <a:pt x="6095" y="0"/>
                </a:lnTo>
                <a:lnTo>
                  <a:pt x="4571" y="0"/>
                </a:lnTo>
                <a:lnTo>
                  <a:pt x="2285" y="762"/>
                </a:lnTo>
                <a:lnTo>
                  <a:pt x="761" y="2286"/>
                </a:lnTo>
                <a:lnTo>
                  <a:pt x="0" y="3810"/>
                </a:lnTo>
                <a:lnTo>
                  <a:pt x="0" y="6096"/>
                </a:lnTo>
                <a:lnTo>
                  <a:pt x="1524" y="17335"/>
                </a:lnTo>
                <a:lnTo>
                  <a:pt x="1524" y="9144"/>
                </a:lnTo>
                <a:lnTo>
                  <a:pt x="9144" y="4572"/>
                </a:lnTo>
                <a:lnTo>
                  <a:pt x="11083" y="17505"/>
                </a:lnTo>
                <a:lnTo>
                  <a:pt x="243078" y="220409"/>
                </a:lnTo>
                <a:lnTo>
                  <a:pt x="243078" y="217932"/>
                </a:lnTo>
                <a:lnTo>
                  <a:pt x="244602" y="221742"/>
                </a:lnTo>
                <a:lnTo>
                  <a:pt x="244602" y="312039"/>
                </a:lnTo>
                <a:lnTo>
                  <a:pt x="252185" y="780342"/>
                </a:lnTo>
                <a:lnTo>
                  <a:pt x="254508" y="778764"/>
                </a:lnTo>
                <a:lnTo>
                  <a:pt x="254508" y="790025"/>
                </a:lnTo>
                <a:lnTo>
                  <a:pt x="259842" y="786384"/>
                </a:lnTo>
                <a:lnTo>
                  <a:pt x="260604" y="785622"/>
                </a:lnTo>
                <a:lnTo>
                  <a:pt x="261366" y="784098"/>
                </a:lnTo>
                <a:close/>
              </a:path>
              <a:path w="261620" h="959485">
                <a:moveTo>
                  <a:pt x="198120" y="778002"/>
                </a:moveTo>
                <a:lnTo>
                  <a:pt x="2286" y="905256"/>
                </a:lnTo>
                <a:lnTo>
                  <a:pt x="762" y="906018"/>
                </a:lnTo>
                <a:lnTo>
                  <a:pt x="0" y="907542"/>
                </a:lnTo>
                <a:lnTo>
                  <a:pt x="0" y="956310"/>
                </a:lnTo>
                <a:lnTo>
                  <a:pt x="762" y="957834"/>
                </a:lnTo>
                <a:lnTo>
                  <a:pt x="2286" y="958596"/>
                </a:lnTo>
                <a:lnTo>
                  <a:pt x="2286" y="950214"/>
                </a:lnTo>
                <a:lnTo>
                  <a:pt x="7620" y="946588"/>
                </a:lnTo>
                <a:lnTo>
                  <a:pt x="7620" y="912876"/>
                </a:lnTo>
                <a:lnTo>
                  <a:pt x="9906" y="909066"/>
                </a:lnTo>
                <a:lnTo>
                  <a:pt x="9906" y="911399"/>
                </a:lnTo>
                <a:lnTo>
                  <a:pt x="195834" y="791305"/>
                </a:lnTo>
                <a:lnTo>
                  <a:pt x="195834" y="782574"/>
                </a:lnTo>
                <a:lnTo>
                  <a:pt x="198120" y="778002"/>
                </a:lnTo>
                <a:close/>
              </a:path>
              <a:path w="261620" h="959485">
                <a:moveTo>
                  <a:pt x="11083" y="17505"/>
                </a:moveTo>
                <a:lnTo>
                  <a:pt x="9144" y="4572"/>
                </a:lnTo>
                <a:lnTo>
                  <a:pt x="1524" y="9144"/>
                </a:lnTo>
                <a:lnTo>
                  <a:pt x="11083" y="17505"/>
                </a:lnTo>
                <a:close/>
              </a:path>
              <a:path w="261620" h="959485">
                <a:moveTo>
                  <a:pt x="15807" y="48992"/>
                </a:moveTo>
                <a:lnTo>
                  <a:pt x="11083" y="17505"/>
                </a:lnTo>
                <a:lnTo>
                  <a:pt x="1524" y="9144"/>
                </a:lnTo>
                <a:lnTo>
                  <a:pt x="1524" y="17335"/>
                </a:lnTo>
                <a:lnTo>
                  <a:pt x="6096" y="51054"/>
                </a:lnTo>
                <a:lnTo>
                  <a:pt x="6096" y="52578"/>
                </a:lnTo>
                <a:lnTo>
                  <a:pt x="7620" y="54102"/>
                </a:lnTo>
                <a:lnTo>
                  <a:pt x="13716" y="59222"/>
                </a:lnTo>
                <a:lnTo>
                  <a:pt x="13716" y="47244"/>
                </a:lnTo>
                <a:lnTo>
                  <a:pt x="15807" y="48992"/>
                </a:lnTo>
                <a:close/>
              </a:path>
              <a:path w="261620" h="959485">
                <a:moveTo>
                  <a:pt x="254508" y="790025"/>
                </a:moveTo>
                <a:lnTo>
                  <a:pt x="254508" y="778764"/>
                </a:lnTo>
                <a:lnTo>
                  <a:pt x="252222" y="782574"/>
                </a:lnTo>
                <a:lnTo>
                  <a:pt x="252185" y="780342"/>
                </a:lnTo>
                <a:lnTo>
                  <a:pt x="2286" y="950214"/>
                </a:lnTo>
                <a:lnTo>
                  <a:pt x="9906" y="954786"/>
                </a:lnTo>
                <a:lnTo>
                  <a:pt x="9906" y="957035"/>
                </a:lnTo>
                <a:lnTo>
                  <a:pt x="254508" y="790025"/>
                </a:lnTo>
                <a:close/>
              </a:path>
              <a:path w="261620" h="959485">
                <a:moveTo>
                  <a:pt x="9906" y="957035"/>
                </a:moveTo>
                <a:lnTo>
                  <a:pt x="9906" y="954786"/>
                </a:lnTo>
                <a:lnTo>
                  <a:pt x="2286" y="950214"/>
                </a:lnTo>
                <a:lnTo>
                  <a:pt x="2286" y="958596"/>
                </a:lnTo>
                <a:lnTo>
                  <a:pt x="3810" y="959358"/>
                </a:lnTo>
                <a:lnTo>
                  <a:pt x="6096" y="959358"/>
                </a:lnTo>
                <a:lnTo>
                  <a:pt x="7620" y="958596"/>
                </a:lnTo>
                <a:lnTo>
                  <a:pt x="9906" y="957035"/>
                </a:lnTo>
                <a:close/>
              </a:path>
              <a:path w="261620" h="959485">
                <a:moveTo>
                  <a:pt x="9906" y="911399"/>
                </a:moveTo>
                <a:lnTo>
                  <a:pt x="9906" y="909066"/>
                </a:lnTo>
                <a:lnTo>
                  <a:pt x="7620" y="912876"/>
                </a:lnTo>
                <a:lnTo>
                  <a:pt x="9906" y="911399"/>
                </a:lnTo>
                <a:close/>
              </a:path>
              <a:path w="261620" h="959485">
                <a:moveTo>
                  <a:pt x="9906" y="945034"/>
                </a:moveTo>
                <a:lnTo>
                  <a:pt x="9906" y="911399"/>
                </a:lnTo>
                <a:lnTo>
                  <a:pt x="7620" y="912876"/>
                </a:lnTo>
                <a:lnTo>
                  <a:pt x="7620" y="946588"/>
                </a:lnTo>
                <a:lnTo>
                  <a:pt x="9906" y="945034"/>
                </a:lnTo>
                <a:close/>
              </a:path>
              <a:path w="261620" h="959485">
                <a:moveTo>
                  <a:pt x="16002" y="50292"/>
                </a:moveTo>
                <a:lnTo>
                  <a:pt x="15807" y="48992"/>
                </a:lnTo>
                <a:lnTo>
                  <a:pt x="13716" y="47244"/>
                </a:lnTo>
                <a:lnTo>
                  <a:pt x="16002" y="50292"/>
                </a:lnTo>
                <a:close/>
              </a:path>
              <a:path w="261620" h="959485">
                <a:moveTo>
                  <a:pt x="16001" y="61142"/>
                </a:moveTo>
                <a:lnTo>
                  <a:pt x="16002" y="50292"/>
                </a:lnTo>
                <a:lnTo>
                  <a:pt x="13716" y="47244"/>
                </a:lnTo>
                <a:lnTo>
                  <a:pt x="13716" y="59222"/>
                </a:lnTo>
                <a:lnTo>
                  <a:pt x="16001" y="61142"/>
                </a:lnTo>
                <a:close/>
              </a:path>
              <a:path w="261620" h="959485">
                <a:moveTo>
                  <a:pt x="205740" y="784098"/>
                </a:moveTo>
                <a:lnTo>
                  <a:pt x="205740" y="208788"/>
                </a:lnTo>
                <a:lnTo>
                  <a:pt x="204978" y="207264"/>
                </a:lnTo>
                <a:lnTo>
                  <a:pt x="204215" y="206502"/>
                </a:lnTo>
                <a:lnTo>
                  <a:pt x="15807" y="48992"/>
                </a:lnTo>
                <a:lnTo>
                  <a:pt x="16002" y="50292"/>
                </a:lnTo>
                <a:lnTo>
                  <a:pt x="16001" y="61142"/>
                </a:lnTo>
                <a:lnTo>
                  <a:pt x="195834" y="212201"/>
                </a:lnTo>
                <a:lnTo>
                  <a:pt x="195834" y="210312"/>
                </a:lnTo>
                <a:lnTo>
                  <a:pt x="198120" y="214122"/>
                </a:lnTo>
                <a:lnTo>
                  <a:pt x="198120" y="789829"/>
                </a:lnTo>
                <a:lnTo>
                  <a:pt x="203454" y="786384"/>
                </a:lnTo>
                <a:lnTo>
                  <a:pt x="204978" y="785622"/>
                </a:lnTo>
                <a:lnTo>
                  <a:pt x="205740" y="784098"/>
                </a:lnTo>
                <a:close/>
              </a:path>
              <a:path w="261620" h="959485">
                <a:moveTo>
                  <a:pt x="198120" y="214122"/>
                </a:moveTo>
                <a:lnTo>
                  <a:pt x="195834" y="210312"/>
                </a:lnTo>
                <a:lnTo>
                  <a:pt x="195834" y="212201"/>
                </a:lnTo>
                <a:lnTo>
                  <a:pt x="198120" y="214122"/>
                </a:lnTo>
                <a:close/>
              </a:path>
              <a:path w="261620" h="959485">
                <a:moveTo>
                  <a:pt x="198120" y="778002"/>
                </a:moveTo>
                <a:lnTo>
                  <a:pt x="198120" y="214122"/>
                </a:lnTo>
                <a:lnTo>
                  <a:pt x="195834" y="212201"/>
                </a:lnTo>
                <a:lnTo>
                  <a:pt x="195834" y="779487"/>
                </a:lnTo>
                <a:lnTo>
                  <a:pt x="198120" y="778002"/>
                </a:lnTo>
                <a:close/>
              </a:path>
              <a:path w="261620" h="959485">
                <a:moveTo>
                  <a:pt x="198120" y="789829"/>
                </a:moveTo>
                <a:lnTo>
                  <a:pt x="198120" y="778002"/>
                </a:lnTo>
                <a:lnTo>
                  <a:pt x="195834" y="782574"/>
                </a:lnTo>
                <a:lnTo>
                  <a:pt x="195834" y="791305"/>
                </a:lnTo>
                <a:lnTo>
                  <a:pt x="198120" y="789829"/>
                </a:lnTo>
                <a:close/>
              </a:path>
              <a:path w="261620" h="959485">
                <a:moveTo>
                  <a:pt x="244602" y="221742"/>
                </a:moveTo>
                <a:lnTo>
                  <a:pt x="243078" y="217932"/>
                </a:lnTo>
                <a:lnTo>
                  <a:pt x="243118" y="220444"/>
                </a:lnTo>
                <a:lnTo>
                  <a:pt x="244602" y="221742"/>
                </a:lnTo>
                <a:close/>
              </a:path>
              <a:path w="261620" h="959485">
                <a:moveTo>
                  <a:pt x="243118" y="220444"/>
                </a:moveTo>
                <a:lnTo>
                  <a:pt x="243078" y="217932"/>
                </a:lnTo>
                <a:lnTo>
                  <a:pt x="243078" y="220409"/>
                </a:lnTo>
                <a:close/>
              </a:path>
              <a:path w="261620" h="959485">
                <a:moveTo>
                  <a:pt x="244602" y="312039"/>
                </a:moveTo>
                <a:lnTo>
                  <a:pt x="244602" y="221742"/>
                </a:lnTo>
                <a:lnTo>
                  <a:pt x="243118" y="220444"/>
                </a:lnTo>
                <a:lnTo>
                  <a:pt x="244602" y="312039"/>
                </a:lnTo>
                <a:close/>
              </a:path>
              <a:path w="261620" h="959485">
                <a:moveTo>
                  <a:pt x="254508" y="778764"/>
                </a:moveTo>
                <a:lnTo>
                  <a:pt x="252185" y="780342"/>
                </a:lnTo>
                <a:lnTo>
                  <a:pt x="252222" y="782574"/>
                </a:lnTo>
                <a:lnTo>
                  <a:pt x="254508" y="778764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" name="object 5"/>
          <p:cNvSpPr/>
          <p:nvPr/>
        </p:nvSpPr>
        <p:spPr>
          <a:xfrm>
            <a:off x="3307733" y="1545493"/>
            <a:ext cx="455284" cy="7019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3432281" y="2009711"/>
            <a:ext cx="0" cy="253098"/>
          </a:xfrm>
          <a:custGeom>
            <a:avLst/>
            <a:gdLst/>
            <a:ahLst/>
            <a:cxnLst/>
            <a:rect l="l" t="t" r="r" b="b"/>
            <a:pathLst>
              <a:path h="546735">
                <a:moveTo>
                  <a:pt x="0" y="0"/>
                </a:moveTo>
                <a:lnTo>
                  <a:pt x="0" y="546353"/>
                </a:lnTo>
              </a:path>
            </a:pathLst>
          </a:custGeom>
          <a:ln w="44958">
            <a:solidFill>
              <a:srgbClr val="33CCCC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412498" y="2007595"/>
            <a:ext cx="39937" cy="257213"/>
          </a:xfrm>
          <a:custGeom>
            <a:avLst/>
            <a:gdLst/>
            <a:ahLst/>
            <a:cxnLst/>
            <a:rect l="l" t="t" r="r" b="b"/>
            <a:pathLst>
              <a:path w="54610" h="555625">
                <a:moveTo>
                  <a:pt x="54102" y="555498"/>
                </a:moveTo>
                <a:lnTo>
                  <a:pt x="54101" y="0"/>
                </a:lnTo>
                <a:lnTo>
                  <a:pt x="0" y="0"/>
                </a:lnTo>
                <a:lnTo>
                  <a:pt x="0" y="555498"/>
                </a:lnTo>
                <a:lnTo>
                  <a:pt x="4572" y="555498"/>
                </a:lnTo>
                <a:lnTo>
                  <a:pt x="4572" y="9144"/>
                </a:lnTo>
                <a:lnTo>
                  <a:pt x="9905" y="4572"/>
                </a:lnTo>
                <a:lnTo>
                  <a:pt x="9905" y="9144"/>
                </a:lnTo>
                <a:lnTo>
                  <a:pt x="44196" y="9144"/>
                </a:lnTo>
                <a:lnTo>
                  <a:pt x="44196" y="4572"/>
                </a:lnTo>
                <a:lnTo>
                  <a:pt x="49529" y="9144"/>
                </a:lnTo>
                <a:lnTo>
                  <a:pt x="49530" y="555498"/>
                </a:lnTo>
                <a:lnTo>
                  <a:pt x="54102" y="555498"/>
                </a:lnTo>
                <a:close/>
              </a:path>
              <a:path w="54610" h="555625">
                <a:moveTo>
                  <a:pt x="9905" y="9144"/>
                </a:moveTo>
                <a:lnTo>
                  <a:pt x="9905" y="4572"/>
                </a:lnTo>
                <a:lnTo>
                  <a:pt x="4572" y="9144"/>
                </a:lnTo>
                <a:lnTo>
                  <a:pt x="9905" y="9144"/>
                </a:lnTo>
                <a:close/>
              </a:path>
              <a:path w="54610" h="555625">
                <a:moveTo>
                  <a:pt x="9906" y="546354"/>
                </a:moveTo>
                <a:lnTo>
                  <a:pt x="9905" y="9144"/>
                </a:lnTo>
                <a:lnTo>
                  <a:pt x="4572" y="9144"/>
                </a:lnTo>
                <a:lnTo>
                  <a:pt x="4572" y="546354"/>
                </a:lnTo>
                <a:lnTo>
                  <a:pt x="9906" y="546354"/>
                </a:lnTo>
                <a:close/>
              </a:path>
              <a:path w="54610" h="555625">
                <a:moveTo>
                  <a:pt x="49530" y="546354"/>
                </a:moveTo>
                <a:lnTo>
                  <a:pt x="4572" y="546354"/>
                </a:lnTo>
                <a:lnTo>
                  <a:pt x="9906" y="550926"/>
                </a:lnTo>
                <a:lnTo>
                  <a:pt x="9906" y="555498"/>
                </a:lnTo>
                <a:lnTo>
                  <a:pt x="44196" y="555498"/>
                </a:lnTo>
                <a:lnTo>
                  <a:pt x="44196" y="550926"/>
                </a:lnTo>
                <a:lnTo>
                  <a:pt x="49530" y="546354"/>
                </a:lnTo>
                <a:close/>
              </a:path>
              <a:path w="54610" h="555625">
                <a:moveTo>
                  <a:pt x="9906" y="555498"/>
                </a:moveTo>
                <a:lnTo>
                  <a:pt x="9906" y="550926"/>
                </a:lnTo>
                <a:lnTo>
                  <a:pt x="4572" y="546354"/>
                </a:lnTo>
                <a:lnTo>
                  <a:pt x="4572" y="555498"/>
                </a:lnTo>
                <a:lnTo>
                  <a:pt x="9906" y="555498"/>
                </a:lnTo>
                <a:close/>
              </a:path>
              <a:path w="54610" h="555625">
                <a:moveTo>
                  <a:pt x="49529" y="9144"/>
                </a:moveTo>
                <a:lnTo>
                  <a:pt x="44196" y="4572"/>
                </a:lnTo>
                <a:lnTo>
                  <a:pt x="44196" y="9144"/>
                </a:lnTo>
                <a:lnTo>
                  <a:pt x="49529" y="9144"/>
                </a:lnTo>
                <a:close/>
              </a:path>
              <a:path w="54610" h="555625">
                <a:moveTo>
                  <a:pt x="49530" y="546354"/>
                </a:moveTo>
                <a:lnTo>
                  <a:pt x="49529" y="9144"/>
                </a:lnTo>
                <a:lnTo>
                  <a:pt x="44196" y="9144"/>
                </a:lnTo>
                <a:lnTo>
                  <a:pt x="44196" y="546354"/>
                </a:lnTo>
                <a:lnTo>
                  <a:pt x="49530" y="546354"/>
                </a:lnTo>
                <a:close/>
              </a:path>
              <a:path w="54610" h="555625">
                <a:moveTo>
                  <a:pt x="49530" y="555498"/>
                </a:moveTo>
                <a:lnTo>
                  <a:pt x="49530" y="546354"/>
                </a:lnTo>
                <a:lnTo>
                  <a:pt x="44196" y="550926"/>
                </a:lnTo>
                <a:lnTo>
                  <a:pt x="44196" y="555498"/>
                </a:lnTo>
                <a:lnTo>
                  <a:pt x="49530" y="555498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3366245" y="2009711"/>
            <a:ext cx="0" cy="253098"/>
          </a:xfrm>
          <a:custGeom>
            <a:avLst/>
            <a:gdLst/>
            <a:ahLst/>
            <a:cxnLst/>
            <a:rect l="l" t="t" r="r" b="b"/>
            <a:pathLst>
              <a:path h="546735">
                <a:moveTo>
                  <a:pt x="0" y="0"/>
                </a:moveTo>
                <a:lnTo>
                  <a:pt x="0" y="546353"/>
                </a:lnTo>
              </a:path>
            </a:pathLst>
          </a:custGeom>
          <a:ln w="44196">
            <a:solidFill>
              <a:srgbClr val="99CC0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3346184" y="2007595"/>
            <a:ext cx="39937" cy="257213"/>
          </a:xfrm>
          <a:custGeom>
            <a:avLst/>
            <a:gdLst/>
            <a:ahLst/>
            <a:cxnLst/>
            <a:rect l="l" t="t" r="r" b="b"/>
            <a:pathLst>
              <a:path w="54610" h="555625">
                <a:moveTo>
                  <a:pt x="54102" y="555498"/>
                </a:moveTo>
                <a:lnTo>
                  <a:pt x="54101" y="0"/>
                </a:lnTo>
                <a:lnTo>
                  <a:pt x="0" y="0"/>
                </a:lnTo>
                <a:lnTo>
                  <a:pt x="0" y="555498"/>
                </a:lnTo>
                <a:lnTo>
                  <a:pt x="5334" y="555498"/>
                </a:lnTo>
                <a:lnTo>
                  <a:pt x="5333" y="9144"/>
                </a:lnTo>
                <a:lnTo>
                  <a:pt x="9905" y="4572"/>
                </a:lnTo>
                <a:lnTo>
                  <a:pt x="9905" y="9144"/>
                </a:lnTo>
                <a:lnTo>
                  <a:pt x="44957" y="9144"/>
                </a:lnTo>
                <a:lnTo>
                  <a:pt x="44957" y="4572"/>
                </a:lnTo>
                <a:lnTo>
                  <a:pt x="49529" y="9144"/>
                </a:lnTo>
                <a:lnTo>
                  <a:pt x="49530" y="555498"/>
                </a:lnTo>
                <a:lnTo>
                  <a:pt x="54102" y="555498"/>
                </a:lnTo>
                <a:close/>
              </a:path>
              <a:path w="54610" h="555625">
                <a:moveTo>
                  <a:pt x="9905" y="9144"/>
                </a:moveTo>
                <a:lnTo>
                  <a:pt x="9905" y="4572"/>
                </a:lnTo>
                <a:lnTo>
                  <a:pt x="5333" y="9144"/>
                </a:lnTo>
                <a:lnTo>
                  <a:pt x="9905" y="9144"/>
                </a:lnTo>
                <a:close/>
              </a:path>
              <a:path w="54610" h="555625">
                <a:moveTo>
                  <a:pt x="9906" y="546354"/>
                </a:moveTo>
                <a:lnTo>
                  <a:pt x="9905" y="9144"/>
                </a:lnTo>
                <a:lnTo>
                  <a:pt x="5333" y="9144"/>
                </a:lnTo>
                <a:lnTo>
                  <a:pt x="5334" y="546354"/>
                </a:lnTo>
                <a:lnTo>
                  <a:pt x="9906" y="546354"/>
                </a:lnTo>
                <a:close/>
              </a:path>
              <a:path w="54610" h="555625">
                <a:moveTo>
                  <a:pt x="49530" y="546354"/>
                </a:moveTo>
                <a:lnTo>
                  <a:pt x="5334" y="546354"/>
                </a:lnTo>
                <a:lnTo>
                  <a:pt x="9906" y="550926"/>
                </a:lnTo>
                <a:lnTo>
                  <a:pt x="9906" y="555498"/>
                </a:lnTo>
                <a:lnTo>
                  <a:pt x="44958" y="555498"/>
                </a:lnTo>
                <a:lnTo>
                  <a:pt x="44958" y="550926"/>
                </a:lnTo>
                <a:lnTo>
                  <a:pt x="49530" y="546354"/>
                </a:lnTo>
                <a:close/>
              </a:path>
              <a:path w="54610" h="555625">
                <a:moveTo>
                  <a:pt x="9906" y="555498"/>
                </a:moveTo>
                <a:lnTo>
                  <a:pt x="9906" y="550926"/>
                </a:lnTo>
                <a:lnTo>
                  <a:pt x="5334" y="546354"/>
                </a:lnTo>
                <a:lnTo>
                  <a:pt x="5334" y="555498"/>
                </a:lnTo>
                <a:lnTo>
                  <a:pt x="9906" y="555498"/>
                </a:lnTo>
                <a:close/>
              </a:path>
              <a:path w="54610" h="555625">
                <a:moveTo>
                  <a:pt x="49529" y="9144"/>
                </a:moveTo>
                <a:lnTo>
                  <a:pt x="44957" y="4572"/>
                </a:lnTo>
                <a:lnTo>
                  <a:pt x="44957" y="9144"/>
                </a:lnTo>
                <a:lnTo>
                  <a:pt x="49529" y="9144"/>
                </a:lnTo>
                <a:close/>
              </a:path>
              <a:path w="54610" h="555625">
                <a:moveTo>
                  <a:pt x="49530" y="546354"/>
                </a:moveTo>
                <a:lnTo>
                  <a:pt x="49529" y="9144"/>
                </a:lnTo>
                <a:lnTo>
                  <a:pt x="44957" y="9144"/>
                </a:lnTo>
                <a:lnTo>
                  <a:pt x="44958" y="546354"/>
                </a:lnTo>
                <a:lnTo>
                  <a:pt x="49530" y="546354"/>
                </a:lnTo>
                <a:close/>
              </a:path>
              <a:path w="54610" h="555625">
                <a:moveTo>
                  <a:pt x="49530" y="555498"/>
                </a:moveTo>
                <a:lnTo>
                  <a:pt x="49530" y="546354"/>
                </a:lnTo>
                <a:lnTo>
                  <a:pt x="44958" y="550926"/>
                </a:lnTo>
                <a:lnTo>
                  <a:pt x="44958" y="555498"/>
                </a:lnTo>
                <a:lnTo>
                  <a:pt x="49530" y="555498"/>
                </a:lnTo>
                <a:close/>
              </a:path>
            </a:pathLst>
          </a:custGeom>
          <a:solidFill>
            <a:srgbClr val="99CC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3030773" y="1933165"/>
            <a:ext cx="1115919" cy="590267"/>
          </a:xfrm>
          <a:custGeom>
            <a:avLst/>
            <a:gdLst/>
            <a:ahLst/>
            <a:cxnLst/>
            <a:rect l="l" t="t" r="r" b="b"/>
            <a:pathLst>
              <a:path w="1525904" h="1275079">
                <a:moveTo>
                  <a:pt x="1525524" y="1274825"/>
                </a:moveTo>
                <a:lnTo>
                  <a:pt x="1524000" y="1232153"/>
                </a:lnTo>
                <a:lnTo>
                  <a:pt x="48768" y="1226058"/>
                </a:lnTo>
                <a:lnTo>
                  <a:pt x="48768" y="5333"/>
                </a:lnTo>
                <a:lnTo>
                  <a:pt x="0" y="0"/>
                </a:lnTo>
                <a:lnTo>
                  <a:pt x="4572" y="1270254"/>
                </a:lnTo>
                <a:lnTo>
                  <a:pt x="1525524" y="1274825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3026873" y="1931048"/>
            <a:ext cx="1122885" cy="594971"/>
          </a:xfrm>
          <a:custGeom>
            <a:avLst/>
            <a:gdLst/>
            <a:ahLst/>
            <a:cxnLst/>
            <a:rect l="l" t="t" r="r" b="b"/>
            <a:pathLst>
              <a:path w="1535429" h="1285239">
                <a:moveTo>
                  <a:pt x="58674" y="1226076"/>
                </a:moveTo>
                <a:lnTo>
                  <a:pt x="58674" y="6857"/>
                </a:lnTo>
                <a:lnTo>
                  <a:pt x="57150" y="5333"/>
                </a:lnTo>
                <a:lnTo>
                  <a:pt x="54864" y="4571"/>
                </a:lnTo>
                <a:lnTo>
                  <a:pt x="5334" y="0"/>
                </a:lnTo>
                <a:lnTo>
                  <a:pt x="3810" y="0"/>
                </a:lnTo>
                <a:lnTo>
                  <a:pt x="3048" y="761"/>
                </a:lnTo>
                <a:lnTo>
                  <a:pt x="1524" y="1523"/>
                </a:lnTo>
                <a:lnTo>
                  <a:pt x="762" y="2285"/>
                </a:lnTo>
                <a:lnTo>
                  <a:pt x="0" y="3809"/>
                </a:lnTo>
                <a:lnTo>
                  <a:pt x="0" y="4571"/>
                </a:lnTo>
                <a:lnTo>
                  <a:pt x="4572" y="9905"/>
                </a:lnTo>
                <a:lnTo>
                  <a:pt x="9906" y="4571"/>
                </a:lnTo>
                <a:lnTo>
                  <a:pt x="9926" y="10400"/>
                </a:lnTo>
                <a:lnTo>
                  <a:pt x="49530" y="14055"/>
                </a:lnTo>
                <a:lnTo>
                  <a:pt x="49530" y="9905"/>
                </a:lnTo>
                <a:lnTo>
                  <a:pt x="54102" y="14477"/>
                </a:lnTo>
                <a:lnTo>
                  <a:pt x="54102" y="1226057"/>
                </a:lnTo>
                <a:lnTo>
                  <a:pt x="58674" y="1226076"/>
                </a:lnTo>
                <a:close/>
              </a:path>
              <a:path w="1535429" h="1285239">
                <a:moveTo>
                  <a:pt x="9926" y="10400"/>
                </a:moveTo>
                <a:lnTo>
                  <a:pt x="9906" y="4571"/>
                </a:lnTo>
                <a:lnTo>
                  <a:pt x="4572" y="9905"/>
                </a:lnTo>
                <a:lnTo>
                  <a:pt x="9926" y="10400"/>
                </a:lnTo>
                <a:close/>
              </a:path>
              <a:path w="1535429" h="1285239">
                <a:moveTo>
                  <a:pt x="14461" y="1270267"/>
                </a:moveTo>
                <a:lnTo>
                  <a:pt x="9926" y="10400"/>
                </a:lnTo>
                <a:lnTo>
                  <a:pt x="4572" y="9905"/>
                </a:lnTo>
                <a:lnTo>
                  <a:pt x="4572" y="1093361"/>
                </a:lnTo>
                <a:lnTo>
                  <a:pt x="5334" y="1277873"/>
                </a:lnTo>
                <a:lnTo>
                  <a:pt x="6858" y="1279397"/>
                </a:lnTo>
                <a:lnTo>
                  <a:pt x="9906" y="1279397"/>
                </a:lnTo>
                <a:lnTo>
                  <a:pt x="9906" y="1270253"/>
                </a:lnTo>
                <a:lnTo>
                  <a:pt x="14461" y="1270267"/>
                </a:lnTo>
                <a:close/>
              </a:path>
              <a:path w="1535429" h="1285239">
                <a:moveTo>
                  <a:pt x="14478" y="1274825"/>
                </a:moveTo>
                <a:lnTo>
                  <a:pt x="14461" y="1270267"/>
                </a:lnTo>
                <a:lnTo>
                  <a:pt x="9906" y="1270253"/>
                </a:lnTo>
                <a:lnTo>
                  <a:pt x="14478" y="1274825"/>
                </a:lnTo>
                <a:close/>
              </a:path>
              <a:path w="1535429" h="1285239">
                <a:moveTo>
                  <a:pt x="14478" y="1279414"/>
                </a:moveTo>
                <a:lnTo>
                  <a:pt x="14478" y="1274825"/>
                </a:lnTo>
                <a:lnTo>
                  <a:pt x="9906" y="1270253"/>
                </a:lnTo>
                <a:lnTo>
                  <a:pt x="9906" y="1279397"/>
                </a:lnTo>
                <a:lnTo>
                  <a:pt x="14478" y="1279414"/>
                </a:lnTo>
                <a:close/>
              </a:path>
              <a:path w="1535429" h="1285239">
                <a:moveTo>
                  <a:pt x="1530858" y="1284729"/>
                </a:moveTo>
                <a:lnTo>
                  <a:pt x="1530858" y="1274825"/>
                </a:lnTo>
                <a:lnTo>
                  <a:pt x="1525524" y="1280159"/>
                </a:lnTo>
                <a:lnTo>
                  <a:pt x="1525336" y="1274809"/>
                </a:lnTo>
                <a:lnTo>
                  <a:pt x="14461" y="1270267"/>
                </a:lnTo>
                <a:lnTo>
                  <a:pt x="14478" y="1279414"/>
                </a:lnTo>
                <a:lnTo>
                  <a:pt x="1530858" y="1284729"/>
                </a:lnTo>
                <a:close/>
              </a:path>
              <a:path w="1535429" h="1285239">
                <a:moveTo>
                  <a:pt x="54102" y="14477"/>
                </a:moveTo>
                <a:lnTo>
                  <a:pt x="49530" y="9905"/>
                </a:lnTo>
                <a:lnTo>
                  <a:pt x="49530" y="14055"/>
                </a:lnTo>
                <a:lnTo>
                  <a:pt x="54102" y="14477"/>
                </a:lnTo>
                <a:close/>
              </a:path>
              <a:path w="1535429" h="1285239">
                <a:moveTo>
                  <a:pt x="58674" y="1235220"/>
                </a:moveTo>
                <a:lnTo>
                  <a:pt x="58674" y="1230629"/>
                </a:lnTo>
                <a:lnTo>
                  <a:pt x="54102" y="1226057"/>
                </a:lnTo>
                <a:lnTo>
                  <a:pt x="54102" y="14477"/>
                </a:lnTo>
                <a:lnTo>
                  <a:pt x="49530" y="14055"/>
                </a:lnTo>
                <a:lnTo>
                  <a:pt x="49530" y="1232915"/>
                </a:lnTo>
                <a:lnTo>
                  <a:pt x="51816" y="1235201"/>
                </a:lnTo>
                <a:lnTo>
                  <a:pt x="58674" y="1235220"/>
                </a:lnTo>
                <a:close/>
              </a:path>
              <a:path w="1535429" h="1285239">
                <a:moveTo>
                  <a:pt x="1535430" y="1280921"/>
                </a:moveTo>
                <a:lnTo>
                  <a:pt x="1535430" y="1279397"/>
                </a:lnTo>
                <a:lnTo>
                  <a:pt x="1533906" y="1236725"/>
                </a:lnTo>
                <a:lnTo>
                  <a:pt x="1533906" y="1234439"/>
                </a:lnTo>
                <a:lnTo>
                  <a:pt x="1531620" y="1232153"/>
                </a:lnTo>
                <a:lnTo>
                  <a:pt x="54102" y="1226057"/>
                </a:lnTo>
                <a:lnTo>
                  <a:pt x="58674" y="1230629"/>
                </a:lnTo>
                <a:lnTo>
                  <a:pt x="58674" y="1235220"/>
                </a:lnTo>
                <a:lnTo>
                  <a:pt x="1524000" y="1241275"/>
                </a:lnTo>
                <a:lnTo>
                  <a:pt x="1524000" y="1236725"/>
                </a:lnTo>
                <a:lnTo>
                  <a:pt x="1529334" y="1241297"/>
                </a:lnTo>
                <a:lnTo>
                  <a:pt x="1529334" y="1274821"/>
                </a:lnTo>
                <a:lnTo>
                  <a:pt x="1530858" y="1274825"/>
                </a:lnTo>
                <a:lnTo>
                  <a:pt x="1530858" y="1284729"/>
                </a:lnTo>
                <a:lnTo>
                  <a:pt x="1531620" y="1284731"/>
                </a:lnTo>
                <a:lnTo>
                  <a:pt x="1533144" y="1283969"/>
                </a:lnTo>
                <a:lnTo>
                  <a:pt x="1534668" y="1282445"/>
                </a:lnTo>
                <a:lnTo>
                  <a:pt x="1535430" y="1280921"/>
                </a:lnTo>
                <a:close/>
              </a:path>
              <a:path w="1535429" h="1285239">
                <a:moveTo>
                  <a:pt x="1529334" y="1241297"/>
                </a:moveTo>
                <a:lnTo>
                  <a:pt x="1524000" y="1236725"/>
                </a:lnTo>
                <a:lnTo>
                  <a:pt x="1524159" y="1241276"/>
                </a:lnTo>
                <a:lnTo>
                  <a:pt x="1529334" y="1241297"/>
                </a:lnTo>
                <a:close/>
              </a:path>
              <a:path w="1535429" h="1285239">
                <a:moveTo>
                  <a:pt x="1524159" y="1241276"/>
                </a:moveTo>
                <a:lnTo>
                  <a:pt x="1524000" y="1236725"/>
                </a:lnTo>
                <a:lnTo>
                  <a:pt x="1524000" y="1241275"/>
                </a:lnTo>
                <a:lnTo>
                  <a:pt x="1524159" y="1241276"/>
                </a:lnTo>
                <a:close/>
              </a:path>
              <a:path w="1535429" h="1285239">
                <a:moveTo>
                  <a:pt x="1529334" y="1274821"/>
                </a:moveTo>
                <a:lnTo>
                  <a:pt x="1529334" y="1241297"/>
                </a:lnTo>
                <a:lnTo>
                  <a:pt x="1524159" y="1241276"/>
                </a:lnTo>
                <a:lnTo>
                  <a:pt x="1525336" y="1274809"/>
                </a:lnTo>
                <a:lnTo>
                  <a:pt x="1529334" y="1274821"/>
                </a:lnTo>
                <a:close/>
              </a:path>
              <a:path w="1535429" h="1285239">
                <a:moveTo>
                  <a:pt x="1530858" y="1274825"/>
                </a:moveTo>
                <a:lnTo>
                  <a:pt x="1525336" y="1274809"/>
                </a:lnTo>
                <a:lnTo>
                  <a:pt x="1525524" y="1280159"/>
                </a:lnTo>
                <a:lnTo>
                  <a:pt x="1530858" y="1274825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965574" y="1933164"/>
            <a:ext cx="1134031" cy="637595"/>
          </a:xfrm>
          <a:custGeom>
            <a:avLst/>
            <a:gdLst/>
            <a:ahLst/>
            <a:cxnLst/>
            <a:rect l="l" t="t" r="r" b="b"/>
            <a:pathLst>
              <a:path w="1550670" h="1377315">
                <a:moveTo>
                  <a:pt x="1550670" y="1368552"/>
                </a:moveTo>
                <a:lnTo>
                  <a:pt x="1547622" y="1331975"/>
                </a:lnTo>
                <a:lnTo>
                  <a:pt x="49530" y="1331976"/>
                </a:lnTo>
                <a:lnTo>
                  <a:pt x="45720" y="2285"/>
                </a:lnTo>
                <a:lnTo>
                  <a:pt x="0" y="0"/>
                </a:lnTo>
                <a:lnTo>
                  <a:pt x="4572" y="1376934"/>
                </a:lnTo>
                <a:lnTo>
                  <a:pt x="1550670" y="1368552"/>
                </a:lnTo>
                <a:close/>
              </a:path>
            </a:pathLst>
          </a:custGeom>
          <a:solidFill>
            <a:srgbClr val="99CC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962230" y="1931048"/>
            <a:ext cx="1141460" cy="641710"/>
          </a:xfrm>
          <a:custGeom>
            <a:avLst/>
            <a:gdLst/>
            <a:ahLst/>
            <a:cxnLst/>
            <a:rect l="l" t="t" r="r" b="b"/>
            <a:pathLst>
              <a:path w="1560829" h="1386204">
                <a:moveTo>
                  <a:pt x="58663" y="1331975"/>
                </a:moveTo>
                <a:lnTo>
                  <a:pt x="55626" y="3809"/>
                </a:lnTo>
                <a:lnTo>
                  <a:pt x="53340" y="1523"/>
                </a:lnTo>
                <a:lnTo>
                  <a:pt x="48768" y="1449"/>
                </a:lnTo>
                <a:lnTo>
                  <a:pt x="8382" y="124"/>
                </a:lnTo>
                <a:lnTo>
                  <a:pt x="3048" y="0"/>
                </a:lnTo>
                <a:lnTo>
                  <a:pt x="1524" y="1523"/>
                </a:lnTo>
                <a:lnTo>
                  <a:pt x="0" y="2285"/>
                </a:lnTo>
                <a:lnTo>
                  <a:pt x="0" y="4571"/>
                </a:lnTo>
                <a:lnTo>
                  <a:pt x="4572" y="9905"/>
                </a:lnTo>
                <a:lnTo>
                  <a:pt x="9144" y="4571"/>
                </a:lnTo>
                <a:lnTo>
                  <a:pt x="9162" y="10059"/>
                </a:lnTo>
                <a:lnTo>
                  <a:pt x="45720" y="11277"/>
                </a:lnTo>
                <a:lnTo>
                  <a:pt x="45720" y="6857"/>
                </a:lnTo>
                <a:lnTo>
                  <a:pt x="50292" y="11429"/>
                </a:lnTo>
                <a:lnTo>
                  <a:pt x="50292" y="1341119"/>
                </a:lnTo>
                <a:lnTo>
                  <a:pt x="51054" y="1341881"/>
                </a:lnTo>
                <a:lnTo>
                  <a:pt x="54102" y="1341881"/>
                </a:lnTo>
                <a:lnTo>
                  <a:pt x="54102" y="1331975"/>
                </a:lnTo>
                <a:lnTo>
                  <a:pt x="58663" y="1331975"/>
                </a:lnTo>
                <a:close/>
              </a:path>
              <a:path w="1560829" h="1386204">
                <a:moveTo>
                  <a:pt x="9162" y="10059"/>
                </a:moveTo>
                <a:lnTo>
                  <a:pt x="9144" y="4571"/>
                </a:lnTo>
                <a:lnTo>
                  <a:pt x="4572" y="9905"/>
                </a:lnTo>
                <a:lnTo>
                  <a:pt x="9162" y="10059"/>
                </a:lnTo>
                <a:close/>
              </a:path>
              <a:path w="1560829" h="1386204">
                <a:moveTo>
                  <a:pt x="13698" y="1376149"/>
                </a:moveTo>
                <a:lnTo>
                  <a:pt x="9162" y="10059"/>
                </a:lnTo>
                <a:lnTo>
                  <a:pt x="4572" y="9905"/>
                </a:lnTo>
                <a:lnTo>
                  <a:pt x="4572" y="1382267"/>
                </a:lnTo>
                <a:lnTo>
                  <a:pt x="5334" y="1383791"/>
                </a:lnTo>
                <a:lnTo>
                  <a:pt x="6858" y="1385315"/>
                </a:lnTo>
                <a:lnTo>
                  <a:pt x="8382" y="1386077"/>
                </a:lnTo>
                <a:lnTo>
                  <a:pt x="9144" y="1386077"/>
                </a:lnTo>
                <a:lnTo>
                  <a:pt x="9144" y="1376171"/>
                </a:lnTo>
                <a:lnTo>
                  <a:pt x="13698" y="1376149"/>
                </a:lnTo>
                <a:close/>
              </a:path>
              <a:path w="1560829" h="1386204">
                <a:moveTo>
                  <a:pt x="13716" y="1381505"/>
                </a:moveTo>
                <a:lnTo>
                  <a:pt x="13698" y="1376149"/>
                </a:lnTo>
                <a:lnTo>
                  <a:pt x="9144" y="1376171"/>
                </a:lnTo>
                <a:lnTo>
                  <a:pt x="13716" y="1381505"/>
                </a:lnTo>
                <a:close/>
              </a:path>
              <a:path w="1560829" h="1386204">
                <a:moveTo>
                  <a:pt x="13716" y="1386055"/>
                </a:moveTo>
                <a:lnTo>
                  <a:pt x="13716" y="1381505"/>
                </a:lnTo>
                <a:lnTo>
                  <a:pt x="9144" y="1376171"/>
                </a:lnTo>
                <a:lnTo>
                  <a:pt x="9144" y="1386077"/>
                </a:lnTo>
                <a:lnTo>
                  <a:pt x="13716" y="1386055"/>
                </a:lnTo>
                <a:close/>
              </a:path>
              <a:path w="1560829" h="1386204">
                <a:moveTo>
                  <a:pt x="1555242" y="1378465"/>
                </a:moveTo>
                <a:lnTo>
                  <a:pt x="1555242" y="1368551"/>
                </a:lnTo>
                <a:lnTo>
                  <a:pt x="1550670" y="1373885"/>
                </a:lnTo>
                <a:lnTo>
                  <a:pt x="1550227" y="1368576"/>
                </a:lnTo>
                <a:lnTo>
                  <a:pt x="13698" y="1376149"/>
                </a:lnTo>
                <a:lnTo>
                  <a:pt x="13716" y="1386055"/>
                </a:lnTo>
                <a:lnTo>
                  <a:pt x="1555242" y="1378465"/>
                </a:lnTo>
                <a:close/>
              </a:path>
              <a:path w="1560829" h="1386204">
                <a:moveTo>
                  <a:pt x="50292" y="11429"/>
                </a:moveTo>
                <a:lnTo>
                  <a:pt x="45720" y="6857"/>
                </a:lnTo>
                <a:lnTo>
                  <a:pt x="45730" y="11277"/>
                </a:lnTo>
                <a:lnTo>
                  <a:pt x="50292" y="11429"/>
                </a:lnTo>
                <a:close/>
              </a:path>
              <a:path w="1560829" h="1386204">
                <a:moveTo>
                  <a:pt x="50292" y="1341119"/>
                </a:moveTo>
                <a:lnTo>
                  <a:pt x="50292" y="11429"/>
                </a:lnTo>
                <a:lnTo>
                  <a:pt x="45730" y="11277"/>
                </a:lnTo>
                <a:lnTo>
                  <a:pt x="48768" y="1339595"/>
                </a:lnTo>
                <a:lnTo>
                  <a:pt x="50292" y="1341119"/>
                </a:lnTo>
                <a:close/>
              </a:path>
              <a:path w="1560829" h="1386204">
                <a:moveTo>
                  <a:pt x="58674" y="1336547"/>
                </a:moveTo>
                <a:lnTo>
                  <a:pt x="58663" y="1331975"/>
                </a:lnTo>
                <a:lnTo>
                  <a:pt x="54102" y="1331975"/>
                </a:lnTo>
                <a:lnTo>
                  <a:pt x="58674" y="1336547"/>
                </a:lnTo>
                <a:close/>
              </a:path>
              <a:path w="1560829" h="1386204">
                <a:moveTo>
                  <a:pt x="58674" y="1341881"/>
                </a:moveTo>
                <a:lnTo>
                  <a:pt x="58663" y="1336537"/>
                </a:lnTo>
                <a:lnTo>
                  <a:pt x="54102" y="1331975"/>
                </a:lnTo>
                <a:lnTo>
                  <a:pt x="54102" y="1341881"/>
                </a:lnTo>
                <a:lnTo>
                  <a:pt x="58674" y="1341881"/>
                </a:lnTo>
                <a:close/>
              </a:path>
              <a:path w="1560829" h="1386204">
                <a:moveTo>
                  <a:pt x="1560576" y="1373885"/>
                </a:moveTo>
                <a:lnTo>
                  <a:pt x="1560576" y="1373123"/>
                </a:lnTo>
                <a:lnTo>
                  <a:pt x="1556766" y="1336547"/>
                </a:lnTo>
                <a:lnTo>
                  <a:pt x="1556766" y="1334261"/>
                </a:lnTo>
                <a:lnTo>
                  <a:pt x="1554480" y="1331975"/>
                </a:lnTo>
                <a:lnTo>
                  <a:pt x="58663" y="1331975"/>
                </a:lnTo>
                <a:lnTo>
                  <a:pt x="58674" y="1341881"/>
                </a:lnTo>
                <a:lnTo>
                  <a:pt x="1547622" y="1341881"/>
                </a:lnTo>
                <a:lnTo>
                  <a:pt x="1547622" y="1337309"/>
                </a:lnTo>
                <a:lnTo>
                  <a:pt x="1552194" y="1341881"/>
                </a:lnTo>
                <a:lnTo>
                  <a:pt x="1552194" y="1368567"/>
                </a:lnTo>
                <a:lnTo>
                  <a:pt x="1555242" y="1368551"/>
                </a:lnTo>
                <a:lnTo>
                  <a:pt x="1555242" y="1378465"/>
                </a:lnTo>
                <a:lnTo>
                  <a:pt x="1556766" y="1378457"/>
                </a:lnTo>
                <a:lnTo>
                  <a:pt x="1558290" y="1377695"/>
                </a:lnTo>
                <a:lnTo>
                  <a:pt x="1559052" y="1376933"/>
                </a:lnTo>
                <a:lnTo>
                  <a:pt x="1560576" y="1373885"/>
                </a:lnTo>
                <a:close/>
              </a:path>
              <a:path w="1560829" h="1386204">
                <a:moveTo>
                  <a:pt x="1552194" y="1341881"/>
                </a:moveTo>
                <a:lnTo>
                  <a:pt x="1547622" y="1337309"/>
                </a:lnTo>
                <a:lnTo>
                  <a:pt x="1548003" y="1341881"/>
                </a:lnTo>
                <a:lnTo>
                  <a:pt x="1552194" y="1341881"/>
                </a:lnTo>
                <a:close/>
              </a:path>
              <a:path w="1560829" h="1386204">
                <a:moveTo>
                  <a:pt x="1548003" y="1341881"/>
                </a:moveTo>
                <a:lnTo>
                  <a:pt x="1547622" y="1337309"/>
                </a:lnTo>
                <a:lnTo>
                  <a:pt x="1547622" y="1341881"/>
                </a:lnTo>
                <a:lnTo>
                  <a:pt x="1548003" y="1341881"/>
                </a:lnTo>
                <a:close/>
              </a:path>
              <a:path w="1560829" h="1386204">
                <a:moveTo>
                  <a:pt x="1552194" y="1368567"/>
                </a:moveTo>
                <a:lnTo>
                  <a:pt x="1552194" y="1341881"/>
                </a:lnTo>
                <a:lnTo>
                  <a:pt x="1548003" y="1341881"/>
                </a:lnTo>
                <a:lnTo>
                  <a:pt x="1550227" y="1368576"/>
                </a:lnTo>
                <a:lnTo>
                  <a:pt x="1552194" y="1368567"/>
                </a:lnTo>
                <a:close/>
              </a:path>
              <a:path w="1560829" h="1386204">
                <a:moveTo>
                  <a:pt x="1555242" y="1368551"/>
                </a:moveTo>
                <a:lnTo>
                  <a:pt x="1550227" y="1368576"/>
                </a:lnTo>
                <a:lnTo>
                  <a:pt x="1550670" y="1373885"/>
                </a:lnTo>
                <a:lnTo>
                  <a:pt x="1555242" y="1368551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2919321" y="2252402"/>
            <a:ext cx="92878" cy="141981"/>
          </a:xfrm>
          <a:custGeom>
            <a:avLst/>
            <a:gdLst/>
            <a:ahLst/>
            <a:cxnLst/>
            <a:rect l="l" t="t" r="r" b="b"/>
            <a:pathLst>
              <a:path w="127000" h="306704">
                <a:moveTo>
                  <a:pt x="126492" y="230124"/>
                </a:moveTo>
                <a:lnTo>
                  <a:pt x="0" y="230124"/>
                </a:lnTo>
                <a:lnTo>
                  <a:pt x="58674" y="300815"/>
                </a:lnTo>
                <a:lnTo>
                  <a:pt x="58674" y="242315"/>
                </a:lnTo>
                <a:lnTo>
                  <a:pt x="67817" y="242315"/>
                </a:lnTo>
                <a:lnTo>
                  <a:pt x="67817" y="300816"/>
                </a:lnTo>
                <a:lnTo>
                  <a:pt x="126492" y="230124"/>
                </a:lnTo>
                <a:close/>
              </a:path>
              <a:path w="127000" h="306704">
                <a:moveTo>
                  <a:pt x="67817" y="230124"/>
                </a:moveTo>
                <a:lnTo>
                  <a:pt x="67817" y="0"/>
                </a:lnTo>
                <a:lnTo>
                  <a:pt x="58674" y="0"/>
                </a:lnTo>
                <a:lnTo>
                  <a:pt x="58674" y="230124"/>
                </a:lnTo>
                <a:lnTo>
                  <a:pt x="67817" y="230124"/>
                </a:lnTo>
                <a:close/>
              </a:path>
              <a:path w="127000" h="306704">
                <a:moveTo>
                  <a:pt x="67817" y="300816"/>
                </a:moveTo>
                <a:lnTo>
                  <a:pt x="67817" y="242315"/>
                </a:lnTo>
                <a:lnTo>
                  <a:pt x="58674" y="242315"/>
                </a:lnTo>
                <a:lnTo>
                  <a:pt x="58674" y="300815"/>
                </a:lnTo>
                <a:lnTo>
                  <a:pt x="63246" y="306324"/>
                </a:lnTo>
                <a:lnTo>
                  <a:pt x="67817" y="3008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3010712" y="2150810"/>
            <a:ext cx="93342" cy="189309"/>
          </a:xfrm>
          <a:custGeom>
            <a:avLst/>
            <a:gdLst/>
            <a:ahLst/>
            <a:cxnLst/>
            <a:rect l="l" t="t" r="r" b="b"/>
            <a:pathLst>
              <a:path w="127635" h="408939">
                <a:moveTo>
                  <a:pt x="127253" y="76200"/>
                </a:moveTo>
                <a:lnTo>
                  <a:pt x="64007" y="0"/>
                </a:lnTo>
                <a:lnTo>
                  <a:pt x="0" y="76200"/>
                </a:lnTo>
                <a:lnTo>
                  <a:pt x="58673" y="76200"/>
                </a:lnTo>
                <a:lnTo>
                  <a:pt x="58673" y="63246"/>
                </a:lnTo>
                <a:lnTo>
                  <a:pt x="68579" y="63246"/>
                </a:lnTo>
                <a:lnTo>
                  <a:pt x="68579" y="76200"/>
                </a:lnTo>
                <a:lnTo>
                  <a:pt x="127253" y="76200"/>
                </a:lnTo>
                <a:close/>
              </a:path>
              <a:path w="127635" h="408939">
                <a:moveTo>
                  <a:pt x="68579" y="76200"/>
                </a:moveTo>
                <a:lnTo>
                  <a:pt x="68579" y="63246"/>
                </a:lnTo>
                <a:lnTo>
                  <a:pt x="58673" y="63246"/>
                </a:lnTo>
                <a:lnTo>
                  <a:pt x="58673" y="76200"/>
                </a:lnTo>
                <a:lnTo>
                  <a:pt x="68579" y="76200"/>
                </a:lnTo>
                <a:close/>
              </a:path>
              <a:path w="127635" h="408939">
                <a:moveTo>
                  <a:pt x="68580" y="408432"/>
                </a:moveTo>
                <a:lnTo>
                  <a:pt x="68579" y="76200"/>
                </a:lnTo>
                <a:lnTo>
                  <a:pt x="58673" y="76200"/>
                </a:lnTo>
                <a:lnTo>
                  <a:pt x="58673" y="408432"/>
                </a:lnTo>
                <a:lnTo>
                  <a:pt x="68580" y="4084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3398567" y="2086257"/>
            <a:ext cx="93342" cy="139924"/>
          </a:xfrm>
          <a:custGeom>
            <a:avLst/>
            <a:gdLst/>
            <a:ahLst/>
            <a:cxnLst/>
            <a:rect l="l" t="t" r="r" b="b"/>
            <a:pathLst>
              <a:path w="127635" h="302260">
                <a:moveTo>
                  <a:pt x="127253" y="76200"/>
                </a:moveTo>
                <a:lnTo>
                  <a:pt x="63246" y="0"/>
                </a:lnTo>
                <a:lnTo>
                  <a:pt x="0" y="76200"/>
                </a:lnTo>
                <a:lnTo>
                  <a:pt x="58674" y="76200"/>
                </a:lnTo>
                <a:lnTo>
                  <a:pt x="58674" y="63246"/>
                </a:lnTo>
                <a:lnTo>
                  <a:pt x="68579" y="63246"/>
                </a:lnTo>
                <a:lnTo>
                  <a:pt x="68579" y="76200"/>
                </a:lnTo>
                <a:lnTo>
                  <a:pt x="127253" y="76200"/>
                </a:lnTo>
                <a:close/>
              </a:path>
              <a:path w="127635" h="302260">
                <a:moveTo>
                  <a:pt x="68579" y="76200"/>
                </a:moveTo>
                <a:lnTo>
                  <a:pt x="68579" y="63246"/>
                </a:lnTo>
                <a:lnTo>
                  <a:pt x="58674" y="63246"/>
                </a:lnTo>
                <a:lnTo>
                  <a:pt x="58674" y="76200"/>
                </a:lnTo>
                <a:lnTo>
                  <a:pt x="68579" y="76200"/>
                </a:lnTo>
                <a:close/>
              </a:path>
              <a:path w="127635" h="302260">
                <a:moveTo>
                  <a:pt x="68579" y="301751"/>
                </a:moveTo>
                <a:lnTo>
                  <a:pt x="68579" y="76200"/>
                </a:lnTo>
                <a:lnTo>
                  <a:pt x="58674" y="76200"/>
                </a:lnTo>
                <a:lnTo>
                  <a:pt x="58674" y="301751"/>
                </a:lnTo>
                <a:lnTo>
                  <a:pt x="68579" y="30175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212998" y="2262631"/>
            <a:ext cx="1123814" cy="325118"/>
          </a:xfrm>
          <a:custGeom>
            <a:avLst/>
            <a:gdLst/>
            <a:ahLst/>
            <a:cxnLst/>
            <a:rect l="l" t="t" r="r" b="b"/>
            <a:pathLst>
              <a:path w="1536700" h="702309">
                <a:moveTo>
                  <a:pt x="0" y="0"/>
                </a:moveTo>
                <a:lnTo>
                  <a:pt x="0" y="701802"/>
                </a:lnTo>
                <a:lnTo>
                  <a:pt x="1536191" y="701802"/>
                </a:lnTo>
                <a:lnTo>
                  <a:pt x="1536191" y="0"/>
                </a:lnTo>
                <a:lnTo>
                  <a:pt x="0" y="0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3313863" y="2086964"/>
            <a:ext cx="93342" cy="141981"/>
          </a:xfrm>
          <a:custGeom>
            <a:avLst/>
            <a:gdLst/>
            <a:ahLst/>
            <a:cxnLst/>
            <a:rect l="l" t="t" r="r" b="b"/>
            <a:pathLst>
              <a:path w="127635" h="306704">
                <a:moveTo>
                  <a:pt x="127253" y="230124"/>
                </a:moveTo>
                <a:lnTo>
                  <a:pt x="0" y="230124"/>
                </a:lnTo>
                <a:lnTo>
                  <a:pt x="58674" y="300815"/>
                </a:lnTo>
                <a:lnTo>
                  <a:pt x="58674" y="243077"/>
                </a:lnTo>
                <a:lnTo>
                  <a:pt x="68579" y="243077"/>
                </a:lnTo>
                <a:lnTo>
                  <a:pt x="68579" y="299974"/>
                </a:lnTo>
                <a:lnTo>
                  <a:pt x="127253" y="230124"/>
                </a:lnTo>
                <a:close/>
              </a:path>
              <a:path w="127635" h="306704">
                <a:moveTo>
                  <a:pt x="68579" y="230124"/>
                </a:moveTo>
                <a:lnTo>
                  <a:pt x="68579" y="0"/>
                </a:lnTo>
                <a:lnTo>
                  <a:pt x="58674" y="0"/>
                </a:lnTo>
                <a:lnTo>
                  <a:pt x="58674" y="230124"/>
                </a:lnTo>
                <a:lnTo>
                  <a:pt x="68579" y="230124"/>
                </a:lnTo>
                <a:close/>
              </a:path>
              <a:path w="127635" h="306704">
                <a:moveTo>
                  <a:pt x="68579" y="299974"/>
                </a:moveTo>
                <a:lnTo>
                  <a:pt x="68579" y="243077"/>
                </a:lnTo>
                <a:lnTo>
                  <a:pt x="58674" y="243077"/>
                </a:lnTo>
                <a:lnTo>
                  <a:pt x="58674" y="300815"/>
                </a:lnTo>
                <a:lnTo>
                  <a:pt x="63246" y="306324"/>
                </a:lnTo>
                <a:lnTo>
                  <a:pt x="68579" y="299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2938825" y="1174753"/>
            <a:ext cx="216404" cy="835722"/>
          </a:xfrm>
          <a:custGeom>
            <a:avLst/>
            <a:gdLst/>
            <a:ahLst/>
            <a:cxnLst/>
            <a:rect l="l" t="t" r="r" b="b"/>
            <a:pathLst>
              <a:path w="295910" h="1805304">
                <a:moveTo>
                  <a:pt x="0" y="0"/>
                </a:moveTo>
                <a:lnTo>
                  <a:pt x="0" y="1805177"/>
                </a:lnTo>
                <a:lnTo>
                  <a:pt x="295656" y="1805177"/>
                </a:lnTo>
                <a:lnTo>
                  <a:pt x="295656" y="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2935481" y="1172637"/>
            <a:ext cx="222906" cy="840131"/>
          </a:xfrm>
          <a:custGeom>
            <a:avLst/>
            <a:gdLst/>
            <a:ahLst/>
            <a:cxnLst/>
            <a:rect l="l" t="t" r="r" b="b"/>
            <a:pathLst>
              <a:path w="304800" h="1814829">
                <a:moveTo>
                  <a:pt x="304800" y="1814322"/>
                </a:moveTo>
                <a:lnTo>
                  <a:pt x="304800" y="0"/>
                </a:lnTo>
                <a:lnTo>
                  <a:pt x="0" y="0"/>
                </a:lnTo>
                <a:lnTo>
                  <a:pt x="0" y="1814322"/>
                </a:lnTo>
                <a:lnTo>
                  <a:pt x="4572" y="1814322"/>
                </a:lnTo>
                <a:lnTo>
                  <a:pt x="4572" y="9905"/>
                </a:lnTo>
                <a:lnTo>
                  <a:pt x="9144" y="4572"/>
                </a:lnTo>
                <a:lnTo>
                  <a:pt x="9144" y="9905"/>
                </a:lnTo>
                <a:lnTo>
                  <a:pt x="294894" y="9905"/>
                </a:lnTo>
                <a:lnTo>
                  <a:pt x="294894" y="4572"/>
                </a:lnTo>
                <a:lnTo>
                  <a:pt x="300227" y="9905"/>
                </a:lnTo>
                <a:lnTo>
                  <a:pt x="300227" y="1814322"/>
                </a:lnTo>
                <a:lnTo>
                  <a:pt x="304800" y="1814322"/>
                </a:lnTo>
                <a:close/>
              </a:path>
              <a:path w="304800" h="1814829">
                <a:moveTo>
                  <a:pt x="9144" y="9905"/>
                </a:moveTo>
                <a:lnTo>
                  <a:pt x="9144" y="4572"/>
                </a:lnTo>
                <a:lnTo>
                  <a:pt x="4572" y="9905"/>
                </a:lnTo>
                <a:lnTo>
                  <a:pt x="9144" y="9905"/>
                </a:lnTo>
                <a:close/>
              </a:path>
              <a:path w="304800" h="1814829">
                <a:moveTo>
                  <a:pt x="9144" y="1805177"/>
                </a:moveTo>
                <a:lnTo>
                  <a:pt x="9144" y="9905"/>
                </a:lnTo>
                <a:lnTo>
                  <a:pt x="4572" y="9905"/>
                </a:lnTo>
                <a:lnTo>
                  <a:pt x="4572" y="1805177"/>
                </a:lnTo>
                <a:lnTo>
                  <a:pt x="9144" y="1805177"/>
                </a:lnTo>
                <a:close/>
              </a:path>
              <a:path w="304800" h="1814829">
                <a:moveTo>
                  <a:pt x="300227" y="1805177"/>
                </a:moveTo>
                <a:lnTo>
                  <a:pt x="4572" y="1805177"/>
                </a:lnTo>
                <a:lnTo>
                  <a:pt x="9144" y="1809750"/>
                </a:lnTo>
                <a:lnTo>
                  <a:pt x="9144" y="1814322"/>
                </a:lnTo>
                <a:lnTo>
                  <a:pt x="294894" y="1814322"/>
                </a:lnTo>
                <a:lnTo>
                  <a:pt x="294894" y="1809750"/>
                </a:lnTo>
                <a:lnTo>
                  <a:pt x="300227" y="1805177"/>
                </a:lnTo>
                <a:close/>
              </a:path>
              <a:path w="304800" h="1814829">
                <a:moveTo>
                  <a:pt x="9144" y="1814322"/>
                </a:moveTo>
                <a:lnTo>
                  <a:pt x="9144" y="1809750"/>
                </a:lnTo>
                <a:lnTo>
                  <a:pt x="4572" y="1805177"/>
                </a:lnTo>
                <a:lnTo>
                  <a:pt x="4572" y="1814322"/>
                </a:lnTo>
                <a:lnTo>
                  <a:pt x="9144" y="1814322"/>
                </a:lnTo>
                <a:close/>
              </a:path>
              <a:path w="304800" h="1814829">
                <a:moveTo>
                  <a:pt x="300227" y="9905"/>
                </a:moveTo>
                <a:lnTo>
                  <a:pt x="294894" y="4572"/>
                </a:lnTo>
                <a:lnTo>
                  <a:pt x="294894" y="9905"/>
                </a:lnTo>
                <a:lnTo>
                  <a:pt x="300227" y="9905"/>
                </a:lnTo>
                <a:close/>
              </a:path>
              <a:path w="304800" h="1814829">
                <a:moveTo>
                  <a:pt x="300227" y="1805177"/>
                </a:moveTo>
                <a:lnTo>
                  <a:pt x="300227" y="9905"/>
                </a:lnTo>
                <a:lnTo>
                  <a:pt x="294894" y="9905"/>
                </a:lnTo>
                <a:lnTo>
                  <a:pt x="294894" y="1805177"/>
                </a:lnTo>
                <a:lnTo>
                  <a:pt x="300227" y="1805177"/>
                </a:lnTo>
                <a:close/>
              </a:path>
              <a:path w="304800" h="1814829">
                <a:moveTo>
                  <a:pt x="300227" y="1814322"/>
                </a:moveTo>
                <a:lnTo>
                  <a:pt x="300227" y="1805177"/>
                </a:lnTo>
                <a:lnTo>
                  <a:pt x="294894" y="1809750"/>
                </a:lnTo>
                <a:lnTo>
                  <a:pt x="294894" y="1814322"/>
                </a:lnTo>
                <a:lnTo>
                  <a:pt x="300227" y="181432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3155044" y="1380759"/>
            <a:ext cx="104486" cy="389494"/>
          </a:xfrm>
          <a:custGeom>
            <a:avLst/>
            <a:gdLst/>
            <a:ahLst/>
            <a:cxnLst/>
            <a:rect l="l" t="t" r="r" b="b"/>
            <a:pathLst>
              <a:path w="142875" h="841375">
                <a:moveTo>
                  <a:pt x="142494" y="700278"/>
                </a:moveTo>
                <a:lnTo>
                  <a:pt x="135636" y="153162"/>
                </a:lnTo>
                <a:lnTo>
                  <a:pt x="0" y="0"/>
                </a:lnTo>
                <a:lnTo>
                  <a:pt x="0" y="841247"/>
                </a:lnTo>
                <a:lnTo>
                  <a:pt x="142494" y="700278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3151142" y="1378290"/>
            <a:ext cx="111452" cy="394491"/>
          </a:xfrm>
          <a:custGeom>
            <a:avLst/>
            <a:gdLst/>
            <a:ahLst/>
            <a:cxnLst/>
            <a:rect l="l" t="t" r="r" b="b"/>
            <a:pathLst>
              <a:path w="152400" h="852170">
                <a:moveTo>
                  <a:pt x="152400" y="707898"/>
                </a:moveTo>
                <a:lnTo>
                  <a:pt x="152400" y="705612"/>
                </a:lnTo>
                <a:lnTo>
                  <a:pt x="145542" y="157734"/>
                </a:lnTo>
                <a:lnTo>
                  <a:pt x="144780" y="156210"/>
                </a:lnTo>
                <a:lnTo>
                  <a:pt x="144018" y="155448"/>
                </a:lnTo>
                <a:lnTo>
                  <a:pt x="8382" y="2286"/>
                </a:lnTo>
                <a:lnTo>
                  <a:pt x="7620" y="762"/>
                </a:lnTo>
                <a:lnTo>
                  <a:pt x="5334" y="0"/>
                </a:lnTo>
                <a:lnTo>
                  <a:pt x="3047" y="762"/>
                </a:lnTo>
                <a:lnTo>
                  <a:pt x="1523" y="1524"/>
                </a:lnTo>
                <a:lnTo>
                  <a:pt x="0" y="3048"/>
                </a:lnTo>
                <a:lnTo>
                  <a:pt x="0" y="848106"/>
                </a:lnTo>
                <a:lnTo>
                  <a:pt x="1524" y="850392"/>
                </a:lnTo>
                <a:lnTo>
                  <a:pt x="1524" y="8382"/>
                </a:lnTo>
                <a:lnTo>
                  <a:pt x="9905" y="5334"/>
                </a:lnTo>
                <a:lnTo>
                  <a:pt x="9905" y="17847"/>
                </a:lnTo>
                <a:lnTo>
                  <a:pt x="135636" y="159823"/>
                </a:lnTo>
                <a:lnTo>
                  <a:pt x="135636" y="158496"/>
                </a:lnTo>
                <a:lnTo>
                  <a:pt x="137160" y="161544"/>
                </a:lnTo>
                <a:lnTo>
                  <a:pt x="137160" y="267919"/>
                </a:lnTo>
                <a:lnTo>
                  <a:pt x="143224" y="703341"/>
                </a:lnTo>
                <a:lnTo>
                  <a:pt x="144780" y="701802"/>
                </a:lnTo>
                <a:lnTo>
                  <a:pt x="144780" y="714691"/>
                </a:lnTo>
                <a:lnTo>
                  <a:pt x="150876" y="708660"/>
                </a:lnTo>
                <a:lnTo>
                  <a:pt x="152400" y="707898"/>
                </a:lnTo>
                <a:close/>
              </a:path>
              <a:path w="152400" h="852170">
                <a:moveTo>
                  <a:pt x="9905" y="17847"/>
                </a:moveTo>
                <a:lnTo>
                  <a:pt x="9905" y="5334"/>
                </a:lnTo>
                <a:lnTo>
                  <a:pt x="1524" y="8382"/>
                </a:lnTo>
                <a:lnTo>
                  <a:pt x="9905" y="17847"/>
                </a:lnTo>
                <a:close/>
              </a:path>
              <a:path w="152400" h="852170">
                <a:moveTo>
                  <a:pt x="9906" y="835241"/>
                </a:moveTo>
                <a:lnTo>
                  <a:pt x="9905" y="17847"/>
                </a:lnTo>
                <a:lnTo>
                  <a:pt x="1524" y="8382"/>
                </a:lnTo>
                <a:lnTo>
                  <a:pt x="1524" y="843534"/>
                </a:lnTo>
                <a:lnTo>
                  <a:pt x="9906" y="835241"/>
                </a:lnTo>
                <a:close/>
              </a:path>
              <a:path w="152400" h="852170">
                <a:moveTo>
                  <a:pt x="144780" y="714691"/>
                </a:moveTo>
                <a:lnTo>
                  <a:pt x="144780" y="701802"/>
                </a:lnTo>
                <a:lnTo>
                  <a:pt x="143256" y="705612"/>
                </a:lnTo>
                <a:lnTo>
                  <a:pt x="143224" y="703341"/>
                </a:lnTo>
                <a:lnTo>
                  <a:pt x="1524" y="843534"/>
                </a:lnTo>
                <a:lnTo>
                  <a:pt x="9906" y="846582"/>
                </a:lnTo>
                <a:lnTo>
                  <a:pt x="9906" y="848138"/>
                </a:lnTo>
                <a:lnTo>
                  <a:pt x="144780" y="714691"/>
                </a:lnTo>
                <a:close/>
              </a:path>
              <a:path w="152400" h="852170">
                <a:moveTo>
                  <a:pt x="9906" y="848138"/>
                </a:moveTo>
                <a:lnTo>
                  <a:pt x="9906" y="846582"/>
                </a:lnTo>
                <a:lnTo>
                  <a:pt x="1524" y="843534"/>
                </a:lnTo>
                <a:lnTo>
                  <a:pt x="1524" y="850392"/>
                </a:lnTo>
                <a:lnTo>
                  <a:pt x="4572" y="851916"/>
                </a:lnTo>
                <a:lnTo>
                  <a:pt x="6858" y="851154"/>
                </a:lnTo>
                <a:lnTo>
                  <a:pt x="9906" y="848138"/>
                </a:lnTo>
                <a:close/>
              </a:path>
              <a:path w="152400" h="852170">
                <a:moveTo>
                  <a:pt x="137160" y="161544"/>
                </a:moveTo>
                <a:lnTo>
                  <a:pt x="135636" y="158496"/>
                </a:lnTo>
                <a:lnTo>
                  <a:pt x="135654" y="159844"/>
                </a:lnTo>
                <a:lnTo>
                  <a:pt x="137160" y="161544"/>
                </a:lnTo>
                <a:close/>
              </a:path>
              <a:path w="152400" h="852170">
                <a:moveTo>
                  <a:pt x="135654" y="159844"/>
                </a:moveTo>
                <a:lnTo>
                  <a:pt x="135636" y="158496"/>
                </a:lnTo>
                <a:lnTo>
                  <a:pt x="135636" y="159823"/>
                </a:lnTo>
                <a:close/>
              </a:path>
              <a:path w="152400" h="852170">
                <a:moveTo>
                  <a:pt x="137160" y="267919"/>
                </a:moveTo>
                <a:lnTo>
                  <a:pt x="137160" y="161544"/>
                </a:lnTo>
                <a:lnTo>
                  <a:pt x="135654" y="159844"/>
                </a:lnTo>
                <a:lnTo>
                  <a:pt x="137160" y="267919"/>
                </a:lnTo>
                <a:close/>
              </a:path>
              <a:path w="152400" h="852170">
                <a:moveTo>
                  <a:pt x="144780" y="701802"/>
                </a:moveTo>
                <a:lnTo>
                  <a:pt x="143224" y="703341"/>
                </a:lnTo>
                <a:lnTo>
                  <a:pt x="143256" y="705612"/>
                </a:lnTo>
                <a:lnTo>
                  <a:pt x="144780" y="70180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3650450" y="1056582"/>
            <a:ext cx="159377" cy="108928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3647106" y="1054465"/>
            <a:ext cx="166250" cy="1093523"/>
          </a:xfrm>
          <a:custGeom>
            <a:avLst/>
            <a:gdLst/>
            <a:ahLst/>
            <a:cxnLst/>
            <a:rect l="l" t="t" r="r" b="b"/>
            <a:pathLst>
              <a:path w="227329" h="2362200">
                <a:moveTo>
                  <a:pt x="227075" y="2362200"/>
                </a:moveTo>
                <a:lnTo>
                  <a:pt x="227075" y="0"/>
                </a:lnTo>
                <a:lnTo>
                  <a:pt x="0" y="0"/>
                </a:lnTo>
                <a:lnTo>
                  <a:pt x="0" y="2362200"/>
                </a:lnTo>
                <a:lnTo>
                  <a:pt x="4572" y="2362200"/>
                </a:lnTo>
                <a:lnTo>
                  <a:pt x="4572" y="9144"/>
                </a:lnTo>
                <a:lnTo>
                  <a:pt x="9144" y="4572"/>
                </a:lnTo>
                <a:lnTo>
                  <a:pt x="9144" y="9144"/>
                </a:lnTo>
                <a:lnTo>
                  <a:pt x="217170" y="9144"/>
                </a:lnTo>
                <a:lnTo>
                  <a:pt x="217170" y="4572"/>
                </a:lnTo>
                <a:lnTo>
                  <a:pt x="222503" y="9144"/>
                </a:lnTo>
                <a:lnTo>
                  <a:pt x="222503" y="2362200"/>
                </a:lnTo>
                <a:lnTo>
                  <a:pt x="227075" y="2362200"/>
                </a:lnTo>
                <a:close/>
              </a:path>
              <a:path w="227329" h="2362200">
                <a:moveTo>
                  <a:pt x="9144" y="9144"/>
                </a:moveTo>
                <a:lnTo>
                  <a:pt x="9144" y="4572"/>
                </a:lnTo>
                <a:lnTo>
                  <a:pt x="4572" y="9144"/>
                </a:lnTo>
                <a:lnTo>
                  <a:pt x="9144" y="9144"/>
                </a:lnTo>
                <a:close/>
              </a:path>
              <a:path w="227329" h="2362200">
                <a:moveTo>
                  <a:pt x="9144" y="2352294"/>
                </a:moveTo>
                <a:lnTo>
                  <a:pt x="9144" y="9144"/>
                </a:lnTo>
                <a:lnTo>
                  <a:pt x="4572" y="9144"/>
                </a:lnTo>
                <a:lnTo>
                  <a:pt x="4572" y="2352294"/>
                </a:lnTo>
                <a:lnTo>
                  <a:pt x="9144" y="2352294"/>
                </a:lnTo>
                <a:close/>
              </a:path>
              <a:path w="227329" h="2362200">
                <a:moveTo>
                  <a:pt x="222503" y="2352294"/>
                </a:moveTo>
                <a:lnTo>
                  <a:pt x="4572" y="2352294"/>
                </a:lnTo>
                <a:lnTo>
                  <a:pt x="9144" y="2357628"/>
                </a:lnTo>
                <a:lnTo>
                  <a:pt x="9144" y="2362200"/>
                </a:lnTo>
                <a:lnTo>
                  <a:pt x="217170" y="2362200"/>
                </a:lnTo>
                <a:lnTo>
                  <a:pt x="217170" y="2357628"/>
                </a:lnTo>
                <a:lnTo>
                  <a:pt x="222503" y="2352294"/>
                </a:lnTo>
                <a:close/>
              </a:path>
              <a:path w="227329" h="2362200">
                <a:moveTo>
                  <a:pt x="9144" y="2362200"/>
                </a:moveTo>
                <a:lnTo>
                  <a:pt x="9144" y="2357628"/>
                </a:lnTo>
                <a:lnTo>
                  <a:pt x="4572" y="2352294"/>
                </a:lnTo>
                <a:lnTo>
                  <a:pt x="4572" y="2362200"/>
                </a:lnTo>
                <a:lnTo>
                  <a:pt x="9144" y="2362200"/>
                </a:lnTo>
                <a:close/>
              </a:path>
              <a:path w="227329" h="2362200">
                <a:moveTo>
                  <a:pt x="222503" y="9144"/>
                </a:moveTo>
                <a:lnTo>
                  <a:pt x="217170" y="4572"/>
                </a:lnTo>
                <a:lnTo>
                  <a:pt x="217170" y="9144"/>
                </a:lnTo>
                <a:lnTo>
                  <a:pt x="222503" y="9144"/>
                </a:lnTo>
                <a:close/>
              </a:path>
              <a:path w="227329" h="2362200">
                <a:moveTo>
                  <a:pt x="222503" y="2352294"/>
                </a:moveTo>
                <a:lnTo>
                  <a:pt x="222503" y="9144"/>
                </a:lnTo>
                <a:lnTo>
                  <a:pt x="217170" y="9144"/>
                </a:lnTo>
                <a:lnTo>
                  <a:pt x="217170" y="2352294"/>
                </a:lnTo>
                <a:lnTo>
                  <a:pt x="222503" y="2352294"/>
                </a:lnTo>
                <a:close/>
              </a:path>
              <a:path w="227329" h="2362200">
                <a:moveTo>
                  <a:pt x="222503" y="2362200"/>
                </a:moveTo>
                <a:lnTo>
                  <a:pt x="222503" y="2352294"/>
                </a:lnTo>
                <a:lnTo>
                  <a:pt x="217170" y="2357628"/>
                </a:lnTo>
                <a:lnTo>
                  <a:pt x="217170" y="2362200"/>
                </a:lnTo>
                <a:lnTo>
                  <a:pt x="222503" y="23622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3160059" y="1180044"/>
            <a:ext cx="494106" cy="0"/>
          </a:xfrm>
          <a:custGeom>
            <a:avLst/>
            <a:gdLst/>
            <a:ahLst/>
            <a:cxnLst/>
            <a:rect l="l" t="t" r="r" b="b"/>
            <a:pathLst>
              <a:path w="675639">
                <a:moveTo>
                  <a:pt x="0" y="0"/>
                </a:moveTo>
                <a:lnTo>
                  <a:pt x="675131" y="0"/>
                </a:lnTo>
              </a:path>
            </a:pathLst>
          </a:custGeom>
          <a:ln w="91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3654072" y="1180045"/>
            <a:ext cx="0" cy="835722"/>
          </a:xfrm>
          <a:custGeom>
            <a:avLst/>
            <a:gdLst/>
            <a:ahLst/>
            <a:cxnLst/>
            <a:rect l="l" t="t" r="r" b="b"/>
            <a:pathLst>
              <a:path h="1805304">
                <a:moveTo>
                  <a:pt x="0" y="0"/>
                </a:moveTo>
                <a:lnTo>
                  <a:pt x="0" y="1805177"/>
                </a:lnTo>
              </a:path>
            </a:pathLst>
          </a:custGeom>
          <a:ln w="990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3156715" y="2013415"/>
            <a:ext cx="494106" cy="0"/>
          </a:xfrm>
          <a:custGeom>
            <a:avLst/>
            <a:gdLst/>
            <a:ahLst/>
            <a:cxnLst/>
            <a:rect l="l" t="t" r="r" b="b"/>
            <a:pathLst>
              <a:path w="675639">
                <a:moveTo>
                  <a:pt x="0" y="0"/>
                </a:moveTo>
                <a:lnTo>
                  <a:pt x="675131" y="0"/>
                </a:lnTo>
              </a:path>
            </a:pathLst>
          </a:custGeom>
          <a:ln w="990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3303832" y="1460832"/>
            <a:ext cx="6966" cy="17638"/>
          </a:xfrm>
          <a:custGeom>
            <a:avLst/>
            <a:gdLst/>
            <a:ahLst/>
            <a:cxnLst/>
            <a:rect l="l" t="t" r="r" b="b"/>
            <a:pathLst>
              <a:path w="9525" h="38100">
                <a:moveTo>
                  <a:pt x="9144" y="38100"/>
                </a:moveTo>
                <a:lnTo>
                  <a:pt x="9144" y="0"/>
                </a:lnTo>
                <a:lnTo>
                  <a:pt x="0" y="0"/>
                </a:lnTo>
                <a:lnTo>
                  <a:pt x="0" y="38100"/>
                </a:lnTo>
                <a:lnTo>
                  <a:pt x="9144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3303832" y="1491521"/>
            <a:ext cx="6966" cy="17638"/>
          </a:xfrm>
          <a:custGeom>
            <a:avLst/>
            <a:gdLst/>
            <a:ahLst/>
            <a:cxnLst/>
            <a:rect l="l" t="t" r="r" b="b"/>
            <a:pathLst>
              <a:path w="9525" h="38100">
                <a:moveTo>
                  <a:pt x="9144" y="38100"/>
                </a:moveTo>
                <a:lnTo>
                  <a:pt x="9144" y="0"/>
                </a:lnTo>
                <a:lnTo>
                  <a:pt x="0" y="0"/>
                </a:lnTo>
                <a:lnTo>
                  <a:pt x="0" y="38100"/>
                </a:lnTo>
                <a:lnTo>
                  <a:pt x="9144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3303832" y="1522563"/>
            <a:ext cx="6966" cy="17638"/>
          </a:xfrm>
          <a:custGeom>
            <a:avLst/>
            <a:gdLst/>
            <a:ahLst/>
            <a:cxnLst/>
            <a:rect l="l" t="t" r="r" b="b"/>
            <a:pathLst>
              <a:path w="9525" h="38100">
                <a:moveTo>
                  <a:pt x="9144" y="38100"/>
                </a:moveTo>
                <a:lnTo>
                  <a:pt x="9144" y="0"/>
                </a:lnTo>
                <a:lnTo>
                  <a:pt x="0" y="0"/>
                </a:lnTo>
                <a:lnTo>
                  <a:pt x="0" y="38100"/>
                </a:lnTo>
                <a:lnTo>
                  <a:pt x="9144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3152814" y="1182160"/>
            <a:ext cx="7430" cy="17638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3152814" y="1213202"/>
            <a:ext cx="7430" cy="17638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3152814" y="1243891"/>
            <a:ext cx="7430" cy="17638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3152814" y="1274933"/>
            <a:ext cx="7430" cy="17638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3152814" y="1305622"/>
            <a:ext cx="7430" cy="17638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3152814" y="1336664"/>
            <a:ext cx="7430" cy="17638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3153929" y="1366295"/>
            <a:ext cx="149068" cy="96125"/>
          </a:xfrm>
          <a:custGeom>
            <a:avLst/>
            <a:gdLst/>
            <a:ahLst/>
            <a:cxnLst/>
            <a:rect l="l" t="t" r="r" b="b"/>
            <a:pathLst>
              <a:path w="203835" h="207645">
                <a:moveTo>
                  <a:pt x="33528" y="27432"/>
                </a:moveTo>
                <a:lnTo>
                  <a:pt x="6858" y="0"/>
                </a:lnTo>
                <a:lnTo>
                  <a:pt x="0" y="6858"/>
                </a:lnTo>
                <a:lnTo>
                  <a:pt x="26670" y="34290"/>
                </a:lnTo>
                <a:lnTo>
                  <a:pt x="33528" y="27432"/>
                </a:lnTo>
                <a:close/>
              </a:path>
              <a:path w="203835" h="207645">
                <a:moveTo>
                  <a:pt x="80010" y="75438"/>
                </a:moveTo>
                <a:lnTo>
                  <a:pt x="53340" y="48006"/>
                </a:lnTo>
                <a:lnTo>
                  <a:pt x="46482" y="54864"/>
                </a:lnTo>
                <a:lnTo>
                  <a:pt x="73152" y="81534"/>
                </a:lnTo>
                <a:lnTo>
                  <a:pt x="80010" y="75438"/>
                </a:lnTo>
                <a:close/>
              </a:path>
              <a:path w="203835" h="207645">
                <a:moveTo>
                  <a:pt x="127254" y="122682"/>
                </a:moveTo>
                <a:lnTo>
                  <a:pt x="100584" y="95249"/>
                </a:lnTo>
                <a:lnTo>
                  <a:pt x="93726" y="102107"/>
                </a:lnTo>
                <a:lnTo>
                  <a:pt x="120396" y="129539"/>
                </a:lnTo>
                <a:lnTo>
                  <a:pt x="127254" y="122682"/>
                </a:lnTo>
                <a:close/>
              </a:path>
              <a:path w="203835" h="207645">
                <a:moveTo>
                  <a:pt x="173736" y="170688"/>
                </a:moveTo>
                <a:lnTo>
                  <a:pt x="147066" y="143256"/>
                </a:lnTo>
                <a:lnTo>
                  <a:pt x="140208" y="150114"/>
                </a:lnTo>
                <a:lnTo>
                  <a:pt x="166878" y="176784"/>
                </a:lnTo>
                <a:lnTo>
                  <a:pt x="173736" y="170688"/>
                </a:lnTo>
                <a:close/>
              </a:path>
              <a:path w="203835" h="207645">
                <a:moveTo>
                  <a:pt x="203454" y="200405"/>
                </a:moveTo>
                <a:lnTo>
                  <a:pt x="193548" y="190499"/>
                </a:lnTo>
                <a:lnTo>
                  <a:pt x="186690" y="197358"/>
                </a:lnTo>
                <a:lnTo>
                  <a:pt x="196596" y="207264"/>
                </a:lnTo>
                <a:lnTo>
                  <a:pt x="203454" y="2004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3303832" y="1549726"/>
            <a:ext cx="345039" cy="57910"/>
          </a:xfrm>
          <a:custGeom>
            <a:avLst/>
            <a:gdLst/>
            <a:ahLst/>
            <a:cxnLst/>
            <a:rect l="l" t="t" r="r" b="b"/>
            <a:pathLst>
              <a:path w="471804" h="125095">
                <a:moveTo>
                  <a:pt x="18288" y="37338"/>
                </a:moveTo>
                <a:lnTo>
                  <a:pt x="9144" y="0"/>
                </a:lnTo>
                <a:lnTo>
                  <a:pt x="0" y="2286"/>
                </a:lnTo>
                <a:lnTo>
                  <a:pt x="9144" y="39624"/>
                </a:lnTo>
                <a:lnTo>
                  <a:pt x="18288" y="37338"/>
                </a:lnTo>
                <a:close/>
              </a:path>
              <a:path w="471804" h="125095">
                <a:moveTo>
                  <a:pt x="77724" y="41909"/>
                </a:moveTo>
                <a:lnTo>
                  <a:pt x="39624" y="38862"/>
                </a:lnTo>
                <a:lnTo>
                  <a:pt x="38862" y="48006"/>
                </a:lnTo>
                <a:lnTo>
                  <a:pt x="76962" y="51053"/>
                </a:lnTo>
                <a:lnTo>
                  <a:pt x="77724" y="41909"/>
                </a:lnTo>
                <a:close/>
              </a:path>
              <a:path w="471804" h="125095">
                <a:moveTo>
                  <a:pt x="144018" y="46481"/>
                </a:moveTo>
                <a:lnTo>
                  <a:pt x="106680" y="44195"/>
                </a:lnTo>
                <a:lnTo>
                  <a:pt x="105918" y="53339"/>
                </a:lnTo>
                <a:lnTo>
                  <a:pt x="143256" y="56387"/>
                </a:lnTo>
                <a:lnTo>
                  <a:pt x="144018" y="46481"/>
                </a:lnTo>
                <a:close/>
              </a:path>
              <a:path w="471804" h="125095">
                <a:moveTo>
                  <a:pt x="211074" y="51815"/>
                </a:moveTo>
                <a:lnTo>
                  <a:pt x="172974" y="48767"/>
                </a:lnTo>
                <a:lnTo>
                  <a:pt x="172212" y="58673"/>
                </a:lnTo>
                <a:lnTo>
                  <a:pt x="210312" y="61721"/>
                </a:lnTo>
                <a:lnTo>
                  <a:pt x="211074" y="51815"/>
                </a:lnTo>
                <a:close/>
              </a:path>
              <a:path w="471804" h="125095">
                <a:moveTo>
                  <a:pt x="277368" y="57149"/>
                </a:moveTo>
                <a:lnTo>
                  <a:pt x="239268" y="54101"/>
                </a:lnTo>
                <a:lnTo>
                  <a:pt x="238506" y="64007"/>
                </a:lnTo>
                <a:lnTo>
                  <a:pt x="276606" y="67055"/>
                </a:lnTo>
                <a:lnTo>
                  <a:pt x="277368" y="57149"/>
                </a:lnTo>
                <a:close/>
              </a:path>
              <a:path w="471804" h="125095">
                <a:moveTo>
                  <a:pt x="343662" y="62483"/>
                </a:moveTo>
                <a:lnTo>
                  <a:pt x="305562" y="59435"/>
                </a:lnTo>
                <a:lnTo>
                  <a:pt x="304800" y="69341"/>
                </a:lnTo>
                <a:lnTo>
                  <a:pt x="342900" y="71627"/>
                </a:lnTo>
                <a:lnTo>
                  <a:pt x="343662" y="62483"/>
                </a:lnTo>
                <a:close/>
              </a:path>
              <a:path w="471804" h="125095">
                <a:moveTo>
                  <a:pt x="409956" y="67817"/>
                </a:moveTo>
                <a:lnTo>
                  <a:pt x="372618" y="64769"/>
                </a:lnTo>
                <a:lnTo>
                  <a:pt x="371856" y="73913"/>
                </a:lnTo>
                <a:lnTo>
                  <a:pt x="390906" y="75469"/>
                </a:lnTo>
                <a:lnTo>
                  <a:pt x="390906" y="73913"/>
                </a:lnTo>
                <a:lnTo>
                  <a:pt x="409478" y="73542"/>
                </a:lnTo>
                <a:lnTo>
                  <a:pt x="409956" y="67817"/>
                </a:lnTo>
                <a:close/>
              </a:path>
              <a:path w="471804" h="125095">
                <a:moveTo>
                  <a:pt x="409478" y="73542"/>
                </a:moveTo>
                <a:lnTo>
                  <a:pt x="390906" y="73913"/>
                </a:lnTo>
                <a:lnTo>
                  <a:pt x="390906" y="75469"/>
                </a:lnTo>
                <a:lnTo>
                  <a:pt x="409194" y="76961"/>
                </a:lnTo>
                <a:lnTo>
                  <a:pt x="409478" y="73542"/>
                </a:lnTo>
                <a:close/>
              </a:path>
              <a:path w="471804" h="125095">
                <a:moveTo>
                  <a:pt x="429006" y="82295"/>
                </a:moveTo>
                <a:lnTo>
                  <a:pt x="429006" y="73151"/>
                </a:lnTo>
                <a:lnTo>
                  <a:pt x="409478" y="73542"/>
                </a:lnTo>
                <a:lnTo>
                  <a:pt x="409194" y="76961"/>
                </a:lnTo>
                <a:lnTo>
                  <a:pt x="390906" y="75469"/>
                </a:lnTo>
                <a:lnTo>
                  <a:pt x="390906" y="83819"/>
                </a:lnTo>
                <a:lnTo>
                  <a:pt x="429006" y="82295"/>
                </a:lnTo>
                <a:close/>
              </a:path>
              <a:path w="471804" h="125095">
                <a:moveTo>
                  <a:pt x="471678" y="79247"/>
                </a:moveTo>
                <a:lnTo>
                  <a:pt x="471678" y="74675"/>
                </a:lnTo>
                <a:lnTo>
                  <a:pt x="469392" y="72389"/>
                </a:lnTo>
                <a:lnTo>
                  <a:pt x="466344" y="72328"/>
                </a:lnTo>
                <a:lnTo>
                  <a:pt x="438912" y="70103"/>
                </a:lnTo>
                <a:lnTo>
                  <a:pt x="438150" y="79247"/>
                </a:lnTo>
                <a:lnTo>
                  <a:pt x="457200" y="80792"/>
                </a:lnTo>
                <a:lnTo>
                  <a:pt x="457200" y="72389"/>
                </a:lnTo>
                <a:lnTo>
                  <a:pt x="466344" y="72389"/>
                </a:lnTo>
                <a:lnTo>
                  <a:pt x="466344" y="81533"/>
                </a:lnTo>
                <a:lnTo>
                  <a:pt x="469392" y="81533"/>
                </a:lnTo>
                <a:lnTo>
                  <a:pt x="471678" y="79247"/>
                </a:lnTo>
                <a:close/>
              </a:path>
              <a:path w="471804" h="125095">
                <a:moveTo>
                  <a:pt x="466344" y="81533"/>
                </a:moveTo>
                <a:lnTo>
                  <a:pt x="466344" y="72389"/>
                </a:lnTo>
                <a:lnTo>
                  <a:pt x="457200" y="72389"/>
                </a:lnTo>
                <a:lnTo>
                  <a:pt x="457200" y="80792"/>
                </a:lnTo>
                <a:lnTo>
                  <a:pt x="466344" y="81533"/>
                </a:lnTo>
                <a:close/>
              </a:path>
              <a:path w="471804" h="125095">
                <a:moveTo>
                  <a:pt x="466344" y="81533"/>
                </a:moveTo>
                <a:lnTo>
                  <a:pt x="457200" y="80792"/>
                </a:lnTo>
                <a:lnTo>
                  <a:pt x="457200" y="81533"/>
                </a:lnTo>
                <a:lnTo>
                  <a:pt x="466344" y="81533"/>
                </a:lnTo>
                <a:close/>
              </a:path>
              <a:path w="471804" h="125095">
                <a:moveTo>
                  <a:pt x="361950" y="84581"/>
                </a:moveTo>
                <a:lnTo>
                  <a:pt x="361950" y="74675"/>
                </a:lnTo>
                <a:lnTo>
                  <a:pt x="323850" y="76199"/>
                </a:lnTo>
                <a:lnTo>
                  <a:pt x="323850" y="85343"/>
                </a:lnTo>
                <a:lnTo>
                  <a:pt x="361950" y="84581"/>
                </a:lnTo>
                <a:close/>
              </a:path>
              <a:path w="471804" h="125095">
                <a:moveTo>
                  <a:pt x="295656" y="86105"/>
                </a:moveTo>
                <a:lnTo>
                  <a:pt x="295656" y="76961"/>
                </a:lnTo>
                <a:lnTo>
                  <a:pt x="257556" y="77723"/>
                </a:lnTo>
                <a:lnTo>
                  <a:pt x="257556" y="86867"/>
                </a:lnTo>
                <a:lnTo>
                  <a:pt x="295656" y="86105"/>
                </a:lnTo>
                <a:close/>
              </a:path>
              <a:path w="471804" h="125095">
                <a:moveTo>
                  <a:pt x="228600" y="87630"/>
                </a:moveTo>
                <a:lnTo>
                  <a:pt x="228600" y="78485"/>
                </a:lnTo>
                <a:lnTo>
                  <a:pt x="190500" y="79247"/>
                </a:lnTo>
                <a:lnTo>
                  <a:pt x="190500" y="89153"/>
                </a:lnTo>
                <a:lnTo>
                  <a:pt x="228600" y="87630"/>
                </a:lnTo>
                <a:close/>
              </a:path>
              <a:path w="471804" h="125095">
                <a:moveTo>
                  <a:pt x="162306" y="89915"/>
                </a:moveTo>
                <a:lnTo>
                  <a:pt x="162306" y="80009"/>
                </a:lnTo>
                <a:lnTo>
                  <a:pt x="124206" y="81533"/>
                </a:lnTo>
                <a:lnTo>
                  <a:pt x="124206" y="90677"/>
                </a:lnTo>
                <a:lnTo>
                  <a:pt x="162306" y="89915"/>
                </a:lnTo>
                <a:close/>
              </a:path>
              <a:path w="471804" h="125095">
                <a:moveTo>
                  <a:pt x="96012" y="91440"/>
                </a:moveTo>
                <a:lnTo>
                  <a:pt x="95250" y="82296"/>
                </a:lnTo>
                <a:lnTo>
                  <a:pt x="57150" y="83058"/>
                </a:lnTo>
                <a:lnTo>
                  <a:pt x="57912" y="92964"/>
                </a:lnTo>
                <a:lnTo>
                  <a:pt x="96012" y="91440"/>
                </a:lnTo>
                <a:close/>
              </a:path>
              <a:path w="471804" h="125095">
                <a:moveTo>
                  <a:pt x="32766" y="90678"/>
                </a:moveTo>
                <a:lnTo>
                  <a:pt x="28956" y="93726"/>
                </a:lnTo>
                <a:lnTo>
                  <a:pt x="28956" y="83820"/>
                </a:lnTo>
                <a:lnTo>
                  <a:pt x="26670" y="83820"/>
                </a:lnTo>
                <a:lnTo>
                  <a:pt x="25146" y="85344"/>
                </a:lnTo>
                <a:lnTo>
                  <a:pt x="7620" y="120396"/>
                </a:lnTo>
                <a:lnTo>
                  <a:pt x="16764" y="124968"/>
                </a:lnTo>
                <a:lnTo>
                  <a:pt x="32766" y="9067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3152813" y="1616042"/>
            <a:ext cx="157892" cy="401840"/>
          </a:xfrm>
          <a:custGeom>
            <a:avLst/>
            <a:gdLst/>
            <a:ahLst/>
            <a:cxnLst/>
            <a:rect l="l" t="t" r="r" b="b"/>
            <a:pathLst>
              <a:path w="215900" h="868045">
                <a:moveTo>
                  <a:pt x="215645" y="38100"/>
                </a:moveTo>
                <a:lnTo>
                  <a:pt x="215645" y="0"/>
                </a:lnTo>
                <a:lnTo>
                  <a:pt x="206501" y="0"/>
                </a:lnTo>
                <a:lnTo>
                  <a:pt x="206501" y="38100"/>
                </a:lnTo>
                <a:lnTo>
                  <a:pt x="215645" y="38100"/>
                </a:lnTo>
                <a:close/>
              </a:path>
              <a:path w="215900" h="868045">
                <a:moveTo>
                  <a:pt x="215645" y="104393"/>
                </a:moveTo>
                <a:lnTo>
                  <a:pt x="215645" y="66293"/>
                </a:lnTo>
                <a:lnTo>
                  <a:pt x="206501" y="66293"/>
                </a:lnTo>
                <a:lnTo>
                  <a:pt x="206501" y="104393"/>
                </a:lnTo>
                <a:lnTo>
                  <a:pt x="215645" y="104393"/>
                </a:lnTo>
                <a:close/>
              </a:path>
              <a:path w="215900" h="868045">
                <a:moveTo>
                  <a:pt x="215645" y="171450"/>
                </a:moveTo>
                <a:lnTo>
                  <a:pt x="215645" y="133350"/>
                </a:lnTo>
                <a:lnTo>
                  <a:pt x="206501" y="133350"/>
                </a:lnTo>
                <a:lnTo>
                  <a:pt x="206501" y="171450"/>
                </a:lnTo>
                <a:lnTo>
                  <a:pt x="215645" y="171450"/>
                </a:lnTo>
                <a:close/>
              </a:path>
              <a:path w="215900" h="868045">
                <a:moveTo>
                  <a:pt x="208025" y="196595"/>
                </a:moveTo>
                <a:lnTo>
                  <a:pt x="179069" y="220217"/>
                </a:lnTo>
                <a:lnTo>
                  <a:pt x="185165" y="227837"/>
                </a:lnTo>
                <a:lnTo>
                  <a:pt x="206501" y="210432"/>
                </a:lnTo>
                <a:lnTo>
                  <a:pt x="206501" y="199643"/>
                </a:lnTo>
                <a:lnTo>
                  <a:pt x="206806" y="199643"/>
                </a:lnTo>
                <a:lnTo>
                  <a:pt x="208025" y="196595"/>
                </a:lnTo>
                <a:close/>
              </a:path>
              <a:path w="215900" h="868045">
                <a:moveTo>
                  <a:pt x="206806" y="199643"/>
                </a:moveTo>
                <a:lnTo>
                  <a:pt x="206501" y="199643"/>
                </a:lnTo>
                <a:lnTo>
                  <a:pt x="206501" y="200405"/>
                </a:lnTo>
                <a:lnTo>
                  <a:pt x="206806" y="199643"/>
                </a:lnTo>
                <a:close/>
              </a:path>
              <a:path w="215900" h="868045">
                <a:moveTo>
                  <a:pt x="215645" y="201929"/>
                </a:moveTo>
                <a:lnTo>
                  <a:pt x="215645" y="199643"/>
                </a:lnTo>
                <a:lnTo>
                  <a:pt x="206806" y="199643"/>
                </a:lnTo>
                <a:lnTo>
                  <a:pt x="206501" y="200405"/>
                </a:lnTo>
                <a:lnTo>
                  <a:pt x="206501" y="210432"/>
                </a:lnTo>
                <a:lnTo>
                  <a:pt x="214121" y="204215"/>
                </a:lnTo>
                <a:lnTo>
                  <a:pt x="214883" y="202691"/>
                </a:lnTo>
                <a:lnTo>
                  <a:pt x="215645" y="201929"/>
                </a:lnTo>
                <a:close/>
              </a:path>
              <a:path w="215900" h="868045">
                <a:moveTo>
                  <a:pt x="163067" y="246125"/>
                </a:moveTo>
                <a:lnTo>
                  <a:pt x="156971" y="238505"/>
                </a:lnTo>
                <a:lnTo>
                  <a:pt x="128015" y="262889"/>
                </a:lnTo>
                <a:lnTo>
                  <a:pt x="133350" y="270509"/>
                </a:lnTo>
                <a:lnTo>
                  <a:pt x="163067" y="246125"/>
                </a:lnTo>
                <a:close/>
              </a:path>
              <a:path w="215900" h="868045">
                <a:moveTo>
                  <a:pt x="112013" y="288036"/>
                </a:moveTo>
                <a:lnTo>
                  <a:pt x="105917" y="281177"/>
                </a:lnTo>
                <a:lnTo>
                  <a:pt x="76200" y="305562"/>
                </a:lnTo>
                <a:lnTo>
                  <a:pt x="82295" y="312419"/>
                </a:lnTo>
                <a:lnTo>
                  <a:pt x="112013" y="288036"/>
                </a:lnTo>
                <a:close/>
              </a:path>
              <a:path w="215900" h="868045">
                <a:moveTo>
                  <a:pt x="60197" y="330707"/>
                </a:moveTo>
                <a:lnTo>
                  <a:pt x="54101" y="323088"/>
                </a:lnTo>
                <a:lnTo>
                  <a:pt x="24383" y="347471"/>
                </a:lnTo>
                <a:lnTo>
                  <a:pt x="30479" y="355091"/>
                </a:lnTo>
                <a:lnTo>
                  <a:pt x="60197" y="330707"/>
                </a:lnTo>
                <a:close/>
              </a:path>
              <a:path w="215900" h="868045">
                <a:moveTo>
                  <a:pt x="8839" y="372999"/>
                </a:moveTo>
                <a:lnTo>
                  <a:pt x="3047" y="365759"/>
                </a:lnTo>
                <a:lnTo>
                  <a:pt x="2285" y="366521"/>
                </a:lnTo>
                <a:lnTo>
                  <a:pt x="762" y="367283"/>
                </a:lnTo>
                <a:lnTo>
                  <a:pt x="0" y="368807"/>
                </a:lnTo>
                <a:lnTo>
                  <a:pt x="0" y="370331"/>
                </a:lnTo>
                <a:lnTo>
                  <a:pt x="762" y="407669"/>
                </a:lnTo>
                <a:lnTo>
                  <a:pt x="8381" y="407669"/>
                </a:lnTo>
                <a:lnTo>
                  <a:pt x="8381" y="374141"/>
                </a:lnTo>
                <a:lnTo>
                  <a:pt x="8839" y="372999"/>
                </a:lnTo>
                <a:close/>
              </a:path>
              <a:path w="215900" h="868045">
                <a:moveTo>
                  <a:pt x="9143" y="373379"/>
                </a:moveTo>
                <a:lnTo>
                  <a:pt x="8839" y="372999"/>
                </a:lnTo>
                <a:lnTo>
                  <a:pt x="8381" y="374141"/>
                </a:lnTo>
                <a:lnTo>
                  <a:pt x="9143" y="373379"/>
                </a:lnTo>
                <a:close/>
              </a:path>
              <a:path w="215900" h="868045">
                <a:moveTo>
                  <a:pt x="9143" y="407669"/>
                </a:moveTo>
                <a:lnTo>
                  <a:pt x="9143" y="373379"/>
                </a:lnTo>
                <a:lnTo>
                  <a:pt x="8381" y="374141"/>
                </a:lnTo>
                <a:lnTo>
                  <a:pt x="8381" y="407669"/>
                </a:lnTo>
                <a:lnTo>
                  <a:pt x="9143" y="407669"/>
                </a:lnTo>
                <a:close/>
              </a:path>
              <a:path w="215900" h="868045">
                <a:moveTo>
                  <a:pt x="9905" y="407669"/>
                </a:moveTo>
                <a:lnTo>
                  <a:pt x="9905" y="370331"/>
                </a:lnTo>
                <a:lnTo>
                  <a:pt x="8839" y="372999"/>
                </a:lnTo>
                <a:lnTo>
                  <a:pt x="9143" y="373379"/>
                </a:lnTo>
                <a:lnTo>
                  <a:pt x="9143" y="407669"/>
                </a:lnTo>
                <a:lnTo>
                  <a:pt x="9905" y="407669"/>
                </a:lnTo>
                <a:close/>
              </a:path>
              <a:path w="215900" h="868045">
                <a:moveTo>
                  <a:pt x="10667" y="473963"/>
                </a:moveTo>
                <a:lnTo>
                  <a:pt x="9905" y="435863"/>
                </a:lnTo>
                <a:lnTo>
                  <a:pt x="762" y="435863"/>
                </a:lnTo>
                <a:lnTo>
                  <a:pt x="762" y="473963"/>
                </a:lnTo>
                <a:lnTo>
                  <a:pt x="10667" y="473963"/>
                </a:lnTo>
                <a:close/>
              </a:path>
              <a:path w="215900" h="868045">
                <a:moveTo>
                  <a:pt x="10667" y="541019"/>
                </a:moveTo>
                <a:lnTo>
                  <a:pt x="10667" y="502919"/>
                </a:lnTo>
                <a:lnTo>
                  <a:pt x="762" y="502919"/>
                </a:lnTo>
                <a:lnTo>
                  <a:pt x="1524" y="541019"/>
                </a:lnTo>
                <a:lnTo>
                  <a:pt x="10667" y="541019"/>
                </a:lnTo>
                <a:close/>
              </a:path>
              <a:path w="215900" h="868045">
                <a:moveTo>
                  <a:pt x="10667" y="607313"/>
                </a:moveTo>
                <a:lnTo>
                  <a:pt x="10667" y="569213"/>
                </a:lnTo>
                <a:lnTo>
                  <a:pt x="1523" y="569213"/>
                </a:lnTo>
                <a:lnTo>
                  <a:pt x="1523" y="607313"/>
                </a:lnTo>
                <a:lnTo>
                  <a:pt x="10667" y="607313"/>
                </a:lnTo>
                <a:close/>
              </a:path>
              <a:path w="215900" h="868045">
                <a:moveTo>
                  <a:pt x="11429" y="674369"/>
                </a:moveTo>
                <a:lnTo>
                  <a:pt x="11429" y="636269"/>
                </a:lnTo>
                <a:lnTo>
                  <a:pt x="1524" y="636269"/>
                </a:lnTo>
                <a:lnTo>
                  <a:pt x="1524" y="674369"/>
                </a:lnTo>
                <a:lnTo>
                  <a:pt x="11429" y="674369"/>
                </a:lnTo>
                <a:close/>
              </a:path>
              <a:path w="215900" h="868045">
                <a:moveTo>
                  <a:pt x="11429" y="740663"/>
                </a:moveTo>
                <a:lnTo>
                  <a:pt x="11429" y="702563"/>
                </a:lnTo>
                <a:lnTo>
                  <a:pt x="2285" y="702563"/>
                </a:lnTo>
                <a:lnTo>
                  <a:pt x="2285" y="740663"/>
                </a:lnTo>
                <a:lnTo>
                  <a:pt x="11429" y="740663"/>
                </a:lnTo>
                <a:close/>
              </a:path>
              <a:path w="215900" h="868045">
                <a:moveTo>
                  <a:pt x="12191" y="807719"/>
                </a:moveTo>
                <a:lnTo>
                  <a:pt x="11429" y="769619"/>
                </a:lnTo>
                <a:lnTo>
                  <a:pt x="2285" y="769619"/>
                </a:lnTo>
                <a:lnTo>
                  <a:pt x="2285" y="807719"/>
                </a:lnTo>
                <a:lnTo>
                  <a:pt x="12191" y="807719"/>
                </a:lnTo>
                <a:close/>
              </a:path>
              <a:path w="215900" h="868045">
                <a:moveTo>
                  <a:pt x="12191" y="867917"/>
                </a:moveTo>
                <a:lnTo>
                  <a:pt x="12191" y="835913"/>
                </a:lnTo>
                <a:lnTo>
                  <a:pt x="2285" y="835913"/>
                </a:lnTo>
                <a:lnTo>
                  <a:pt x="3047" y="867917"/>
                </a:lnTo>
                <a:lnTo>
                  <a:pt x="12191" y="86791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3155043" y="1180044"/>
            <a:ext cx="498750" cy="404486"/>
          </a:xfrm>
          <a:custGeom>
            <a:avLst/>
            <a:gdLst/>
            <a:ahLst/>
            <a:cxnLst/>
            <a:rect l="l" t="t" r="r" b="b"/>
            <a:pathLst>
              <a:path w="681989" h="873760">
                <a:moveTo>
                  <a:pt x="681990" y="873252"/>
                </a:moveTo>
                <a:lnTo>
                  <a:pt x="675132" y="0"/>
                </a:lnTo>
                <a:lnTo>
                  <a:pt x="6858" y="2286"/>
                </a:lnTo>
                <a:lnTo>
                  <a:pt x="0" y="403860"/>
                </a:lnTo>
                <a:lnTo>
                  <a:pt x="208026" y="604266"/>
                </a:lnTo>
                <a:lnTo>
                  <a:pt x="212598" y="785622"/>
                </a:lnTo>
                <a:lnTo>
                  <a:pt x="222504" y="828294"/>
                </a:lnTo>
                <a:lnTo>
                  <a:pt x="681990" y="873252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3158387" y="1587469"/>
            <a:ext cx="494106" cy="422711"/>
          </a:xfrm>
          <a:custGeom>
            <a:avLst/>
            <a:gdLst/>
            <a:ahLst/>
            <a:cxnLst/>
            <a:rect l="l" t="t" r="r" b="b"/>
            <a:pathLst>
              <a:path w="675639" h="913129">
                <a:moveTo>
                  <a:pt x="210312" y="911296"/>
                </a:moveTo>
                <a:lnTo>
                  <a:pt x="210312" y="254507"/>
                </a:lnTo>
                <a:lnTo>
                  <a:pt x="0" y="436625"/>
                </a:lnTo>
                <a:lnTo>
                  <a:pt x="2286" y="910589"/>
                </a:lnTo>
                <a:lnTo>
                  <a:pt x="210312" y="911296"/>
                </a:lnTo>
                <a:close/>
              </a:path>
              <a:path w="675639" h="913129">
                <a:moveTo>
                  <a:pt x="675132" y="912875"/>
                </a:moveTo>
                <a:lnTo>
                  <a:pt x="668274" y="0"/>
                </a:lnTo>
                <a:lnTo>
                  <a:pt x="215646" y="14477"/>
                </a:lnTo>
                <a:lnTo>
                  <a:pt x="208026" y="92201"/>
                </a:lnTo>
                <a:lnTo>
                  <a:pt x="210312" y="254507"/>
                </a:lnTo>
                <a:lnTo>
                  <a:pt x="210312" y="911296"/>
                </a:lnTo>
                <a:lnTo>
                  <a:pt x="675132" y="912875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1737367" y="1514804"/>
            <a:ext cx="943168" cy="123462"/>
          </a:xfrm>
          <a:custGeom>
            <a:avLst/>
            <a:gdLst/>
            <a:ahLst/>
            <a:cxnLst/>
            <a:rect l="l" t="t" r="r" b="b"/>
            <a:pathLst>
              <a:path w="1289685" h="266700">
                <a:moveTo>
                  <a:pt x="0" y="0"/>
                </a:moveTo>
                <a:lnTo>
                  <a:pt x="0" y="266700"/>
                </a:lnTo>
                <a:lnTo>
                  <a:pt x="1289303" y="266700"/>
                </a:lnTo>
                <a:lnTo>
                  <a:pt x="1289303" y="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1734022" y="1512687"/>
            <a:ext cx="949669" cy="127872"/>
          </a:xfrm>
          <a:custGeom>
            <a:avLst/>
            <a:gdLst/>
            <a:ahLst/>
            <a:cxnLst/>
            <a:rect l="l" t="t" r="r" b="b"/>
            <a:pathLst>
              <a:path w="1298575" h="276225">
                <a:moveTo>
                  <a:pt x="1298447" y="275843"/>
                </a:moveTo>
                <a:lnTo>
                  <a:pt x="1298447" y="0"/>
                </a:lnTo>
                <a:lnTo>
                  <a:pt x="0" y="0"/>
                </a:lnTo>
                <a:lnTo>
                  <a:pt x="0" y="275843"/>
                </a:lnTo>
                <a:lnTo>
                  <a:pt x="4571" y="275843"/>
                </a:lnTo>
                <a:lnTo>
                  <a:pt x="4571" y="9143"/>
                </a:lnTo>
                <a:lnTo>
                  <a:pt x="9143" y="4571"/>
                </a:lnTo>
                <a:lnTo>
                  <a:pt x="9143" y="9143"/>
                </a:lnTo>
                <a:lnTo>
                  <a:pt x="1289303" y="9143"/>
                </a:lnTo>
                <a:lnTo>
                  <a:pt x="1289303" y="4571"/>
                </a:lnTo>
                <a:lnTo>
                  <a:pt x="1293876" y="9143"/>
                </a:lnTo>
                <a:lnTo>
                  <a:pt x="1293876" y="275843"/>
                </a:lnTo>
                <a:lnTo>
                  <a:pt x="1298447" y="275843"/>
                </a:lnTo>
                <a:close/>
              </a:path>
              <a:path w="1298575" h="276225">
                <a:moveTo>
                  <a:pt x="9143" y="9143"/>
                </a:moveTo>
                <a:lnTo>
                  <a:pt x="9143" y="4571"/>
                </a:lnTo>
                <a:lnTo>
                  <a:pt x="4571" y="9143"/>
                </a:lnTo>
                <a:lnTo>
                  <a:pt x="9143" y="9143"/>
                </a:lnTo>
                <a:close/>
              </a:path>
              <a:path w="1298575" h="276225">
                <a:moveTo>
                  <a:pt x="9143" y="266699"/>
                </a:moveTo>
                <a:lnTo>
                  <a:pt x="9143" y="9143"/>
                </a:lnTo>
                <a:lnTo>
                  <a:pt x="4571" y="9143"/>
                </a:lnTo>
                <a:lnTo>
                  <a:pt x="4571" y="266699"/>
                </a:lnTo>
                <a:lnTo>
                  <a:pt x="9143" y="266699"/>
                </a:lnTo>
                <a:close/>
              </a:path>
              <a:path w="1298575" h="276225">
                <a:moveTo>
                  <a:pt x="1293876" y="266699"/>
                </a:moveTo>
                <a:lnTo>
                  <a:pt x="4571" y="266699"/>
                </a:lnTo>
                <a:lnTo>
                  <a:pt x="9143" y="271271"/>
                </a:lnTo>
                <a:lnTo>
                  <a:pt x="9143" y="275843"/>
                </a:lnTo>
                <a:lnTo>
                  <a:pt x="1289303" y="275843"/>
                </a:lnTo>
                <a:lnTo>
                  <a:pt x="1289303" y="271271"/>
                </a:lnTo>
                <a:lnTo>
                  <a:pt x="1293876" y="266699"/>
                </a:lnTo>
                <a:close/>
              </a:path>
              <a:path w="1298575" h="276225">
                <a:moveTo>
                  <a:pt x="9143" y="275843"/>
                </a:moveTo>
                <a:lnTo>
                  <a:pt x="9143" y="271271"/>
                </a:lnTo>
                <a:lnTo>
                  <a:pt x="4571" y="266699"/>
                </a:lnTo>
                <a:lnTo>
                  <a:pt x="4571" y="275843"/>
                </a:lnTo>
                <a:lnTo>
                  <a:pt x="9143" y="275843"/>
                </a:lnTo>
                <a:close/>
              </a:path>
              <a:path w="1298575" h="276225">
                <a:moveTo>
                  <a:pt x="1293876" y="9143"/>
                </a:moveTo>
                <a:lnTo>
                  <a:pt x="1289303" y="4571"/>
                </a:lnTo>
                <a:lnTo>
                  <a:pt x="1289303" y="9143"/>
                </a:lnTo>
                <a:lnTo>
                  <a:pt x="1293876" y="9143"/>
                </a:lnTo>
                <a:close/>
              </a:path>
              <a:path w="1298575" h="276225">
                <a:moveTo>
                  <a:pt x="1293876" y="266699"/>
                </a:moveTo>
                <a:lnTo>
                  <a:pt x="1293876" y="9143"/>
                </a:lnTo>
                <a:lnTo>
                  <a:pt x="1289303" y="9143"/>
                </a:lnTo>
                <a:lnTo>
                  <a:pt x="1289303" y="266699"/>
                </a:lnTo>
                <a:lnTo>
                  <a:pt x="1293876" y="266699"/>
                </a:lnTo>
                <a:close/>
              </a:path>
              <a:path w="1298575" h="276225">
                <a:moveTo>
                  <a:pt x="1293876" y="275843"/>
                </a:moveTo>
                <a:lnTo>
                  <a:pt x="1293876" y="266699"/>
                </a:lnTo>
                <a:lnTo>
                  <a:pt x="1289303" y="271271"/>
                </a:lnTo>
                <a:lnTo>
                  <a:pt x="1289303" y="275843"/>
                </a:lnTo>
                <a:lnTo>
                  <a:pt x="1293876" y="27584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749897" y="1513039"/>
            <a:ext cx="945489" cy="129341"/>
          </a:xfrm>
          <a:custGeom>
            <a:avLst/>
            <a:gdLst/>
            <a:ahLst/>
            <a:cxnLst/>
            <a:rect l="l" t="t" r="r" b="b"/>
            <a:pathLst>
              <a:path w="1292860" h="279400">
                <a:moveTo>
                  <a:pt x="1292352" y="266700"/>
                </a:moveTo>
                <a:lnTo>
                  <a:pt x="1290066" y="0"/>
                </a:lnTo>
                <a:lnTo>
                  <a:pt x="0" y="12192"/>
                </a:lnTo>
                <a:lnTo>
                  <a:pt x="2285" y="278892"/>
                </a:lnTo>
                <a:lnTo>
                  <a:pt x="1292352" y="26670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746552" y="1510923"/>
            <a:ext cx="951991" cy="133457"/>
          </a:xfrm>
          <a:custGeom>
            <a:avLst/>
            <a:gdLst/>
            <a:ahLst/>
            <a:cxnLst/>
            <a:rect l="l" t="t" r="r" b="b"/>
            <a:pathLst>
              <a:path w="1301750" h="288289">
                <a:moveTo>
                  <a:pt x="1301496" y="275844"/>
                </a:moveTo>
                <a:lnTo>
                  <a:pt x="1299210" y="0"/>
                </a:lnTo>
                <a:lnTo>
                  <a:pt x="0" y="12192"/>
                </a:lnTo>
                <a:lnTo>
                  <a:pt x="2285" y="288036"/>
                </a:lnTo>
                <a:lnTo>
                  <a:pt x="4572" y="288014"/>
                </a:lnTo>
                <a:lnTo>
                  <a:pt x="4571" y="22098"/>
                </a:lnTo>
                <a:lnTo>
                  <a:pt x="9143" y="16764"/>
                </a:lnTo>
                <a:lnTo>
                  <a:pt x="9204" y="22051"/>
                </a:lnTo>
                <a:lnTo>
                  <a:pt x="1289304" y="9197"/>
                </a:lnTo>
                <a:lnTo>
                  <a:pt x="1289304" y="4572"/>
                </a:lnTo>
                <a:lnTo>
                  <a:pt x="1294638" y="9144"/>
                </a:lnTo>
                <a:lnTo>
                  <a:pt x="1294638" y="266721"/>
                </a:lnTo>
                <a:lnTo>
                  <a:pt x="1296924" y="266700"/>
                </a:lnTo>
                <a:lnTo>
                  <a:pt x="1296924" y="275886"/>
                </a:lnTo>
                <a:lnTo>
                  <a:pt x="1301496" y="275844"/>
                </a:lnTo>
                <a:close/>
              </a:path>
              <a:path w="1301750" h="288289">
                <a:moveTo>
                  <a:pt x="9204" y="22051"/>
                </a:moveTo>
                <a:lnTo>
                  <a:pt x="9143" y="16764"/>
                </a:lnTo>
                <a:lnTo>
                  <a:pt x="4571" y="22098"/>
                </a:lnTo>
                <a:lnTo>
                  <a:pt x="9204" y="22051"/>
                </a:lnTo>
                <a:close/>
              </a:path>
              <a:path w="1301750" h="288289">
                <a:moveTo>
                  <a:pt x="12139" y="278842"/>
                </a:moveTo>
                <a:lnTo>
                  <a:pt x="9204" y="22051"/>
                </a:lnTo>
                <a:lnTo>
                  <a:pt x="4571" y="22098"/>
                </a:lnTo>
                <a:lnTo>
                  <a:pt x="4572" y="288014"/>
                </a:lnTo>
                <a:lnTo>
                  <a:pt x="6857" y="287993"/>
                </a:lnTo>
                <a:lnTo>
                  <a:pt x="6857" y="278892"/>
                </a:lnTo>
                <a:lnTo>
                  <a:pt x="12139" y="278842"/>
                </a:lnTo>
                <a:close/>
              </a:path>
              <a:path w="1301750" h="288289">
                <a:moveTo>
                  <a:pt x="12191" y="283464"/>
                </a:moveTo>
                <a:lnTo>
                  <a:pt x="12139" y="278842"/>
                </a:lnTo>
                <a:lnTo>
                  <a:pt x="6857" y="278892"/>
                </a:lnTo>
                <a:lnTo>
                  <a:pt x="12191" y="283464"/>
                </a:lnTo>
                <a:close/>
              </a:path>
              <a:path w="1301750" h="288289">
                <a:moveTo>
                  <a:pt x="12191" y="287943"/>
                </a:moveTo>
                <a:lnTo>
                  <a:pt x="12191" y="283464"/>
                </a:lnTo>
                <a:lnTo>
                  <a:pt x="6857" y="278892"/>
                </a:lnTo>
                <a:lnTo>
                  <a:pt x="6857" y="287993"/>
                </a:lnTo>
                <a:lnTo>
                  <a:pt x="12191" y="287943"/>
                </a:lnTo>
                <a:close/>
              </a:path>
              <a:path w="1301750" h="288289">
                <a:moveTo>
                  <a:pt x="1296924" y="275886"/>
                </a:moveTo>
                <a:lnTo>
                  <a:pt x="1296924" y="266700"/>
                </a:lnTo>
                <a:lnTo>
                  <a:pt x="1292352" y="271272"/>
                </a:lnTo>
                <a:lnTo>
                  <a:pt x="1292300" y="266743"/>
                </a:lnTo>
                <a:lnTo>
                  <a:pt x="12139" y="278842"/>
                </a:lnTo>
                <a:lnTo>
                  <a:pt x="12191" y="283464"/>
                </a:lnTo>
                <a:lnTo>
                  <a:pt x="12191" y="287943"/>
                </a:lnTo>
                <a:lnTo>
                  <a:pt x="1296924" y="275886"/>
                </a:lnTo>
                <a:close/>
              </a:path>
              <a:path w="1301750" h="288289">
                <a:moveTo>
                  <a:pt x="1294638" y="9144"/>
                </a:moveTo>
                <a:lnTo>
                  <a:pt x="1289304" y="4572"/>
                </a:lnTo>
                <a:lnTo>
                  <a:pt x="1289356" y="9197"/>
                </a:lnTo>
                <a:lnTo>
                  <a:pt x="1294638" y="9144"/>
                </a:lnTo>
                <a:close/>
              </a:path>
              <a:path w="1301750" h="288289">
                <a:moveTo>
                  <a:pt x="1289356" y="9197"/>
                </a:moveTo>
                <a:lnTo>
                  <a:pt x="1289304" y="4572"/>
                </a:lnTo>
                <a:lnTo>
                  <a:pt x="1289304" y="9197"/>
                </a:lnTo>
                <a:close/>
              </a:path>
              <a:path w="1301750" h="288289">
                <a:moveTo>
                  <a:pt x="1294638" y="266721"/>
                </a:moveTo>
                <a:lnTo>
                  <a:pt x="1294638" y="9144"/>
                </a:lnTo>
                <a:lnTo>
                  <a:pt x="1289356" y="9197"/>
                </a:lnTo>
                <a:lnTo>
                  <a:pt x="1292300" y="266743"/>
                </a:lnTo>
                <a:lnTo>
                  <a:pt x="1294638" y="266721"/>
                </a:lnTo>
                <a:close/>
              </a:path>
              <a:path w="1301750" h="288289">
                <a:moveTo>
                  <a:pt x="1296924" y="266700"/>
                </a:moveTo>
                <a:lnTo>
                  <a:pt x="1292300" y="266743"/>
                </a:lnTo>
                <a:lnTo>
                  <a:pt x="1292352" y="271272"/>
                </a:lnTo>
                <a:lnTo>
                  <a:pt x="1296924" y="2667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1597184" y="1489941"/>
            <a:ext cx="234515" cy="152858"/>
          </a:xfrm>
          <a:custGeom>
            <a:avLst/>
            <a:gdLst/>
            <a:ahLst/>
            <a:cxnLst/>
            <a:rect l="l" t="t" r="r" b="b"/>
            <a:pathLst>
              <a:path w="320675" h="330200">
                <a:moveTo>
                  <a:pt x="320548" y="182992"/>
                </a:moveTo>
                <a:lnTo>
                  <a:pt x="318092" y="139908"/>
                </a:lnTo>
                <a:lnTo>
                  <a:pt x="304461" y="97140"/>
                </a:lnTo>
                <a:lnTo>
                  <a:pt x="280553" y="59499"/>
                </a:lnTo>
                <a:lnTo>
                  <a:pt x="249089" y="30197"/>
                </a:lnTo>
                <a:lnTo>
                  <a:pt x="212164" y="10082"/>
                </a:lnTo>
                <a:lnTo>
                  <a:pt x="171873" y="0"/>
                </a:lnTo>
                <a:lnTo>
                  <a:pt x="130312" y="797"/>
                </a:lnTo>
                <a:lnTo>
                  <a:pt x="89577" y="13320"/>
                </a:lnTo>
                <a:lnTo>
                  <a:pt x="53625" y="36720"/>
                </a:lnTo>
                <a:lnTo>
                  <a:pt x="26246" y="68184"/>
                </a:lnTo>
                <a:lnTo>
                  <a:pt x="8138" y="105618"/>
                </a:lnTo>
                <a:lnTo>
                  <a:pt x="0" y="146924"/>
                </a:lnTo>
                <a:lnTo>
                  <a:pt x="2529" y="190009"/>
                </a:lnTo>
                <a:lnTo>
                  <a:pt x="16425" y="232776"/>
                </a:lnTo>
                <a:lnTo>
                  <a:pt x="40333" y="270418"/>
                </a:lnTo>
                <a:lnTo>
                  <a:pt x="71797" y="299719"/>
                </a:lnTo>
                <a:lnTo>
                  <a:pt x="108722" y="319835"/>
                </a:lnTo>
                <a:lnTo>
                  <a:pt x="149013" y="329917"/>
                </a:lnTo>
                <a:lnTo>
                  <a:pt x="190574" y="329120"/>
                </a:lnTo>
                <a:lnTo>
                  <a:pt x="231309" y="316596"/>
                </a:lnTo>
                <a:lnTo>
                  <a:pt x="267208" y="293197"/>
                </a:lnTo>
                <a:lnTo>
                  <a:pt x="294470" y="261732"/>
                </a:lnTo>
                <a:lnTo>
                  <a:pt x="312462" y="224299"/>
                </a:lnTo>
                <a:lnTo>
                  <a:pt x="320548" y="182992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1593473" y="1487503"/>
            <a:ext cx="241945" cy="157855"/>
          </a:xfrm>
          <a:custGeom>
            <a:avLst/>
            <a:gdLst/>
            <a:ahLst/>
            <a:cxnLst/>
            <a:rect l="l" t="t" r="r" b="b"/>
            <a:pathLst>
              <a:path w="330835" h="340995">
                <a:moveTo>
                  <a:pt x="330771" y="188947"/>
                </a:moveTo>
                <a:lnTo>
                  <a:pt x="320354" y="117638"/>
                </a:lnTo>
                <a:lnTo>
                  <a:pt x="283538" y="55527"/>
                </a:lnTo>
                <a:lnTo>
                  <a:pt x="225139" y="12889"/>
                </a:lnTo>
                <a:lnTo>
                  <a:pt x="149972" y="0"/>
                </a:lnTo>
                <a:lnTo>
                  <a:pt x="107606" y="7921"/>
                </a:lnTo>
                <a:lnTo>
                  <a:pt x="92366" y="14017"/>
                </a:lnTo>
                <a:lnTo>
                  <a:pt x="84746" y="17827"/>
                </a:lnTo>
                <a:lnTo>
                  <a:pt x="77888" y="22399"/>
                </a:lnTo>
                <a:lnTo>
                  <a:pt x="70268" y="26971"/>
                </a:lnTo>
                <a:lnTo>
                  <a:pt x="40159" y="54738"/>
                </a:lnTo>
                <a:lnTo>
                  <a:pt x="18787" y="85640"/>
                </a:lnTo>
                <a:lnTo>
                  <a:pt x="5588" y="118648"/>
                </a:lnTo>
                <a:lnTo>
                  <a:pt x="0" y="152733"/>
                </a:lnTo>
                <a:lnTo>
                  <a:pt x="1457" y="186866"/>
                </a:lnTo>
                <a:lnTo>
                  <a:pt x="9303" y="219625"/>
                </a:lnTo>
                <a:lnTo>
                  <a:pt x="9303" y="160041"/>
                </a:lnTo>
                <a:lnTo>
                  <a:pt x="13552" y="125887"/>
                </a:lnTo>
                <a:lnTo>
                  <a:pt x="46471" y="61982"/>
                </a:lnTo>
                <a:lnTo>
                  <a:pt x="76364" y="34591"/>
                </a:lnTo>
                <a:lnTo>
                  <a:pt x="96938" y="23161"/>
                </a:lnTo>
                <a:lnTo>
                  <a:pt x="103796" y="19351"/>
                </a:lnTo>
                <a:lnTo>
                  <a:pt x="111416" y="17065"/>
                </a:lnTo>
                <a:lnTo>
                  <a:pt x="152121" y="9713"/>
                </a:lnTo>
                <a:lnTo>
                  <a:pt x="189787" y="12051"/>
                </a:lnTo>
                <a:lnTo>
                  <a:pt x="253740" y="40719"/>
                </a:lnTo>
                <a:lnTo>
                  <a:pt x="298746" y="92913"/>
                </a:lnTo>
                <a:lnTo>
                  <a:pt x="320280" y="158479"/>
                </a:lnTo>
                <a:lnTo>
                  <a:pt x="320831" y="193102"/>
                </a:lnTo>
                <a:lnTo>
                  <a:pt x="320831" y="233646"/>
                </a:lnTo>
                <a:lnTo>
                  <a:pt x="324575" y="224839"/>
                </a:lnTo>
                <a:lnTo>
                  <a:pt x="330771" y="188947"/>
                </a:lnTo>
                <a:close/>
              </a:path>
              <a:path w="330835" h="340995">
                <a:moveTo>
                  <a:pt x="320831" y="233646"/>
                </a:moveTo>
                <a:lnTo>
                  <a:pt x="320831" y="193102"/>
                </a:lnTo>
                <a:lnTo>
                  <a:pt x="313815" y="227259"/>
                </a:lnTo>
                <a:lnTo>
                  <a:pt x="298669" y="259682"/>
                </a:lnTo>
                <a:lnTo>
                  <a:pt x="241718" y="314245"/>
                </a:lnTo>
                <a:lnTo>
                  <a:pt x="187595" y="330372"/>
                </a:lnTo>
                <a:lnTo>
                  <a:pt x="152121" y="330109"/>
                </a:lnTo>
                <a:lnTo>
                  <a:pt x="85687" y="305633"/>
                </a:lnTo>
                <a:lnTo>
                  <a:pt x="38055" y="257151"/>
                </a:lnTo>
                <a:lnTo>
                  <a:pt x="12379" y="194089"/>
                </a:lnTo>
                <a:lnTo>
                  <a:pt x="9303" y="160041"/>
                </a:lnTo>
                <a:lnTo>
                  <a:pt x="9303" y="219625"/>
                </a:lnTo>
                <a:lnTo>
                  <a:pt x="42472" y="279264"/>
                </a:lnTo>
                <a:lnTo>
                  <a:pt x="94715" y="322237"/>
                </a:lnTo>
                <a:lnTo>
                  <a:pt x="161617" y="340706"/>
                </a:lnTo>
                <a:lnTo>
                  <a:pt x="199157" y="338178"/>
                </a:lnTo>
                <a:lnTo>
                  <a:pt x="238670" y="326437"/>
                </a:lnTo>
                <a:lnTo>
                  <a:pt x="286366" y="290677"/>
                </a:lnTo>
                <a:lnTo>
                  <a:pt x="309974" y="259177"/>
                </a:lnTo>
                <a:lnTo>
                  <a:pt x="320831" y="23364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1683273" y="1552900"/>
            <a:ext cx="57251" cy="3527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405507" y="1110905"/>
            <a:ext cx="3522460" cy="3033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402163" y="1108436"/>
            <a:ext cx="3529333" cy="35275"/>
          </a:xfrm>
          <a:custGeom>
            <a:avLst/>
            <a:gdLst/>
            <a:ahLst/>
            <a:cxnLst/>
            <a:rect l="l" t="t" r="r" b="b"/>
            <a:pathLst>
              <a:path w="4826000" h="76200">
                <a:moveTo>
                  <a:pt x="4825746" y="76200"/>
                </a:moveTo>
                <a:lnTo>
                  <a:pt x="4825746" y="0"/>
                </a:lnTo>
                <a:lnTo>
                  <a:pt x="0" y="0"/>
                </a:lnTo>
                <a:lnTo>
                  <a:pt x="0" y="76200"/>
                </a:lnTo>
                <a:lnTo>
                  <a:pt x="4571" y="76200"/>
                </a:lnTo>
                <a:lnTo>
                  <a:pt x="4571" y="9906"/>
                </a:lnTo>
                <a:lnTo>
                  <a:pt x="9143" y="5334"/>
                </a:lnTo>
                <a:lnTo>
                  <a:pt x="9144" y="9906"/>
                </a:lnTo>
                <a:lnTo>
                  <a:pt x="4816602" y="9906"/>
                </a:lnTo>
                <a:lnTo>
                  <a:pt x="4816602" y="5334"/>
                </a:lnTo>
                <a:lnTo>
                  <a:pt x="4821174" y="9906"/>
                </a:lnTo>
                <a:lnTo>
                  <a:pt x="4821174" y="76200"/>
                </a:lnTo>
                <a:lnTo>
                  <a:pt x="4825746" y="76200"/>
                </a:lnTo>
                <a:close/>
              </a:path>
              <a:path w="4826000" h="76200">
                <a:moveTo>
                  <a:pt x="9143" y="9906"/>
                </a:moveTo>
                <a:lnTo>
                  <a:pt x="9143" y="5334"/>
                </a:lnTo>
                <a:lnTo>
                  <a:pt x="4571" y="9906"/>
                </a:lnTo>
                <a:lnTo>
                  <a:pt x="9143" y="9906"/>
                </a:lnTo>
                <a:close/>
              </a:path>
              <a:path w="4826000" h="76200">
                <a:moveTo>
                  <a:pt x="9143" y="66294"/>
                </a:moveTo>
                <a:lnTo>
                  <a:pt x="9143" y="9906"/>
                </a:lnTo>
                <a:lnTo>
                  <a:pt x="4571" y="9906"/>
                </a:lnTo>
                <a:lnTo>
                  <a:pt x="4571" y="66294"/>
                </a:lnTo>
                <a:lnTo>
                  <a:pt x="9143" y="66294"/>
                </a:lnTo>
                <a:close/>
              </a:path>
              <a:path w="4826000" h="76200">
                <a:moveTo>
                  <a:pt x="4821174" y="66294"/>
                </a:moveTo>
                <a:lnTo>
                  <a:pt x="4571" y="66294"/>
                </a:lnTo>
                <a:lnTo>
                  <a:pt x="9143" y="70865"/>
                </a:lnTo>
                <a:lnTo>
                  <a:pt x="9144" y="76200"/>
                </a:lnTo>
                <a:lnTo>
                  <a:pt x="4816602" y="76200"/>
                </a:lnTo>
                <a:lnTo>
                  <a:pt x="4816602" y="70865"/>
                </a:lnTo>
                <a:lnTo>
                  <a:pt x="4821174" y="66294"/>
                </a:lnTo>
                <a:close/>
              </a:path>
              <a:path w="4826000" h="76200">
                <a:moveTo>
                  <a:pt x="9144" y="76200"/>
                </a:moveTo>
                <a:lnTo>
                  <a:pt x="9143" y="70865"/>
                </a:lnTo>
                <a:lnTo>
                  <a:pt x="4571" y="66294"/>
                </a:lnTo>
                <a:lnTo>
                  <a:pt x="4571" y="76200"/>
                </a:lnTo>
                <a:lnTo>
                  <a:pt x="9144" y="76200"/>
                </a:lnTo>
                <a:close/>
              </a:path>
              <a:path w="4826000" h="76200">
                <a:moveTo>
                  <a:pt x="4821174" y="9906"/>
                </a:moveTo>
                <a:lnTo>
                  <a:pt x="4816602" y="5334"/>
                </a:lnTo>
                <a:lnTo>
                  <a:pt x="4816602" y="9906"/>
                </a:lnTo>
                <a:lnTo>
                  <a:pt x="4821174" y="9906"/>
                </a:lnTo>
                <a:close/>
              </a:path>
              <a:path w="4826000" h="76200">
                <a:moveTo>
                  <a:pt x="4821174" y="66294"/>
                </a:moveTo>
                <a:lnTo>
                  <a:pt x="4821174" y="9906"/>
                </a:lnTo>
                <a:lnTo>
                  <a:pt x="4816602" y="9906"/>
                </a:lnTo>
                <a:lnTo>
                  <a:pt x="4816602" y="66294"/>
                </a:lnTo>
                <a:lnTo>
                  <a:pt x="4821174" y="66294"/>
                </a:lnTo>
                <a:close/>
              </a:path>
              <a:path w="4826000" h="76200">
                <a:moveTo>
                  <a:pt x="4821174" y="76200"/>
                </a:moveTo>
                <a:lnTo>
                  <a:pt x="4821174" y="66294"/>
                </a:lnTo>
                <a:lnTo>
                  <a:pt x="4816602" y="70865"/>
                </a:lnTo>
                <a:lnTo>
                  <a:pt x="4816602" y="76200"/>
                </a:lnTo>
                <a:lnTo>
                  <a:pt x="4821174" y="762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405507" y="2040047"/>
            <a:ext cx="3522460" cy="3068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402163" y="2037931"/>
            <a:ext cx="3529333" cy="34981"/>
          </a:xfrm>
          <a:custGeom>
            <a:avLst/>
            <a:gdLst/>
            <a:ahLst/>
            <a:cxnLst/>
            <a:rect l="l" t="t" r="r" b="b"/>
            <a:pathLst>
              <a:path w="4826000" h="75564">
                <a:moveTo>
                  <a:pt x="4825746" y="75437"/>
                </a:moveTo>
                <a:lnTo>
                  <a:pt x="4825746" y="0"/>
                </a:lnTo>
                <a:lnTo>
                  <a:pt x="0" y="0"/>
                </a:lnTo>
                <a:lnTo>
                  <a:pt x="0" y="75437"/>
                </a:lnTo>
                <a:lnTo>
                  <a:pt x="4572" y="75437"/>
                </a:lnTo>
                <a:lnTo>
                  <a:pt x="4571" y="9905"/>
                </a:lnTo>
                <a:lnTo>
                  <a:pt x="9143" y="4572"/>
                </a:lnTo>
                <a:lnTo>
                  <a:pt x="9144" y="9905"/>
                </a:lnTo>
                <a:lnTo>
                  <a:pt x="4816602" y="9905"/>
                </a:lnTo>
                <a:lnTo>
                  <a:pt x="4816602" y="4572"/>
                </a:lnTo>
                <a:lnTo>
                  <a:pt x="4821174" y="9905"/>
                </a:lnTo>
                <a:lnTo>
                  <a:pt x="4821174" y="75437"/>
                </a:lnTo>
                <a:lnTo>
                  <a:pt x="4825746" y="75437"/>
                </a:lnTo>
                <a:close/>
              </a:path>
              <a:path w="4826000" h="75564">
                <a:moveTo>
                  <a:pt x="9143" y="9905"/>
                </a:moveTo>
                <a:lnTo>
                  <a:pt x="9143" y="4572"/>
                </a:lnTo>
                <a:lnTo>
                  <a:pt x="4571" y="9905"/>
                </a:lnTo>
                <a:lnTo>
                  <a:pt x="9143" y="9905"/>
                </a:lnTo>
                <a:close/>
              </a:path>
              <a:path w="4826000" h="75564">
                <a:moveTo>
                  <a:pt x="9143" y="66293"/>
                </a:moveTo>
                <a:lnTo>
                  <a:pt x="9143" y="9905"/>
                </a:lnTo>
                <a:lnTo>
                  <a:pt x="4571" y="9905"/>
                </a:lnTo>
                <a:lnTo>
                  <a:pt x="4571" y="66293"/>
                </a:lnTo>
                <a:lnTo>
                  <a:pt x="9143" y="66293"/>
                </a:lnTo>
                <a:close/>
              </a:path>
              <a:path w="4826000" h="75564">
                <a:moveTo>
                  <a:pt x="4821174" y="66293"/>
                </a:moveTo>
                <a:lnTo>
                  <a:pt x="4571" y="66293"/>
                </a:lnTo>
                <a:lnTo>
                  <a:pt x="9143" y="70865"/>
                </a:lnTo>
                <a:lnTo>
                  <a:pt x="9144" y="75437"/>
                </a:lnTo>
                <a:lnTo>
                  <a:pt x="4816602" y="75437"/>
                </a:lnTo>
                <a:lnTo>
                  <a:pt x="4816602" y="70865"/>
                </a:lnTo>
                <a:lnTo>
                  <a:pt x="4821174" y="66293"/>
                </a:lnTo>
                <a:close/>
              </a:path>
              <a:path w="4826000" h="75564">
                <a:moveTo>
                  <a:pt x="9144" y="75437"/>
                </a:moveTo>
                <a:lnTo>
                  <a:pt x="9143" y="70865"/>
                </a:lnTo>
                <a:lnTo>
                  <a:pt x="4571" y="66293"/>
                </a:lnTo>
                <a:lnTo>
                  <a:pt x="4572" y="75437"/>
                </a:lnTo>
                <a:lnTo>
                  <a:pt x="9144" y="75437"/>
                </a:lnTo>
                <a:close/>
              </a:path>
              <a:path w="4826000" h="75564">
                <a:moveTo>
                  <a:pt x="4821174" y="9905"/>
                </a:moveTo>
                <a:lnTo>
                  <a:pt x="4816602" y="4572"/>
                </a:lnTo>
                <a:lnTo>
                  <a:pt x="4816602" y="9905"/>
                </a:lnTo>
                <a:lnTo>
                  <a:pt x="4821174" y="9905"/>
                </a:lnTo>
                <a:close/>
              </a:path>
              <a:path w="4826000" h="75564">
                <a:moveTo>
                  <a:pt x="4821174" y="66293"/>
                </a:moveTo>
                <a:lnTo>
                  <a:pt x="4821174" y="9905"/>
                </a:lnTo>
                <a:lnTo>
                  <a:pt x="4816602" y="9905"/>
                </a:lnTo>
                <a:lnTo>
                  <a:pt x="4816602" y="66293"/>
                </a:lnTo>
                <a:lnTo>
                  <a:pt x="4821174" y="66293"/>
                </a:lnTo>
                <a:close/>
              </a:path>
              <a:path w="4826000" h="75564">
                <a:moveTo>
                  <a:pt x="4821174" y="75437"/>
                </a:moveTo>
                <a:lnTo>
                  <a:pt x="4821174" y="66293"/>
                </a:lnTo>
                <a:lnTo>
                  <a:pt x="4816602" y="70865"/>
                </a:lnTo>
                <a:lnTo>
                  <a:pt x="4816602" y="75437"/>
                </a:lnTo>
                <a:lnTo>
                  <a:pt x="4821174" y="7543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669650" y="1537026"/>
            <a:ext cx="54797" cy="22341"/>
          </a:xfrm>
          <a:custGeom>
            <a:avLst/>
            <a:gdLst/>
            <a:ahLst/>
            <a:cxnLst/>
            <a:rect l="l" t="t" r="r" b="b"/>
            <a:pathLst>
              <a:path w="74930" h="48260">
                <a:moveTo>
                  <a:pt x="74676" y="8381"/>
                </a:moveTo>
                <a:lnTo>
                  <a:pt x="69342" y="0"/>
                </a:lnTo>
                <a:lnTo>
                  <a:pt x="0" y="39623"/>
                </a:lnTo>
                <a:lnTo>
                  <a:pt x="5334" y="48005"/>
                </a:lnTo>
                <a:lnTo>
                  <a:pt x="74676" y="83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636355" y="1552900"/>
            <a:ext cx="110988" cy="124638"/>
          </a:xfrm>
          <a:custGeom>
            <a:avLst/>
            <a:gdLst/>
            <a:ahLst/>
            <a:cxnLst/>
            <a:rect l="l" t="t" r="r" b="b"/>
            <a:pathLst>
              <a:path w="151765" h="269239">
                <a:moveTo>
                  <a:pt x="151447" y="158495"/>
                </a:moveTo>
                <a:lnTo>
                  <a:pt x="149482" y="113073"/>
                </a:lnTo>
                <a:lnTo>
                  <a:pt x="144875" y="84867"/>
                </a:lnTo>
                <a:lnTo>
                  <a:pt x="132695" y="61090"/>
                </a:lnTo>
                <a:lnTo>
                  <a:pt x="108013" y="28955"/>
                </a:lnTo>
                <a:lnTo>
                  <a:pt x="100798" y="17787"/>
                </a:lnTo>
                <a:lnTo>
                  <a:pt x="85724" y="9334"/>
                </a:lnTo>
                <a:lnTo>
                  <a:pt x="67508" y="3452"/>
                </a:lnTo>
                <a:lnTo>
                  <a:pt x="50863" y="0"/>
                </a:lnTo>
                <a:lnTo>
                  <a:pt x="40719" y="2512"/>
                </a:lnTo>
                <a:lnTo>
                  <a:pt x="31432" y="5238"/>
                </a:lnTo>
                <a:lnTo>
                  <a:pt x="22145" y="7822"/>
                </a:lnTo>
                <a:lnTo>
                  <a:pt x="12001" y="9905"/>
                </a:lnTo>
                <a:lnTo>
                  <a:pt x="3786" y="14835"/>
                </a:lnTo>
                <a:lnTo>
                  <a:pt x="0" y="16763"/>
                </a:lnTo>
                <a:lnTo>
                  <a:pt x="1071" y="16978"/>
                </a:lnTo>
                <a:lnTo>
                  <a:pt x="7429" y="16763"/>
                </a:lnTo>
                <a:lnTo>
                  <a:pt x="7429" y="267337"/>
                </a:lnTo>
                <a:lnTo>
                  <a:pt x="19871" y="258365"/>
                </a:lnTo>
                <a:lnTo>
                  <a:pt x="35528" y="248030"/>
                </a:lnTo>
                <a:lnTo>
                  <a:pt x="52185" y="239410"/>
                </a:lnTo>
                <a:lnTo>
                  <a:pt x="69913" y="233933"/>
                </a:lnTo>
                <a:lnTo>
                  <a:pt x="88546" y="213252"/>
                </a:lnTo>
                <a:lnTo>
                  <a:pt x="110394" y="197072"/>
                </a:lnTo>
                <a:lnTo>
                  <a:pt x="132385" y="180463"/>
                </a:lnTo>
                <a:lnTo>
                  <a:pt x="151447" y="158495"/>
                </a:lnTo>
                <a:close/>
              </a:path>
              <a:path w="151765" h="269239">
                <a:moveTo>
                  <a:pt x="7429" y="267337"/>
                </a:moveTo>
                <a:lnTo>
                  <a:pt x="7429" y="16763"/>
                </a:lnTo>
                <a:lnTo>
                  <a:pt x="4119" y="67647"/>
                </a:lnTo>
                <a:lnTo>
                  <a:pt x="2345" y="118055"/>
                </a:lnTo>
                <a:lnTo>
                  <a:pt x="1997" y="168243"/>
                </a:lnTo>
                <a:lnTo>
                  <a:pt x="2967" y="218468"/>
                </a:lnTo>
                <a:lnTo>
                  <a:pt x="5143" y="268985"/>
                </a:lnTo>
                <a:lnTo>
                  <a:pt x="7429" y="267337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651819" y="1629799"/>
            <a:ext cx="104486" cy="52913"/>
          </a:xfrm>
          <a:custGeom>
            <a:avLst/>
            <a:gdLst/>
            <a:ahLst/>
            <a:cxnLst/>
            <a:rect l="l" t="t" r="r" b="b"/>
            <a:pathLst>
              <a:path w="142875" h="114300">
                <a:moveTo>
                  <a:pt x="142494" y="7619"/>
                </a:moveTo>
                <a:lnTo>
                  <a:pt x="136398" y="0"/>
                </a:lnTo>
                <a:lnTo>
                  <a:pt x="0" y="106680"/>
                </a:lnTo>
                <a:lnTo>
                  <a:pt x="6096" y="114300"/>
                </a:lnTo>
                <a:lnTo>
                  <a:pt x="142494" y="76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505258" y="1048469"/>
            <a:ext cx="159377" cy="108893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501914" y="1046352"/>
            <a:ext cx="166250" cy="1093229"/>
          </a:xfrm>
          <a:custGeom>
            <a:avLst/>
            <a:gdLst/>
            <a:ahLst/>
            <a:cxnLst/>
            <a:rect l="l" t="t" r="r" b="b"/>
            <a:pathLst>
              <a:path w="227330" h="2361565">
                <a:moveTo>
                  <a:pt x="227076" y="2361438"/>
                </a:moveTo>
                <a:lnTo>
                  <a:pt x="227075" y="0"/>
                </a:lnTo>
                <a:lnTo>
                  <a:pt x="0" y="0"/>
                </a:lnTo>
                <a:lnTo>
                  <a:pt x="0" y="2361438"/>
                </a:lnTo>
                <a:lnTo>
                  <a:pt x="4572" y="2361438"/>
                </a:lnTo>
                <a:lnTo>
                  <a:pt x="4571" y="9144"/>
                </a:lnTo>
                <a:lnTo>
                  <a:pt x="9143" y="4572"/>
                </a:lnTo>
                <a:lnTo>
                  <a:pt x="9143" y="9144"/>
                </a:lnTo>
                <a:lnTo>
                  <a:pt x="217931" y="9144"/>
                </a:lnTo>
                <a:lnTo>
                  <a:pt x="217931" y="4572"/>
                </a:lnTo>
                <a:lnTo>
                  <a:pt x="222503" y="9144"/>
                </a:lnTo>
                <a:lnTo>
                  <a:pt x="222504" y="2361438"/>
                </a:lnTo>
                <a:lnTo>
                  <a:pt x="227076" y="2361438"/>
                </a:lnTo>
                <a:close/>
              </a:path>
              <a:path w="227330" h="2361565">
                <a:moveTo>
                  <a:pt x="9143" y="9144"/>
                </a:moveTo>
                <a:lnTo>
                  <a:pt x="9143" y="4572"/>
                </a:lnTo>
                <a:lnTo>
                  <a:pt x="4571" y="9144"/>
                </a:lnTo>
                <a:lnTo>
                  <a:pt x="9143" y="9144"/>
                </a:lnTo>
                <a:close/>
              </a:path>
              <a:path w="227330" h="2361565">
                <a:moveTo>
                  <a:pt x="9144" y="2352294"/>
                </a:moveTo>
                <a:lnTo>
                  <a:pt x="9143" y="9144"/>
                </a:lnTo>
                <a:lnTo>
                  <a:pt x="4571" y="9144"/>
                </a:lnTo>
                <a:lnTo>
                  <a:pt x="4572" y="2352294"/>
                </a:lnTo>
                <a:lnTo>
                  <a:pt x="9144" y="2352294"/>
                </a:lnTo>
                <a:close/>
              </a:path>
              <a:path w="227330" h="2361565">
                <a:moveTo>
                  <a:pt x="222504" y="2352294"/>
                </a:moveTo>
                <a:lnTo>
                  <a:pt x="4572" y="2352294"/>
                </a:lnTo>
                <a:lnTo>
                  <a:pt x="9144" y="2356866"/>
                </a:lnTo>
                <a:lnTo>
                  <a:pt x="9144" y="2361438"/>
                </a:lnTo>
                <a:lnTo>
                  <a:pt x="217932" y="2361438"/>
                </a:lnTo>
                <a:lnTo>
                  <a:pt x="217932" y="2356866"/>
                </a:lnTo>
                <a:lnTo>
                  <a:pt x="222504" y="2352294"/>
                </a:lnTo>
                <a:close/>
              </a:path>
              <a:path w="227330" h="2361565">
                <a:moveTo>
                  <a:pt x="9144" y="2361438"/>
                </a:moveTo>
                <a:lnTo>
                  <a:pt x="9144" y="2356866"/>
                </a:lnTo>
                <a:lnTo>
                  <a:pt x="4572" y="2352294"/>
                </a:lnTo>
                <a:lnTo>
                  <a:pt x="4572" y="2361438"/>
                </a:lnTo>
                <a:lnTo>
                  <a:pt x="9144" y="2361438"/>
                </a:lnTo>
                <a:close/>
              </a:path>
              <a:path w="227330" h="2361565">
                <a:moveTo>
                  <a:pt x="222503" y="9144"/>
                </a:moveTo>
                <a:lnTo>
                  <a:pt x="217931" y="4572"/>
                </a:lnTo>
                <a:lnTo>
                  <a:pt x="217931" y="9144"/>
                </a:lnTo>
                <a:lnTo>
                  <a:pt x="222503" y="9144"/>
                </a:lnTo>
                <a:close/>
              </a:path>
              <a:path w="227330" h="2361565">
                <a:moveTo>
                  <a:pt x="222504" y="2352294"/>
                </a:moveTo>
                <a:lnTo>
                  <a:pt x="222503" y="9144"/>
                </a:lnTo>
                <a:lnTo>
                  <a:pt x="217931" y="9144"/>
                </a:lnTo>
                <a:lnTo>
                  <a:pt x="217932" y="2352294"/>
                </a:lnTo>
                <a:lnTo>
                  <a:pt x="222504" y="2352294"/>
                </a:lnTo>
                <a:close/>
              </a:path>
              <a:path w="227330" h="2361565">
                <a:moveTo>
                  <a:pt x="222504" y="2361438"/>
                </a:moveTo>
                <a:lnTo>
                  <a:pt x="222504" y="2352294"/>
                </a:lnTo>
                <a:lnTo>
                  <a:pt x="217932" y="2356866"/>
                </a:lnTo>
                <a:lnTo>
                  <a:pt x="217932" y="2361438"/>
                </a:lnTo>
                <a:lnTo>
                  <a:pt x="222504" y="23614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704758" y="1501950"/>
            <a:ext cx="175073" cy="126108"/>
          </a:xfrm>
          <a:custGeom>
            <a:avLst/>
            <a:gdLst/>
            <a:ahLst/>
            <a:cxnLst/>
            <a:rect l="l" t="t" r="r" b="b"/>
            <a:pathLst>
              <a:path w="239394" h="272414">
                <a:moveTo>
                  <a:pt x="238839" y="120026"/>
                </a:moveTo>
                <a:lnTo>
                  <a:pt x="231814" y="82236"/>
                </a:lnTo>
                <a:lnTo>
                  <a:pt x="213193" y="44874"/>
                </a:lnTo>
                <a:lnTo>
                  <a:pt x="167068" y="11668"/>
                </a:lnTo>
                <a:lnTo>
                  <a:pt x="129539" y="1857"/>
                </a:lnTo>
                <a:lnTo>
                  <a:pt x="112776" y="0"/>
                </a:lnTo>
                <a:lnTo>
                  <a:pt x="96012" y="714"/>
                </a:lnTo>
                <a:lnTo>
                  <a:pt x="50625" y="10441"/>
                </a:lnTo>
                <a:lnTo>
                  <a:pt x="16763" y="30051"/>
                </a:lnTo>
                <a:lnTo>
                  <a:pt x="0" y="72723"/>
                </a:lnTo>
                <a:lnTo>
                  <a:pt x="62484" y="266271"/>
                </a:lnTo>
                <a:lnTo>
                  <a:pt x="73949" y="267628"/>
                </a:lnTo>
                <a:lnTo>
                  <a:pt x="89058" y="270271"/>
                </a:lnTo>
                <a:lnTo>
                  <a:pt x="106310" y="272057"/>
                </a:lnTo>
                <a:lnTo>
                  <a:pt x="124206" y="270843"/>
                </a:lnTo>
                <a:lnTo>
                  <a:pt x="144160" y="264997"/>
                </a:lnTo>
                <a:lnTo>
                  <a:pt x="185499" y="244161"/>
                </a:lnTo>
                <a:lnTo>
                  <a:pt x="221075" y="208549"/>
                </a:lnTo>
                <a:lnTo>
                  <a:pt x="235696" y="160817"/>
                </a:lnTo>
                <a:lnTo>
                  <a:pt x="238125" y="140636"/>
                </a:lnTo>
                <a:lnTo>
                  <a:pt x="238839" y="120026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701414" y="1499928"/>
            <a:ext cx="182039" cy="130223"/>
          </a:xfrm>
          <a:custGeom>
            <a:avLst/>
            <a:gdLst/>
            <a:ahLst/>
            <a:cxnLst/>
            <a:rect l="l" t="t" r="r" b="b"/>
            <a:pathLst>
              <a:path w="248919" h="281304">
                <a:moveTo>
                  <a:pt x="248411" y="135003"/>
                </a:moveTo>
                <a:lnTo>
                  <a:pt x="248411" y="124335"/>
                </a:lnTo>
                <a:lnTo>
                  <a:pt x="247650" y="113667"/>
                </a:lnTo>
                <a:lnTo>
                  <a:pt x="236787" y="74549"/>
                </a:lnTo>
                <a:lnTo>
                  <a:pt x="201379" y="25059"/>
                </a:lnTo>
                <a:lnTo>
                  <a:pt x="153162" y="5463"/>
                </a:lnTo>
                <a:lnTo>
                  <a:pt x="123192" y="0"/>
                </a:lnTo>
                <a:lnTo>
                  <a:pt x="92182" y="1286"/>
                </a:lnTo>
                <a:lnTo>
                  <a:pt x="33527" y="19179"/>
                </a:lnTo>
                <a:lnTo>
                  <a:pt x="18287" y="31371"/>
                </a:lnTo>
                <a:lnTo>
                  <a:pt x="17525" y="31371"/>
                </a:lnTo>
                <a:lnTo>
                  <a:pt x="17525" y="32133"/>
                </a:lnTo>
                <a:lnTo>
                  <a:pt x="13715" y="37467"/>
                </a:lnTo>
                <a:lnTo>
                  <a:pt x="10667" y="43563"/>
                </a:lnTo>
                <a:lnTo>
                  <a:pt x="8381" y="49659"/>
                </a:lnTo>
                <a:lnTo>
                  <a:pt x="6095" y="56517"/>
                </a:lnTo>
                <a:lnTo>
                  <a:pt x="3809" y="62613"/>
                </a:lnTo>
                <a:lnTo>
                  <a:pt x="2285" y="67947"/>
                </a:lnTo>
                <a:lnTo>
                  <a:pt x="1523" y="70233"/>
                </a:lnTo>
                <a:lnTo>
                  <a:pt x="1523" y="72519"/>
                </a:lnTo>
                <a:lnTo>
                  <a:pt x="0" y="75567"/>
                </a:lnTo>
                <a:lnTo>
                  <a:pt x="9144" y="78615"/>
                </a:lnTo>
                <a:lnTo>
                  <a:pt x="9906" y="77091"/>
                </a:lnTo>
                <a:lnTo>
                  <a:pt x="12041" y="68071"/>
                </a:lnTo>
                <a:lnTo>
                  <a:pt x="14797" y="59174"/>
                </a:lnTo>
                <a:lnTo>
                  <a:pt x="18155" y="50473"/>
                </a:lnTo>
                <a:lnTo>
                  <a:pt x="22097" y="42039"/>
                </a:lnTo>
                <a:lnTo>
                  <a:pt x="25145" y="37467"/>
                </a:lnTo>
                <a:lnTo>
                  <a:pt x="25145" y="38229"/>
                </a:lnTo>
                <a:lnTo>
                  <a:pt x="28956" y="33657"/>
                </a:lnTo>
                <a:lnTo>
                  <a:pt x="38099" y="27561"/>
                </a:lnTo>
                <a:lnTo>
                  <a:pt x="67622" y="15976"/>
                </a:lnTo>
                <a:lnTo>
                  <a:pt x="98407" y="10206"/>
                </a:lnTo>
                <a:lnTo>
                  <a:pt x="129709" y="10637"/>
                </a:lnTo>
                <a:lnTo>
                  <a:pt x="160782" y="17655"/>
                </a:lnTo>
                <a:lnTo>
                  <a:pt x="169926" y="20703"/>
                </a:lnTo>
                <a:lnTo>
                  <a:pt x="179832" y="23751"/>
                </a:lnTo>
                <a:lnTo>
                  <a:pt x="218003" y="57922"/>
                </a:lnTo>
                <a:lnTo>
                  <a:pt x="236982" y="106809"/>
                </a:lnTo>
                <a:lnTo>
                  <a:pt x="238506" y="115191"/>
                </a:lnTo>
                <a:lnTo>
                  <a:pt x="238506" y="193506"/>
                </a:lnTo>
                <a:lnTo>
                  <a:pt x="243017" y="176179"/>
                </a:lnTo>
                <a:lnTo>
                  <a:pt x="247650" y="145671"/>
                </a:lnTo>
                <a:lnTo>
                  <a:pt x="248411" y="135003"/>
                </a:lnTo>
                <a:close/>
              </a:path>
              <a:path w="248919" h="281304">
                <a:moveTo>
                  <a:pt x="238506" y="193506"/>
                </a:moveTo>
                <a:lnTo>
                  <a:pt x="238506" y="135003"/>
                </a:lnTo>
                <a:lnTo>
                  <a:pt x="237744" y="144909"/>
                </a:lnTo>
                <a:lnTo>
                  <a:pt x="234111" y="173415"/>
                </a:lnTo>
                <a:lnTo>
                  <a:pt x="213773" y="222727"/>
                </a:lnTo>
                <a:lnTo>
                  <a:pt x="178308" y="250065"/>
                </a:lnTo>
                <a:lnTo>
                  <a:pt x="128868" y="270448"/>
                </a:lnTo>
                <a:lnTo>
                  <a:pt x="105672" y="271335"/>
                </a:lnTo>
                <a:lnTo>
                  <a:pt x="76200" y="266829"/>
                </a:lnTo>
                <a:lnTo>
                  <a:pt x="73152" y="266067"/>
                </a:lnTo>
                <a:lnTo>
                  <a:pt x="67056" y="266067"/>
                </a:lnTo>
                <a:lnTo>
                  <a:pt x="67056" y="275211"/>
                </a:lnTo>
                <a:lnTo>
                  <a:pt x="68580" y="275211"/>
                </a:lnTo>
                <a:lnTo>
                  <a:pt x="71628" y="275973"/>
                </a:lnTo>
                <a:lnTo>
                  <a:pt x="74676" y="275973"/>
                </a:lnTo>
                <a:lnTo>
                  <a:pt x="108821" y="281092"/>
                </a:lnTo>
                <a:lnTo>
                  <a:pt x="135874" y="278711"/>
                </a:lnTo>
                <a:lnTo>
                  <a:pt x="161854" y="269056"/>
                </a:lnTo>
                <a:lnTo>
                  <a:pt x="192786" y="252351"/>
                </a:lnTo>
                <a:lnTo>
                  <a:pt x="197358" y="250065"/>
                </a:lnTo>
                <a:lnTo>
                  <a:pt x="201168" y="247017"/>
                </a:lnTo>
                <a:lnTo>
                  <a:pt x="223623" y="225009"/>
                </a:lnTo>
                <a:lnTo>
                  <a:pt x="236291" y="202011"/>
                </a:lnTo>
                <a:lnTo>
                  <a:pt x="238506" y="19350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739866" y="1545444"/>
            <a:ext cx="55726" cy="3602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1644303" y="1556427"/>
            <a:ext cx="93342" cy="669636"/>
          </a:xfrm>
          <a:custGeom>
            <a:avLst/>
            <a:gdLst/>
            <a:ahLst/>
            <a:cxnLst/>
            <a:rect l="l" t="t" r="r" b="b"/>
            <a:pathLst>
              <a:path w="127635" h="1446529">
                <a:moveTo>
                  <a:pt x="0" y="0"/>
                </a:moveTo>
                <a:lnTo>
                  <a:pt x="0" y="1446276"/>
                </a:lnTo>
                <a:lnTo>
                  <a:pt x="127254" y="1446276"/>
                </a:lnTo>
                <a:lnTo>
                  <a:pt x="127254" y="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1640960" y="1554312"/>
            <a:ext cx="99843" cy="673751"/>
          </a:xfrm>
          <a:custGeom>
            <a:avLst/>
            <a:gdLst/>
            <a:ahLst/>
            <a:cxnLst/>
            <a:rect l="l" t="t" r="r" b="b"/>
            <a:pathLst>
              <a:path w="136525" h="1455420">
                <a:moveTo>
                  <a:pt x="136398" y="1455420"/>
                </a:moveTo>
                <a:lnTo>
                  <a:pt x="136398" y="0"/>
                </a:lnTo>
                <a:lnTo>
                  <a:pt x="0" y="0"/>
                </a:lnTo>
                <a:lnTo>
                  <a:pt x="0" y="1455420"/>
                </a:lnTo>
                <a:lnTo>
                  <a:pt x="4572" y="1455420"/>
                </a:lnTo>
                <a:lnTo>
                  <a:pt x="4572" y="9144"/>
                </a:lnTo>
                <a:lnTo>
                  <a:pt x="9906" y="4572"/>
                </a:lnTo>
                <a:lnTo>
                  <a:pt x="9906" y="9144"/>
                </a:lnTo>
                <a:lnTo>
                  <a:pt x="127254" y="9144"/>
                </a:lnTo>
                <a:lnTo>
                  <a:pt x="127254" y="4572"/>
                </a:lnTo>
                <a:lnTo>
                  <a:pt x="131825" y="9144"/>
                </a:lnTo>
                <a:lnTo>
                  <a:pt x="131825" y="1455420"/>
                </a:lnTo>
                <a:lnTo>
                  <a:pt x="136398" y="1455420"/>
                </a:lnTo>
                <a:close/>
              </a:path>
              <a:path w="136525" h="1455420">
                <a:moveTo>
                  <a:pt x="9906" y="9144"/>
                </a:moveTo>
                <a:lnTo>
                  <a:pt x="9906" y="4572"/>
                </a:lnTo>
                <a:lnTo>
                  <a:pt x="4572" y="9144"/>
                </a:lnTo>
                <a:lnTo>
                  <a:pt x="9906" y="9144"/>
                </a:lnTo>
                <a:close/>
              </a:path>
              <a:path w="136525" h="1455420">
                <a:moveTo>
                  <a:pt x="9906" y="1445514"/>
                </a:moveTo>
                <a:lnTo>
                  <a:pt x="9906" y="9144"/>
                </a:lnTo>
                <a:lnTo>
                  <a:pt x="4572" y="9144"/>
                </a:lnTo>
                <a:lnTo>
                  <a:pt x="4572" y="1445514"/>
                </a:lnTo>
                <a:lnTo>
                  <a:pt x="9906" y="1445514"/>
                </a:lnTo>
                <a:close/>
              </a:path>
              <a:path w="136525" h="1455420">
                <a:moveTo>
                  <a:pt x="131825" y="1445514"/>
                </a:moveTo>
                <a:lnTo>
                  <a:pt x="4572" y="1445514"/>
                </a:lnTo>
                <a:lnTo>
                  <a:pt x="9906" y="1450848"/>
                </a:lnTo>
                <a:lnTo>
                  <a:pt x="9906" y="1455420"/>
                </a:lnTo>
                <a:lnTo>
                  <a:pt x="127254" y="1455420"/>
                </a:lnTo>
                <a:lnTo>
                  <a:pt x="127254" y="1450848"/>
                </a:lnTo>
                <a:lnTo>
                  <a:pt x="131825" y="1445514"/>
                </a:lnTo>
                <a:close/>
              </a:path>
              <a:path w="136525" h="1455420">
                <a:moveTo>
                  <a:pt x="9906" y="1455420"/>
                </a:moveTo>
                <a:lnTo>
                  <a:pt x="9906" y="1450848"/>
                </a:lnTo>
                <a:lnTo>
                  <a:pt x="4572" y="1445514"/>
                </a:lnTo>
                <a:lnTo>
                  <a:pt x="4572" y="1455420"/>
                </a:lnTo>
                <a:lnTo>
                  <a:pt x="9906" y="1455420"/>
                </a:lnTo>
                <a:close/>
              </a:path>
              <a:path w="136525" h="1455420">
                <a:moveTo>
                  <a:pt x="131825" y="9144"/>
                </a:moveTo>
                <a:lnTo>
                  <a:pt x="127254" y="4572"/>
                </a:lnTo>
                <a:lnTo>
                  <a:pt x="127254" y="9144"/>
                </a:lnTo>
                <a:lnTo>
                  <a:pt x="131825" y="9144"/>
                </a:lnTo>
                <a:close/>
              </a:path>
              <a:path w="136525" h="1455420">
                <a:moveTo>
                  <a:pt x="131825" y="1445514"/>
                </a:moveTo>
                <a:lnTo>
                  <a:pt x="131825" y="9144"/>
                </a:lnTo>
                <a:lnTo>
                  <a:pt x="127254" y="9144"/>
                </a:lnTo>
                <a:lnTo>
                  <a:pt x="127254" y="1445514"/>
                </a:lnTo>
                <a:lnTo>
                  <a:pt x="131825" y="1445514"/>
                </a:lnTo>
                <a:close/>
              </a:path>
              <a:path w="136525" h="1455420">
                <a:moveTo>
                  <a:pt x="131825" y="1455420"/>
                </a:moveTo>
                <a:lnTo>
                  <a:pt x="131825" y="1445514"/>
                </a:lnTo>
                <a:lnTo>
                  <a:pt x="127254" y="1450848"/>
                </a:lnTo>
                <a:lnTo>
                  <a:pt x="127254" y="1455420"/>
                </a:lnTo>
                <a:lnTo>
                  <a:pt x="131825" y="145542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2780005" y="1048469"/>
            <a:ext cx="159377" cy="108893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2776662" y="1046352"/>
            <a:ext cx="166250" cy="1093229"/>
          </a:xfrm>
          <a:custGeom>
            <a:avLst/>
            <a:gdLst/>
            <a:ahLst/>
            <a:cxnLst/>
            <a:rect l="l" t="t" r="r" b="b"/>
            <a:pathLst>
              <a:path w="227329" h="2361565">
                <a:moveTo>
                  <a:pt x="227075" y="2361438"/>
                </a:moveTo>
                <a:lnTo>
                  <a:pt x="227075" y="0"/>
                </a:lnTo>
                <a:lnTo>
                  <a:pt x="0" y="0"/>
                </a:lnTo>
                <a:lnTo>
                  <a:pt x="0" y="2361438"/>
                </a:lnTo>
                <a:lnTo>
                  <a:pt x="4571" y="2361438"/>
                </a:lnTo>
                <a:lnTo>
                  <a:pt x="4571" y="9144"/>
                </a:lnTo>
                <a:lnTo>
                  <a:pt x="9143" y="4572"/>
                </a:lnTo>
                <a:lnTo>
                  <a:pt x="9143" y="9144"/>
                </a:lnTo>
                <a:lnTo>
                  <a:pt x="217931" y="9144"/>
                </a:lnTo>
                <a:lnTo>
                  <a:pt x="217931" y="4572"/>
                </a:lnTo>
                <a:lnTo>
                  <a:pt x="222503" y="9144"/>
                </a:lnTo>
                <a:lnTo>
                  <a:pt x="222503" y="2361438"/>
                </a:lnTo>
                <a:lnTo>
                  <a:pt x="227075" y="2361438"/>
                </a:lnTo>
                <a:close/>
              </a:path>
              <a:path w="227329" h="2361565">
                <a:moveTo>
                  <a:pt x="9143" y="9144"/>
                </a:moveTo>
                <a:lnTo>
                  <a:pt x="9143" y="4572"/>
                </a:lnTo>
                <a:lnTo>
                  <a:pt x="4571" y="9144"/>
                </a:lnTo>
                <a:lnTo>
                  <a:pt x="9143" y="9144"/>
                </a:lnTo>
                <a:close/>
              </a:path>
              <a:path w="227329" h="2361565">
                <a:moveTo>
                  <a:pt x="9143" y="2352294"/>
                </a:moveTo>
                <a:lnTo>
                  <a:pt x="9143" y="9144"/>
                </a:lnTo>
                <a:lnTo>
                  <a:pt x="4571" y="9144"/>
                </a:lnTo>
                <a:lnTo>
                  <a:pt x="4571" y="2352294"/>
                </a:lnTo>
                <a:lnTo>
                  <a:pt x="9143" y="2352294"/>
                </a:lnTo>
                <a:close/>
              </a:path>
              <a:path w="227329" h="2361565">
                <a:moveTo>
                  <a:pt x="222503" y="2352294"/>
                </a:moveTo>
                <a:lnTo>
                  <a:pt x="4571" y="2352294"/>
                </a:lnTo>
                <a:lnTo>
                  <a:pt x="9143" y="2356866"/>
                </a:lnTo>
                <a:lnTo>
                  <a:pt x="9143" y="2361438"/>
                </a:lnTo>
                <a:lnTo>
                  <a:pt x="217931" y="2361438"/>
                </a:lnTo>
                <a:lnTo>
                  <a:pt x="217931" y="2356866"/>
                </a:lnTo>
                <a:lnTo>
                  <a:pt x="222503" y="2352294"/>
                </a:lnTo>
                <a:close/>
              </a:path>
              <a:path w="227329" h="2361565">
                <a:moveTo>
                  <a:pt x="9143" y="2361438"/>
                </a:moveTo>
                <a:lnTo>
                  <a:pt x="9143" y="2356866"/>
                </a:lnTo>
                <a:lnTo>
                  <a:pt x="4571" y="2352294"/>
                </a:lnTo>
                <a:lnTo>
                  <a:pt x="4571" y="2361438"/>
                </a:lnTo>
                <a:lnTo>
                  <a:pt x="9143" y="2361438"/>
                </a:lnTo>
                <a:close/>
              </a:path>
              <a:path w="227329" h="2361565">
                <a:moveTo>
                  <a:pt x="222503" y="9144"/>
                </a:moveTo>
                <a:lnTo>
                  <a:pt x="217931" y="4572"/>
                </a:lnTo>
                <a:lnTo>
                  <a:pt x="217931" y="9144"/>
                </a:lnTo>
                <a:lnTo>
                  <a:pt x="222503" y="9144"/>
                </a:lnTo>
                <a:close/>
              </a:path>
              <a:path w="227329" h="2361565">
                <a:moveTo>
                  <a:pt x="222503" y="2352294"/>
                </a:moveTo>
                <a:lnTo>
                  <a:pt x="222503" y="9144"/>
                </a:lnTo>
                <a:lnTo>
                  <a:pt x="217931" y="9144"/>
                </a:lnTo>
                <a:lnTo>
                  <a:pt x="217931" y="2352294"/>
                </a:lnTo>
                <a:lnTo>
                  <a:pt x="222503" y="2352294"/>
                </a:lnTo>
                <a:close/>
              </a:path>
              <a:path w="227329" h="2361565">
                <a:moveTo>
                  <a:pt x="222503" y="2361438"/>
                </a:moveTo>
                <a:lnTo>
                  <a:pt x="222503" y="2352294"/>
                </a:lnTo>
                <a:lnTo>
                  <a:pt x="217931" y="2356866"/>
                </a:lnTo>
                <a:lnTo>
                  <a:pt x="217931" y="2361438"/>
                </a:lnTo>
                <a:lnTo>
                  <a:pt x="222503" y="23614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2547627" y="1505985"/>
            <a:ext cx="232657" cy="170495"/>
          </a:xfrm>
          <a:custGeom>
            <a:avLst/>
            <a:gdLst/>
            <a:ahLst/>
            <a:cxnLst/>
            <a:rect l="l" t="t" r="r" b="b"/>
            <a:pathLst>
              <a:path w="318135" h="368300">
                <a:moveTo>
                  <a:pt x="317754" y="115824"/>
                </a:moveTo>
                <a:lnTo>
                  <a:pt x="250697" y="85344"/>
                </a:lnTo>
                <a:lnTo>
                  <a:pt x="202692" y="35814"/>
                </a:lnTo>
                <a:lnTo>
                  <a:pt x="107442" y="0"/>
                </a:lnTo>
                <a:lnTo>
                  <a:pt x="0" y="99060"/>
                </a:lnTo>
                <a:lnTo>
                  <a:pt x="64008" y="245364"/>
                </a:lnTo>
                <a:lnTo>
                  <a:pt x="107442" y="259842"/>
                </a:lnTo>
                <a:lnTo>
                  <a:pt x="138684" y="266700"/>
                </a:lnTo>
                <a:lnTo>
                  <a:pt x="179070" y="259842"/>
                </a:lnTo>
                <a:lnTo>
                  <a:pt x="260604" y="328422"/>
                </a:lnTo>
                <a:lnTo>
                  <a:pt x="313182" y="368046"/>
                </a:lnTo>
                <a:lnTo>
                  <a:pt x="317754" y="115824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2709790" y="1537026"/>
            <a:ext cx="72444" cy="31160"/>
          </a:xfrm>
          <a:custGeom>
            <a:avLst/>
            <a:gdLst/>
            <a:ahLst/>
            <a:cxnLst/>
            <a:rect l="l" t="t" r="r" b="b"/>
            <a:pathLst>
              <a:path w="99060" h="67310">
                <a:moveTo>
                  <a:pt x="99059" y="58673"/>
                </a:moveTo>
                <a:lnTo>
                  <a:pt x="5333" y="0"/>
                </a:lnTo>
                <a:lnTo>
                  <a:pt x="0" y="8381"/>
                </a:lnTo>
                <a:lnTo>
                  <a:pt x="93725" y="67055"/>
                </a:lnTo>
                <a:lnTo>
                  <a:pt x="99059" y="5867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2679698" y="1630152"/>
            <a:ext cx="102629" cy="52618"/>
          </a:xfrm>
          <a:custGeom>
            <a:avLst/>
            <a:gdLst/>
            <a:ahLst/>
            <a:cxnLst/>
            <a:rect l="l" t="t" r="r" b="b"/>
            <a:pathLst>
              <a:path w="140335" h="113664">
                <a:moveTo>
                  <a:pt x="140208" y="105917"/>
                </a:moveTo>
                <a:lnTo>
                  <a:pt x="6096" y="0"/>
                </a:lnTo>
                <a:lnTo>
                  <a:pt x="0" y="6857"/>
                </a:lnTo>
                <a:lnTo>
                  <a:pt x="134112" y="113537"/>
                </a:lnTo>
                <a:lnTo>
                  <a:pt x="140208" y="10591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2537596" y="1505316"/>
            <a:ext cx="177859" cy="135220"/>
          </a:xfrm>
          <a:custGeom>
            <a:avLst/>
            <a:gdLst/>
            <a:ahLst/>
            <a:cxnLst/>
            <a:rect l="l" t="t" r="r" b="b"/>
            <a:pathLst>
              <a:path w="243204" h="292100">
                <a:moveTo>
                  <a:pt x="243077" y="76119"/>
                </a:moveTo>
                <a:lnTo>
                  <a:pt x="242315" y="74595"/>
                </a:lnTo>
                <a:lnTo>
                  <a:pt x="240004" y="65296"/>
                </a:lnTo>
                <a:lnTo>
                  <a:pt x="237034" y="55392"/>
                </a:lnTo>
                <a:lnTo>
                  <a:pt x="233466" y="45755"/>
                </a:lnTo>
                <a:lnTo>
                  <a:pt x="229361" y="37257"/>
                </a:lnTo>
                <a:lnTo>
                  <a:pt x="225551" y="31923"/>
                </a:lnTo>
                <a:lnTo>
                  <a:pt x="225551" y="31161"/>
                </a:lnTo>
                <a:lnTo>
                  <a:pt x="187227" y="9429"/>
                </a:lnTo>
                <a:lnTo>
                  <a:pt x="127485" y="0"/>
                </a:lnTo>
                <a:lnTo>
                  <a:pt x="102107" y="3729"/>
                </a:lnTo>
                <a:lnTo>
                  <a:pt x="92963" y="6015"/>
                </a:lnTo>
                <a:lnTo>
                  <a:pt x="83057" y="8301"/>
                </a:lnTo>
                <a:lnTo>
                  <a:pt x="34347" y="35533"/>
                </a:lnTo>
                <a:lnTo>
                  <a:pt x="6857" y="85263"/>
                </a:lnTo>
                <a:lnTo>
                  <a:pt x="0" y="114219"/>
                </a:lnTo>
                <a:lnTo>
                  <a:pt x="2374" y="167745"/>
                </a:lnTo>
                <a:lnTo>
                  <a:pt x="9143" y="190715"/>
                </a:lnTo>
                <a:lnTo>
                  <a:pt x="9143" y="124887"/>
                </a:lnTo>
                <a:lnTo>
                  <a:pt x="10667" y="106599"/>
                </a:lnTo>
                <a:lnTo>
                  <a:pt x="34856" y="49787"/>
                </a:lnTo>
                <a:lnTo>
                  <a:pt x="76199" y="20493"/>
                </a:lnTo>
                <a:lnTo>
                  <a:pt x="122969" y="9745"/>
                </a:lnTo>
                <a:lnTo>
                  <a:pt x="151099" y="10825"/>
                </a:lnTo>
                <a:lnTo>
                  <a:pt x="178737" y="17119"/>
                </a:lnTo>
                <a:lnTo>
                  <a:pt x="204977" y="27351"/>
                </a:lnTo>
                <a:lnTo>
                  <a:pt x="210311" y="30399"/>
                </a:lnTo>
                <a:lnTo>
                  <a:pt x="214121" y="34209"/>
                </a:lnTo>
                <a:lnTo>
                  <a:pt x="217931" y="37384"/>
                </a:lnTo>
                <a:lnTo>
                  <a:pt x="218693" y="38019"/>
                </a:lnTo>
                <a:lnTo>
                  <a:pt x="218693" y="38400"/>
                </a:lnTo>
                <a:lnTo>
                  <a:pt x="220979" y="41829"/>
                </a:lnTo>
                <a:lnTo>
                  <a:pt x="224027" y="47163"/>
                </a:lnTo>
                <a:lnTo>
                  <a:pt x="226313" y="53259"/>
                </a:lnTo>
                <a:lnTo>
                  <a:pt x="227837" y="59355"/>
                </a:lnTo>
                <a:lnTo>
                  <a:pt x="230123" y="65451"/>
                </a:lnTo>
                <a:lnTo>
                  <a:pt x="231647" y="70785"/>
                </a:lnTo>
                <a:lnTo>
                  <a:pt x="232409" y="73071"/>
                </a:lnTo>
                <a:lnTo>
                  <a:pt x="232409" y="75357"/>
                </a:lnTo>
                <a:lnTo>
                  <a:pt x="233933" y="78405"/>
                </a:lnTo>
                <a:lnTo>
                  <a:pt x="243077" y="76119"/>
                </a:lnTo>
                <a:close/>
              </a:path>
              <a:path w="243204" h="292100">
                <a:moveTo>
                  <a:pt x="166877" y="282621"/>
                </a:moveTo>
                <a:lnTo>
                  <a:pt x="162305" y="281859"/>
                </a:lnTo>
                <a:lnTo>
                  <a:pt x="157733" y="280335"/>
                </a:lnTo>
                <a:lnTo>
                  <a:pt x="105531" y="266648"/>
                </a:lnTo>
                <a:lnTo>
                  <a:pt x="63589" y="247851"/>
                </a:lnTo>
                <a:lnTo>
                  <a:pt x="32889" y="220354"/>
                </a:lnTo>
                <a:lnTo>
                  <a:pt x="14413" y="180563"/>
                </a:lnTo>
                <a:lnTo>
                  <a:pt x="9143" y="124887"/>
                </a:lnTo>
                <a:lnTo>
                  <a:pt x="9143" y="190715"/>
                </a:lnTo>
                <a:lnTo>
                  <a:pt x="35756" y="238305"/>
                </a:lnTo>
                <a:lnTo>
                  <a:pt x="106782" y="276799"/>
                </a:lnTo>
                <a:lnTo>
                  <a:pt x="156209" y="290241"/>
                </a:lnTo>
                <a:lnTo>
                  <a:pt x="160781" y="291003"/>
                </a:lnTo>
                <a:lnTo>
                  <a:pt x="164591" y="291765"/>
                </a:lnTo>
                <a:lnTo>
                  <a:pt x="166877" y="282621"/>
                </a:lnTo>
                <a:close/>
              </a:path>
              <a:path w="243204" h="292100">
                <a:moveTo>
                  <a:pt x="218693" y="38019"/>
                </a:moveTo>
                <a:lnTo>
                  <a:pt x="217931" y="37257"/>
                </a:lnTo>
                <a:lnTo>
                  <a:pt x="218122" y="37542"/>
                </a:lnTo>
                <a:lnTo>
                  <a:pt x="218693" y="38019"/>
                </a:lnTo>
                <a:close/>
              </a:path>
              <a:path w="243204" h="292100">
                <a:moveTo>
                  <a:pt x="218122" y="37542"/>
                </a:moveTo>
                <a:lnTo>
                  <a:pt x="217931" y="37257"/>
                </a:lnTo>
                <a:lnTo>
                  <a:pt x="218122" y="37542"/>
                </a:lnTo>
                <a:close/>
              </a:path>
              <a:path w="243204" h="292100">
                <a:moveTo>
                  <a:pt x="218693" y="38400"/>
                </a:moveTo>
                <a:lnTo>
                  <a:pt x="218693" y="38019"/>
                </a:lnTo>
                <a:lnTo>
                  <a:pt x="218122" y="37542"/>
                </a:lnTo>
                <a:lnTo>
                  <a:pt x="218693" y="384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2598337" y="1550909"/>
            <a:ext cx="55726" cy="3587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3656579" y="1524328"/>
            <a:ext cx="382654" cy="103473"/>
          </a:xfrm>
          <a:custGeom>
            <a:avLst/>
            <a:gdLst/>
            <a:ahLst/>
            <a:cxnLst/>
            <a:rect l="l" t="t" r="r" b="b"/>
            <a:pathLst>
              <a:path w="523239" h="223520">
                <a:moveTo>
                  <a:pt x="522731" y="0"/>
                </a:moveTo>
                <a:lnTo>
                  <a:pt x="458723" y="15239"/>
                </a:lnTo>
                <a:lnTo>
                  <a:pt x="74675" y="116585"/>
                </a:lnTo>
                <a:lnTo>
                  <a:pt x="0" y="118109"/>
                </a:lnTo>
                <a:lnTo>
                  <a:pt x="3809" y="131063"/>
                </a:lnTo>
                <a:lnTo>
                  <a:pt x="70103" y="131063"/>
                </a:lnTo>
                <a:lnTo>
                  <a:pt x="336041" y="186929"/>
                </a:lnTo>
                <a:lnTo>
                  <a:pt x="336041" y="115823"/>
                </a:lnTo>
                <a:lnTo>
                  <a:pt x="433577" y="61721"/>
                </a:lnTo>
                <a:lnTo>
                  <a:pt x="520445" y="17525"/>
                </a:lnTo>
                <a:lnTo>
                  <a:pt x="522731" y="0"/>
                </a:lnTo>
                <a:close/>
              </a:path>
              <a:path w="523239" h="223520">
                <a:moveTo>
                  <a:pt x="509015" y="223265"/>
                </a:moveTo>
                <a:lnTo>
                  <a:pt x="503681" y="216407"/>
                </a:lnTo>
                <a:lnTo>
                  <a:pt x="433577" y="172973"/>
                </a:lnTo>
                <a:lnTo>
                  <a:pt x="400049" y="153161"/>
                </a:lnTo>
                <a:lnTo>
                  <a:pt x="336041" y="115823"/>
                </a:lnTo>
                <a:lnTo>
                  <a:pt x="336041" y="186929"/>
                </a:lnTo>
                <a:lnTo>
                  <a:pt x="509015" y="223265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3652680" y="1522210"/>
            <a:ext cx="389620" cy="107588"/>
          </a:xfrm>
          <a:custGeom>
            <a:avLst/>
            <a:gdLst/>
            <a:ahLst/>
            <a:cxnLst/>
            <a:rect l="l" t="t" r="r" b="b"/>
            <a:pathLst>
              <a:path w="532764" h="232410">
                <a:moveTo>
                  <a:pt x="80009" y="125729"/>
                </a:moveTo>
                <a:lnTo>
                  <a:pt x="80009" y="116585"/>
                </a:lnTo>
                <a:lnTo>
                  <a:pt x="9905" y="118002"/>
                </a:lnTo>
                <a:lnTo>
                  <a:pt x="3047" y="118109"/>
                </a:lnTo>
                <a:lnTo>
                  <a:pt x="0" y="121157"/>
                </a:lnTo>
                <a:lnTo>
                  <a:pt x="0" y="122681"/>
                </a:lnTo>
                <a:lnTo>
                  <a:pt x="761" y="124205"/>
                </a:lnTo>
                <a:lnTo>
                  <a:pt x="4571" y="137159"/>
                </a:lnTo>
                <a:lnTo>
                  <a:pt x="5333" y="139445"/>
                </a:lnTo>
                <a:lnTo>
                  <a:pt x="5333" y="128015"/>
                </a:lnTo>
                <a:lnTo>
                  <a:pt x="9905" y="121919"/>
                </a:lnTo>
                <a:lnTo>
                  <a:pt x="11642" y="127822"/>
                </a:lnTo>
                <a:lnTo>
                  <a:pt x="80009" y="125729"/>
                </a:lnTo>
                <a:close/>
              </a:path>
              <a:path w="532764" h="232410">
                <a:moveTo>
                  <a:pt x="11642" y="127822"/>
                </a:moveTo>
                <a:lnTo>
                  <a:pt x="9905" y="121919"/>
                </a:lnTo>
                <a:lnTo>
                  <a:pt x="5333" y="128015"/>
                </a:lnTo>
                <a:lnTo>
                  <a:pt x="11642" y="127822"/>
                </a:lnTo>
                <a:close/>
              </a:path>
              <a:path w="532764" h="232410">
                <a:moveTo>
                  <a:pt x="12595" y="131063"/>
                </a:moveTo>
                <a:lnTo>
                  <a:pt x="11642" y="127822"/>
                </a:lnTo>
                <a:lnTo>
                  <a:pt x="5333" y="128015"/>
                </a:lnTo>
                <a:lnTo>
                  <a:pt x="5333" y="139445"/>
                </a:lnTo>
                <a:lnTo>
                  <a:pt x="6857" y="140969"/>
                </a:lnTo>
                <a:lnTo>
                  <a:pt x="9143" y="140969"/>
                </a:lnTo>
                <a:lnTo>
                  <a:pt x="9143" y="131063"/>
                </a:lnTo>
                <a:lnTo>
                  <a:pt x="12595" y="131063"/>
                </a:lnTo>
                <a:close/>
              </a:path>
              <a:path w="532764" h="232410">
                <a:moveTo>
                  <a:pt x="13715" y="134873"/>
                </a:moveTo>
                <a:lnTo>
                  <a:pt x="12595" y="131063"/>
                </a:lnTo>
                <a:lnTo>
                  <a:pt x="9143" y="131063"/>
                </a:lnTo>
                <a:lnTo>
                  <a:pt x="13715" y="134873"/>
                </a:lnTo>
                <a:close/>
              </a:path>
              <a:path w="532764" h="232410">
                <a:moveTo>
                  <a:pt x="13715" y="140969"/>
                </a:moveTo>
                <a:lnTo>
                  <a:pt x="13715" y="134873"/>
                </a:lnTo>
                <a:lnTo>
                  <a:pt x="9143" y="131063"/>
                </a:lnTo>
                <a:lnTo>
                  <a:pt x="9143" y="140969"/>
                </a:lnTo>
                <a:lnTo>
                  <a:pt x="13715" y="140969"/>
                </a:lnTo>
                <a:close/>
              </a:path>
              <a:path w="532764" h="232410">
                <a:moveTo>
                  <a:pt x="505967" y="230809"/>
                </a:moveTo>
                <a:lnTo>
                  <a:pt x="505967" y="225551"/>
                </a:lnTo>
                <a:lnTo>
                  <a:pt x="495960" y="219242"/>
                </a:lnTo>
                <a:lnTo>
                  <a:pt x="76199" y="131063"/>
                </a:lnTo>
                <a:lnTo>
                  <a:pt x="12595" y="131063"/>
                </a:lnTo>
                <a:lnTo>
                  <a:pt x="13715" y="134873"/>
                </a:lnTo>
                <a:lnTo>
                  <a:pt x="13715" y="140969"/>
                </a:lnTo>
                <a:lnTo>
                  <a:pt x="74675" y="140969"/>
                </a:lnTo>
                <a:lnTo>
                  <a:pt x="74675" y="140207"/>
                </a:lnTo>
                <a:lnTo>
                  <a:pt x="505967" y="230809"/>
                </a:lnTo>
                <a:close/>
              </a:path>
              <a:path w="532764" h="232410">
                <a:moveTo>
                  <a:pt x="75437" y="140969"/>
                </a:moveTo>
                <a:lnTo>
                  <a:pt x="74675" y="140207"/>
                </a:lnTo>
                <a:lnTo>
                  <a:pt x="74675" y="140969"/>
                </a:lnTo>
                <a:lnTo>
                  <a:pt x="75437" y="140969"/>
                </a:lnTo>
                <a:close/>
              </a:path>
              <a:path w="532764" h="232410">
                <a:moveTo>
                  <a:pt x="532638" y="5333"/>
                </a:moveTo>
                <a:lnTo>
                  <a:pt x="532638" y="3809"/>
                </a:lnTo>
                <a:lnTo>
                  <a:pt x="531876" y="2285"/>
                </a:lnTo>
                <a:lnTo>
                  <a:pt x="529590" y="0"/>
                </a:lnTo>
                <a:lnTo>
                  <a:pt x="526541" y="0"/>
                </a:lnTo>
                <a:lnTo>
                  <a:pt x="462533" y="15239"/>
                </a:lnTo>
                <a:lnTo>
                  <a:pt x="78485" y="116585"/>
                </a:lnTo>
                <a:lnTo>
                  <a:pt x="80009" y="116585"/>
                </a:lnTo>
                <a:lnTo>
                  <a:pt x="80009" y="125729"/>
                </a:lnTo>
                <a:lnTo>
                  <a:pt x="81533" y="125729"/>
                </a:lnTo>
                <a:lnTo>
                  <a:pt x="464819" y="24383"/>
                </a:lnTo>
                <a:lnTo>
                  <a:pt x="521818" y="10812"/>
                </a:lnTo>
                <a:lnTo>
                  <a:pt x="522731" y="3809"/>
                </a:lnTo>
                <a:lnTo>
                  <a:pt x="528827" y="9143"/>
                </a:lnTo>
                <a:lnTo>
                  <a:pt x="528827" y="25907"/>
                </a:lnTo>
                <a:lnTo>
                  <a:pt x="530352" y="22859"/>
                </a:lnTo>
                <a:lnTo>
                  <a:pt x="532638" y="5333"/>
                </a:lnTo>
                <a:close/>
              </a:path>
              <a:path w="532764" h="232410">
                <a:moveTo>
                  <a:pt x="523494" y="28574"/>
                </a:moveTo>
                <a:lnTo>
                  <a:pt x="523494" y="18287"/>
                </a:lnTo>
                <a:lnTo>
                  <a:pt x="520445" y="21335"/>
                </a:lnTo>
                <a:lnTo>
                  <a:pt x="520445" y="19811"/>
                </a:lnTo>
                <a:lnTo>
                  <a:pt x="436625" y="61721"/>
                </a:lnTo>
                <a:lnTo>
                  <a:pt x="339089" y="116585"/>
                </a:lnTo>
                <a:lnTo>
                  <a:pt x="337565" y="117347"/>
                </a:lnTo>
                <a:lnTo>
                  <a:pt x="336803" y="118871"/>
                </a:lnTo>
                <a:lnTo>
                  <a:pt x="336803" y="121919"/>
                </a:lnTo>
                <a:lnTo>
                  <a:pt x="337565" y="123443"/>
                </a:lnTo>
                <a:lnTo>
                  <a:pt x="339089" y="124205"/>
                </a:lnTo>
                <a:lnTo>
                  <a:pt x="343661" y="126927"/>
                </a:lnTo>
                <a:lnTo>
                  <a:pt x="343661" y="116585"/>
                </a:lnTo>
                <a:lnTo>
                  <a:pt x="350332" y="120476"/>
                </a:lnTo>
                <a:lnTo>
                  <a:pt x="440435" y="70103"/>
                </a:lnTo>
                <a:lnTo>
                  <a:pt x="520445" y="30098"/>
                </a:lnTo>
                <a:lnTo>
                  <a:pt x="520445" y="21335"/>
                </a:lnTo>
                <a:lnTo>
                  <a:pt x="520658" y="19705"/>
                </a:lnTo>
                <a:lnTo>
                  <a:pt x="520658" y="29992"/>
                </a:lnTo>
                <a:lnTo>
                  <a:pt x="523494" y="28574"/>
                </a:lnTo>
                <a:close/>
              </a:path>
              <a:path w="532764" h="232410">
                <a:moveTo>
                  <a:pt x="350332" y="120476"/>
                </a:moveTo>
                <a:lnTo>
                  <a:pt x="343661" y="116585"/>
                </a:lnTo>
                <a:lnTo>
                  <a:pt x="343661" y="124205"/>
                </a:lnTo>
                <a:lnTo>
                  <a:pt x="350332" y="120476"/>
                </a:lnTo>
                <a:close/>
              </a:path>
              <a:path w="532764" h="232410">
                <a:moveTo>
                  <a:pt x="519683" y="228599"/>
                </a:moveTo>
                <a:lnTo>
                  <a:pt x="519683" y="226313"/>
                </a:lnTo>
                <a:lnTo>
                  <a:pt x="518159" y="224789"/>
                </a:lnTo>
                <a:lnTo>
                  <a:pt x="512825" y="217931"/>
                </a:lnTo>
                <a:lnTo>
                  <a:pt x="512063" y="217931"/>
                </a:lnTo>
                <a:lnTo>
                  <a:pt x="512063" y="217169"/>
                </a:lnTo>
                <a:lnTo>
                  <a:pt x="511302" y="217169"/>
                </a:lnTo>
                <a:lnTo>
                  <a:pt x="441197" y="172973"/>
                </a:lnTo>
                <a:lnTo>
                  <a:pt x="407669" y="153923"/>
                </a:lnTo>
                <a:lnTo>
                  <a:pt x="350332" y="120476"/>
                </a:lnTo>
                <a:lnTo>
                  <a:pt x="343661" y="124205"/>
                </a:lnTo>
                <a:lnTo>
                  <a:pt x="343661" y="126927"/>
                </a:lnTo>
                <a:lnTo>
                  <a:pt x="403097" y="162305"/>
                </a:lnTo>
                <a:lnTo>
                  <a:pt x="435863" y="181355"/>
                </a:lnTo>
                <a:lnTo>
                  <a:pt x="495960" y="219242"/>
                </a:lnTo>
                <a:lnTo>
                  <a:pt x="515111" y="223265"/>
                </a:lnTo>
                <a:lnTo>
                  <a:pt x="515111" y="232409"/>
                </a:lnTo>
                <a:lnTo>
                  <a:pt x="517397" y="231647"/>
                </a:lnTo>
                <a:lnTo>
                  <a:pt x="518159" y="230123"/>
                </a:lnTo>
                <a:lnTo>
                  <a:pt x="519683" y="228599"/>
                </a:lnTo>
                <a:close/>
              </a:path>
              <a:path w="532764" h="232410">
                <a:moveTo>
                  <a:pt x="515111" y="223265"/>
                </a:moveTo>
                <a:lnTo>
                  <a:pt x="495960" y="219242"/>
                </a:lnTo>
                <a:lnTo>
                  <a:pt x="505205" y="225071"/>
                </a:lnTo>
                <a:lnTo>
                  <a:pt x="505205" y="224027"/>
                </a:lnTo>
                <a:lnTo>
                  <a:pt x="510539" y="230885"/>
                </a:lnTo>
                <a:lnTo>
                  <a:pt x="515111" y="223265"/>
                </a:lnTo>
                <a:close/>
              </a:path>
              <a:path w="532764" h="232410">
                <a:moveTo>
                  <a:pt x="515111" y="232409"/>
                </a:moveTo>
                <a:lnTo>
                  <a:pt x="515111" y="223265"/>
                </a:lnTo>
                <a:lnTo>
                  <a:pt x="510539" y="230885"/>
                </a:lnTo>
                <a:lnTo>
                  <a:pt x="505205" y="224027"/>
                </a:lnTo>
                <a:lnTo>
                  <a:pt x="505967" y="225551"/>
                </a:lnTo>
                <a:lnTo>
                  <a:pt x="505967" y="230809"/>
                </a:lnTo>
                <a:lnTo>
                  <a:pt x="513588" y="232409"/>
                </a:lnTo>
                <a:lnTo>
                  <a:pt x="515111" y="232409"/>
                </a:lnTo>
                <a:close/>
              </a:path>
              <a:path w="532764" h="232410">
                <a:moveTo>
                  <a:pt x="505967" y="225551"/>
                </a:moveTo>
                <a:lnTo>
                  <a:pt x="505205" y="224027"/>
                </a:lnTo>
                <a:lnTo>
                  <a:pt x="505205" y="225071"/>
                </a:lnTo>
                <a:lnTo>
                  <a:pt x="505967" y="225551"/>
                </a:lnTo>
                <a:close/>
              </a:path>
              <a:path w="532764" h="232410">
                <a:moveTo>
                  <a:pt x="523494" y="18287"/>
                </a:moveTo>
                <a:lnTo>
                  <a:pt x="520658" y="19705"/>
                </a:lnTo>
                <a:lnTo>
                  <a:pt x="520445" y="21335"/>
                </a:lnTo>
                <a:lnTo>
                  <a:pt x="523494" y="18287"/>
                </a:lnTo>
                <a:close/>
              </a:path>
              <a:path w="532764" h="232410">
                <a:moveTo>
                  <a:pt x="528827" y="25907"/>
                </a:moveTo>
                <a:lnTo>
                  <a:pt x="528827" y="9143"/>
                </a:lnTo>
                <a:lnTo>
                  <a:pt x="521818" y="10812"/>
                </a:lnTo>
                <a:lnTo>
                  <a:pt x="520658" y="19705"/>
                </a:lnTo>
                <a:lnTo>
                  <a:pt x="523494" y="18287"/>
                </a:lnTo>
                <a:lnTo>
                  <a:pt x="523494" y="28574"/>
                </a:lnTo>
                <a:lnTo>
                  <a:pt x="528827" y="25907"/>
                </a:lnTo>
                <a:close/>
              </a:path>
              <a:path w="532764" h="232410">
                <a:moveTo>
                  <a:pt x="528827" y="9143"/>
                </a:moveTo>
                <a:lnTo>
                  <a:pt x="522731" y="3809"/>
                </a:lnTo>
                <a:lnTo>
                  <a:pt x="521818" y="10812"/>
                </a:lnTo>
                <a:lnTo>
                  <a:pt x="528827" y="9143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6049467" y="1519859"/>
            <a:ext cx="188346" cy="116995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6013803" y="1516920"/>
            <a:ext cx="228014" cy="122286"/>
          </a:xfrm>
          <a:custGeom>
            <a:avLst/>
            <a:gdLst/>
            <a:ahLst/>
            <a:cxnLst/>
            <a:rect l="l" t="t" r="r" b="b"/>
            <a:pathLst>
              <a:path w="311784" h="264160">
                <a:moveTo>
                  <a:pt x="258150" y="238807"/>
                </a:moveTo>
                <a:lnTo>
                  <a:pt x="95249" y="1523"/>
                </a:lnTo>
                <a:lnTo>
                  <a:pt x="93725" y="761"/>
                </a:lnTo>
                <a:lnTo>
                  <a:pt x="92963" y="0"/>
                </a:lnTo>
                <a:lnTo>
                  <a:pt x="86867" y="37"/>
                </a:lnTo>
                <a:lnTo>
                  <a:pt x="17525" y="717"/>
                </a:lnTo>
                <a:lnTo>
                  <a:pt x="10667" y="761"/>
                </a:lnTo>
                <a:lnTo>
                  <a:pt x="8381" y="2285"/>
                </a:lnTo>
                <a:lnTo>
                  <a:pt x="8381" y="3809"/>
                </a:lnTo>
                <a:lnTo>
                  <a:pt x="761" y="30479"/>
                </a:lnTo>
                <a:lnTo>
                  <a:pt x="0" y="32003"/>
                </a:lnTo>
                <a:lnTo>
                  <a:pt x="0" y="33527"/>
                </a:lnTo>
                <a:lnTo>
                  <a:pt x="1523" y="34289"/>
                </a:lnTo>
                <a:lnTo>
                  <a:pt x="2285" y="35813"/>
                </a:lnTo>
                <a:lnTo>
                  <a:pt x="3809" y="36575"/>
                </a:lnTo>
                <a:lnTo>
                  <a:pt x="5333" y="36575"/>
                </a:lnTo>
                <a:lnTo>
                  <a:pt x="5333" y="26669"/>
                </a:lnTo>
                <a:lnTo>
                  <a:pt x="11698" y="26669"/>
                </a:lnTo>
                <a:lnTo>
                  <a:pt x="12953" y="22402"/>
                </a:lnTo>
                <a:lnTo>
                  <a:pt x="12953" y="9905"/>
                </a:lnTo>
                <a:lnTo>
                  <a:pt x="17525" y="6857"/>
                </a:lnTo>
                <a:lnTo>
                  <a:pt x="17525" y="9861"/>
                </a:lnTo>
                <a:lnTo>
                  <a:pt x="42245" y="9621"/>
                </a:lnTo>
                <a:lnTo>
                  <a:pt x="43433" y="4571"/>
                </a:lnTo>
                <a:lnTo>
                  <a:pt x="43433" y="3047"/>
                </a:lnTo>
                <a:lnTo>
                  <a:pt x="44957" y="1523"/>
                </a:lnTo>
                <a:lnTo>
                  <a:pt x="47243" y="761"/>
                </a:lnTo>
                <a:lnTo>
                  <a:pt x="48767" y="761"/>
                </a:lnTo>
                <a:lnTo>
                  <a:pt x="51053" y="1523"/>
                </a:lnTo>
                <a:lnTo>
                  <a:pt x="51815" y="3047"/>
                </a:lnTo>
                <a:lnTo>
                  <a:pt x="56217" y="9485"/>
                </a:lnTo>
                <a:lnTo>
                  <a:pt x="86867" y="9188"/>
                </a:lnTo>
                <a:lnTo>
                  <a:pt x="86867" y="6857"/>
                </a:lnTo>
                <a:lnTo>
                  <a:pt x="91439" y="9143"/>
                </a:lnTo>
                <a:lnTo>
                  <a:pt x="91439" y="13487"/>
                </a:lnTo>
                <a:lnTo>
                  <a:pt x="254507" y="249935"/>
                </a:lnTo>
                <a:lnTo>
                  <a:pt x="254507" y="245363"/>
                </a:lnTo>
                <a:lnTo>
                  <a:pt x="258150" y="238807"/>
                </a:lnTo>
                <a:close/>
              </a:path>
              <a:path w="311784" h="264160">
                <a:moveTo>
                  <a:pt x="11698" y="26669"/>
                </a:moveTo>
                <a:lnTo>
                  <a:pt x="5333" y="26669"/>
                </a:lnTo>
                <a:lnTo>
                  <a:pt x="9905" y="32765"/>
                </a:lnTo>
                <a:lnTo>
                  <a:pt x="11698" y="26669"/>
                </a:lnTo>
                <a:close/>
              </a:path>
              <a:path w="311784" h="264160">
                <a:moveTo>
                  <a:pt x="38234" y="26669"/>
                </a:moveTo>
                <a:lnTo>
                  <a:pt x="11698" y="26669"/>
                </a:lnTo>
                <a:lnTo>
                  <a:pt x="9905" y="32765"/>
                </a:lnTo>
                <a:lnTo>
                  <a:pt x="5333" y="26669"/>
                </a:lnTo>
                <a:lnTo>
                  <a:pt x="5333" y="36575"/>
                </a:lnTo>
                <a:lnTo>
                  <a:pt x="37337" y="36575"/>
                </a:lnTo>
                <a:lnTo>
                  <a:pt x="37337" y="30479"/>
                </a:lnTo>
                <a:lnTo>
                  <a:pt x="38234" y="26669"/>
                </a:lnTo>
                <a:close/>
              </a:path>
              <a:path w="311784" h="264160">
                <a:moveTo>
                  <a:pt x="17525" y="6857"/>
                </a:moveTo>
                <a:lnTo>
                  <a:pt x="12953" y="9905"/>
                </a:lnTo>
                <a:lnTo>
                  <a:pt x="16640" y="9870"/>
                </a:lnTo>
                <a:lnTo>
                  <a:pt x="17525" y="6857"/>
                </a:lnTo>
                <a:close/>
              </a:path>
              <a:path w="311784" h="264160">
                <a:moveTo>
                  <a:pt x="16640" y="9870"/>
                </a:moveTo>
                <a:lnTo>
                  <a:pt x="12953" y="9905"/>
                </a:lnTo>
                <a:lnTo>
                  <a:pt x="12953" y="22402"/>
                </a:lnTo>
                <a:lnTo>
                  <a:pt x="16640" y="9870"/>
                </a:lnTo>
                <a:close/>
              </a:path>
              <a:path w="311784" h="264160">
                <a:moveTo>
                  <a:pt x="17525" y="9861"/>
                </a:moveTo>
                <a:lnTo>
                  <a:pt x="17525" y="6857"/>
                </a:lnTo>
                <a:lnTo>
                  <a:pt x="16640" y="9870"/>
                </a:lnTo>
                <a:lnTo>
                  <a:pt x="17525" y="9861"/>
                </a:lnTo>
                <a:close/>
              </a:path>
              <a:path w="311784" h="264160">
                <a:moveTo>
                  <a:pt x="41909" y="26669"/>
                </a:moveTo>
                <a:lnTo>
                  <a:pt x="38234" y="26669"/>
                </a:lnTo>
                <a:lnTo>
                  <a:pt x="37337" y="30479"/>
                </a:lnTo>
                <a:lnTo>
                  <a:pt x="41909" y="26669"/>
                </a:lnTo>
                <a:close/>
              </a:path>
              <a:path w="311784" h="264160">
                <a:moveTo>
                  <a:pt x="41909" y="36575"/>
                </a:moveTo>
                <a:lnTo>
                  <a:pt x="41909" y="26669"/>
                </a:lnTo>
                <a:lnTo>
                  <a:pt x="37337" y="30479"/>
                </a:lnTo>
                <a:lnTo>
                  <a:pt x="37337" y="36575"/>
                </a:lnTo>
                <a:lnTo>
                  <a:pt x="41909" y="36575"/>
                </a:lnTo>
                <a:close/>
              </a:path>
              <a:path w="311784" h="264160">
                <a:moveTo>
                  <a:pt x="50165" y="17112"/>
                </a:moveTo>
                <a:lnTo>
                  <a:pt x="45025" y="9594"/>
                </a:lnTo>
                <a:lnTo>
                  <a:pt x="42245" y="9621"/>
                </a:lnTo>
                <a:lnTo>
                  <a:pt x="38234" y="26669"/>
                </a:lnTo>
                <a:lnTo>
                  <a:pt x="41909" y="26669"/>
                </a:lnTo>
                <a:lnTo>
                  <a:pt x="41909" y="36575"/>
                </a:lnTo>
                <a:lnTo>
                  <a:pt x="44195" y="36575"/>
                </a:lnTo>
                <a:lnTo>
                  <a:pt x="45719" y="35051"/>
                </a:lnTo>
                <a:lnTo>
                  <a:pt x="46481" y="32765"/>
                </a:lnTo>
                <a:lnTo>
                  <a:pt x="50165" y="17112"/>
                </a:lnTo>
                <a:close/>
              </a:path>
              <a:path w="311784" h="264160">
                <a:moveTo>
                  <a:pt x="56217" y="9485"/>
                </a:moveTo>
                <a:lnTo>
                  <a:pt x="51815" y="3047"/>
                </a:lnTo>
                <a:lnTo>
                  <a:pt x="51053" y="1523"/>
                </a:lnTo>
                <a:lnTo>
                  <a:pt x="48767" y="761"/>
                </a:lnTo>
                <a:lnTo>
                  <a:pt x="47243" y="761"/>
                </a:lnTo>
                <a:lnTo>
                  <a:pt x="44957" y="1523"/>
                </a:lnTo>
                <a:lnTo>
                  <a:pt x="43433" y="3047"/>
                </a:lnTo>
                <a:lnTo>
                  <a:pt x="43433" y="4571"/>
                </a:lnTo>
                <a:lnTo>
                  <a:pt x="42245" y="9621"/>
                </a:lnTo>
                <a:lnTo>
                  <a:pt x="44195" y="9602"/>
                </a:lnTo>
                <a:lnTo>
                  <a:pt x="44195" y="8381"/>
                </a:lnTo>
                <a:lnTo>
                  <a:pt x="52577" y="6857"/>
                </a:lnTo>
                <a:lnTo>
                  <a:pt x="52577" y="9521"/>
                </a:lnTo>
                <a:lnTo>
                  <a:pt x="56217" y="9485"/>
                </a:lnTo>
                <a:close/>
              </a:path>
              <a:path w="311784" h="264160">
                <a:moveTo>
                  <a:pt x="52577" y="6857"/>
                </a:moveTo>
                <a:lnTo>
                  <a:pt x="44195" y="8381"/>
                </a:lnTo>
                <a:lnTo>
                  <a:pt x="44957" y="9496"/>
                </a:lnTo>
                <a:lnTo>
                  <a:pt x="51949" y="9527"/>
                </a:lnTo>
                <a:lnTo>
                  <a:pt x="52577" y="6857"/>
                </a:lnTo>
                <a:close/>
              </a:path>
              <a:path w="311784" h="264160">
                <a:moveTo>
                  <a:pt x="45025" y="9594"/>
                </a:moveTo>
                <a:lnTo>
                  <a:pt x="44195" y="8381"/>
                </a:lnTo>
                <a:lnTo>
                  <a:pt x="44195" y="9602"/>
                </a:lnTo>
                <a:lnTo>
                  <a:pt x="45025" y="9594"/>
                </a:lnTo>
                <a:close/>
              </a:path>
              <a:path w="311784" h="264160">
                <a:moveTo>
                  <a:pt x="51949" y="9527"/>
                </a:moveTo>
                <a:lnTo>
                  <a:pt x="45025" y="9594"/>
                </a:lnTo>
                <a:lnTo>
                  <a:pt x="50165" y="17112"/>
                </a:lnTo>
                <a:lnTo>
                  <a:pt x="51949" y="9527"/>
                </a:lnTo>
                <a:close/>
              </a:path>
              <a:path w="311784" h="264160">
                <a:moveTo>
                  <a:pt x="223194" y="253698"/>
                </a:moveTo>
                <a:lnTo>
                  <a:pt x="56217" y="9485"/>
                </a:lnTo>
                <a:lnTo>
                  <a:pt x="51949" y="9527"/>
                </a:lnTo>
                <a:lnTo>
                  <a:pt x="50165" y="17112"/>
                </a:lnTo>
                <a:lnTo>
                  <a:pt x="217169" y="261365"/>
                </a:lnTo>
                <a:lnTo>
                  <a:pt x="217931" y="262889"/>
                </a:lnTo>
                <a:lnTo>
                  <a:pt x="219455" y="263651"/>
                </a:lnTo>
                <a:lnTo>
                  <a:pt x="220979" y="263651"/>
                </a:lnTo>
                <a:lnTo>
                  <a:pt x="220979" y="253745"/>
                </a:lnTo>
                <a:lnTo>
                  <a:pt x="223194" y="253698"/>
                </a:lnTo>
                <a:close/>
              </a:path>
              <a:path w="311784" h="264160">
                <a:moveTo>
                  <a:pt x="52577" y="9521"/>
                </a:moveTo>
                <a:lnTo>
                  <a:pt x="52577" y="6857"/>
                </a:lnTo>
                <a:lnTo>
                  <a:pt x="51949" y="9527"/>
                </a:lnTo>
                <a:lnTo>
                  <a:pt x="52577" y="9521"/>
                </a:lnTo>
                <a:close/>
              </a:path>
              <a:path w="311784" h="264160">
                <a:moveTo>
                  <a:pt x="91439" y="9143"/>
                </a:moveTo>
                <a:lnTo>
                  <a:pt x="86867" y="6857"/>
                </a:lnTo>
                <a:lnTo>
                  <a:pt x="88464" y="9172"/>
                </a:lnTo>
                <a:lnTo>
                  <a:pt x="91439" y="9143"/>
                </a:lnTo>
                <a:close/>
              </a:path>
              <a:path w="311784" h="264160">
                <a:moveTo>
                  <a:pt x="88464" y="9172"/>
                </a:moveTo>
                <a:lnTo>
                  <a:pt x="86867" y="6857"/>
                </a:lnTo>
                <a:lnTo>
                  <a:pt x="86867" y="9188"/>
                </a:lnTo>
                <a:lnTo>
                  <a:pt x="88464" y="9172"/>
                </a:lnTo>
                <a:close/>
              </a:path>
              <a:path w="311784" h="264160">
                <a:moveTo>
                  <a:pt x="91439" y="13487"/>
                </a:moveTo>
                <a:lnTo>
                  <a:pt x="91439" y="9143"/>
                </a:lnTo>
                <a:lnTo>
                  <a:pt x="88464" y="9172"/>
                </a:lnTo>
                <a:lnTo>
                  <a:pt x="91439" y="13487"/>
                </a:lnTo>
                <a:close/>
              </a:path>
              <a:path w="311784" h="264160">
                <a:moveTo>
                  <a:pt x="224789" y="256031"/>
                </a:moveTo>
                <a:lnTo>
                  <a:pt x="223194" y="253698"/>
                </a:lnTo>
                <a:lnTo>
                  <a:pt x="220979" y="253745"/>
                </a:lnTo>
                <a:lnTo>
                  <a:pt x="224789" y="256031"/>
                </a:lnTo>
                <a:close/>
              </a:path>
              <a:path w="311784" h="264160">
                <a:moveTo>
                  <a:pt x="224789" y="263570"/>
                </a:moveTo>
                <a:lnTo>
                  <a:pt x="224789" y="256031"/>
                </a:lnTo>
                <a:lnTo>
                  <a:pt x="220979" y="253745"/>
                </a:lnTo>
                <a:lnTo>
                  <a:pt x="220979" y="263651"/>
                </a:lnTo>
                <a:lnTo>
                  <a:pt x="224789" y="263570"/>
                </a:lnTo>
                <a:close/>
              </a:path>
              <a:path w="311784" h="264160">
                <a:moveTo>
                  <a:pt x="291845" y="262127"/>
                </a:moveTo>
                <a:lnTo>
                  <a:pt x="291845" y="252221"/>
                </a:lnTo>
                <a:lnTo>
                  <a:pt x="288035" y="255269"/>
                </a:lnTo>
                <a:lnTo>
                  <a:pt x="288035" y="252303"/>
                </a:lnTo>
                <a:lnTo>
                  <a:pt x="223194" y="253698"/>
                </a:lnTo>
                <a:lnTo>
                  <a:pt x="224789" y="256031"/>
                </a:lnTo>
                <a:lnTo>
                  <a:pt x="224789" y="263570"/>
                </a:lnTo>
                <a:lnTo>
                  <a:pt x="288035" y="262209"/>
                </a:lnTo>
                <a:lnTo>
                  <a:pt x="288035" y="255269"/>
                </a:lnTo>
                <a:lnTo>
                  <a:pt x="289496" y="252272"/>
                </a:lnTo>
                <a:lnTo>
                  <a:pt x="289496" y="262178"/>
                </a:lnTo>
                <a:lnTo>
                  <a:pt x="291845" y="262127"/>
                </a:lnTo>
                <a:close/>
              </a:path>
              <a:path w="311784" h="264160">
                <a:moveTo>
                  <a:pt x="262127" y="244601"/>
                </a:moveTo>
                <a:lnTo>
                  <a:pt x="258150" y="238807"/>
                </a:lnTo>
                <a:lnTo>
                  <a:pt x="254507" y="245363"/>
                </a:lnTo>
                <a:lnTo>
                  <a:pt x="262127" y="244601"/>
                </a:lnTo>
                <a:close/>
              </a:path>
              <a:path w="311784" h="264160">
                <a:moveTo>
                  <a:pt x="262127" y="251459"/>
                </a:moveTo>
                <a:lnTo>
                  <a:pt x="262127" y="244601"/>
                </a:lnTo>
                <a:lnTo>
                  <a:pt x="254507" y="245363"/>
                </a:lnTo>
                <a:lnTo>
                  <a:pt x="254507" y="249935"/>
                </a:lnTo>
                <a:lnTo>
                  <a:pt x="255269" y="251459"/>
                </a:lnTo>
                <a:lnTo>
                  <a:pt x="256793" y="252221"/>
                </a:lnTo>
                <a:lnTo>
                  <a:pt x="260603" y="252221"/>
                </a:lnTo>
                <a:lnTo>
                  <a:pt x="262127" y="251459"/>
                </a:lnTo>
                <a:close/>
              </a:path>
              <a:path w="311784" h="264160">
                <a:moveTo>
                  <a:pt x="311657" y="227837"/>
                </a:moveTo>
                <a:lnTo>
                  <a:pt x="311657" y="226313"/>
                </a:lnTo>
                <a:lnTo>
                  <a:pt x="310133" y="224789"/>
                </a:lnTo>
                <a:lnTo>
                  <a:pt x="309371" y="223265"/>
                </a:lnTo>
                <a:lnTo>
                  <a:pt x="307847" y="222503"/>
                </a:lnTo>
                <a:lnTo>
                  <a:pt x="268985" y="222503"/>
                </a:lnTo>
                <a:lnTo>
                  <a:pt x="267461" y="223265"/>
                </a:lnTo>
                <a:lnTo>
                  <a:pt x="265937" y="224789"/>
                </a:lnTo>
                <a:lnTo>
                  <a:pt x="258150" y="238807"/>
                </a:lnTo>
                <a:lnTo>
                  <a:pt x="262127" y="244601"/>
                </a:lnTo>
                <a:lnTo>
                  <a:pt x="262127" y="251459"/>
                </a:lnTo>
                <a:lnTo>
                  <a:pt x="262889" y="249935"/>
                </a:lnTo>
                <a:lnTo>
                  <a:pt x="270509" y="236727"/>
                </a:lnTo>
                <a:lnTo>
                  <a:pt x="270509" y="232409"/>
                </a:lnTo>
                <a:lnTo>
                  <a:pt x="274319" y="230123"/>
                </a:lnTo>
                <a:lnTo>
                  <a:pt x="274319" y="232409"/>
                </a:lnTo>
                <a:lnTo>
                  <a:pt x="299172" y="232409"/>
                </a:lnTo>
                <a:lnTo>
                  <a:pt x="302513" y="225551"/>
                </a:lnTo>
                <a:lnTo>
                  <a:pt x="306323" y="232409"/>
                </a:lnTo>
                <a:lnTo>
                  <a:pt x="306323" y="238746"/>
                </a:lnTo>
                <a:lnTo>
                  <a:pt x="310895" y="229361"/>
                </a:lnTo>
                <a:lnTo>
                  <a:pt x="311657" y="227837"/>
                </a:lnTo>
                <a:close/>
              </a:path>
              <a:path w="311784" h="264160">
                <a:moveTo>
                  <a:pt x="274319" y="230123"/>
                </a:moveTo>
                <a:lnTo>
                  <a:pt x="270509" y="232409"/>
                </a:lnTo>
                <a:lnTo>
                  <a:pt x="273001" y="232409"/>
                </a:lnTo>
                <a:lnTo>
                  <a:pt x="274319" y="230123"/>
                </a:lnTo>
                <a:close/>
              </a:path>
              <a:path w="311784" h="264160">
                <a:moveTo>
                  <a:pt x="273001" y="232409"/>
                </a:moveTo>
                <a:lnTo>
                  <a:pt x="270509" y="232409"/>
                </a:lnTo>
                <a:lnTo>
                  <a:pt x="270509" y="236727"/>
                </a:lnTo>
                <a:lnTo>
                  <a:pt x="273001" y="232409"/>
                </a:lnTo>
                <a:close/>
              </a:path>
              <a:path w="311784" h="264160">
                <a:moveTo>
                  <a:pt x="274319" y="232409"/>
                </a:moveTo>
                <a:lnTo>
                  <a:pt x="274319" y="230123"/>
                </a:lnTo>
                <a:lnTo>
                  <a:pt x="273001" y="232409"/>
                </a:lnTo>
                <a:lnTo>
                  <a:pt x="274319" y="232409"/>
                </a:lnTo>
                <a:close/>
              </a:path>
              <a:path w="311784" h="264160">
                <a:moveTo>
                  <a:pt x="291845" y="252221"/>
                </a:moveTo>
                <a:lnTo>
                  <a:pt x="289496" y="252272"/>
                </a:lnTo>
                <a:lnTo>
                  <a:pt x="288035" y="255269"/>
                </a:lnTo>
                <a:lnTo>
                  <a:pt x="291845" y="252221"/>
                </a:lnTo>
                <a:close/>
              </a:path>
              <a:path w="311784" h="264160">
                <a:moveTo>
                  <a:pt x="306323" y="238746"/>
                </a:moveTo>
                <a:lnTo>
                  <a:pt x="306323" y="232409"/>
                </a:lnTo>
                <a:lnTo>
                  <a:pt x="299172" y="232409"/>
                </a:lnTo>
                <a:lnTo>
                  <a:pt x="289496" y="252272"/>
                </a:lnTo>
                <a:lnTo>
                  <a:pt x="291845" y="252221"/>
                </a:lnTo>
                <a:lnTo>
                  <a:pt x="291845" y="262127"/>
                </a:lnTo>
                <a:lnTo>
                  <a:pt x="294131" y="262127"/>
                </a:lnTo>
                <a:lnTo>
                  <a:pt x="295655" y="261365"/>
                </a:lnTo>
                <a:lnTo>
                  <a:pt x="296417" y="259079"/>
                </a:lnTo>
                <a:lnTo>
                  <a:pt x="306323" y="238746"/>
                </a:lnTo>
                <a:close/>
              </a:path>
              <a:path w="311784" h="264160">
                <a:moveTo>
                  <a:pt x="306323" y="232409"/>
                </a:moveTo>
                <a:lnTo>
                  <a:pt x="302513" y="225551"/>
                </a:lnTo>
                <a:lnTo>
                  <a:pt x="299172" y="232409"/>
                </a:lnTo>
                <a:lnTo>
                  <a:pt x="306323" y="2324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5876159" y="1533852"/>
            <a:ext cx="283646" cy="8818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5872257" y="1531029"/>
            <a:ext cx="291635" cy="93479"/>
          </a:xfrm>
          <a:custGeom>
            <a:avLst/>
            <a:gdLst/>
            <a:ahLst/>
            <a:cxnLst/>
            <a:rect l="l" t="t" r="r" b="b"/>
            <a:pathLst>
              <a:path w="398779" h="201929">
                <a:moveTo>
                  <a:pt x="398525" y="197358"/>
                </a:moveTo>
                <a:lnTo>
                  <a:pt x="397001" y="194310"/>
                </a:lnTo>
                <a:lnTo>
                  <a:pt x="260603" y="2286"/>
                </a:lnTo>
                <a:lnTo>
                  <a:pt x="259841" y="762"/>
                </a:lnTo>
                <a:lnTo>
                  <a:pt x="258317" y="0"/>
                </a:lnTo>
                <a:lnTo>
                  <a:pt x="3809" y="762"/>
                </a:lnTo>
                <a:lnTo>
                  <a:pt x="1523" y="1524"/>
                </a:lnTo>
                <a:lnTo>
                  <a:pt x="0" y="4572"/>
                </a:lnTo>
                <a:lnTo>
                  <a:pt x="0" y="6858"/>
                </a:lnTo>
                <a:lnTo>
                  <a:pt x="1523" y="8382"/>
                </a:lnTo>
                <a:lnTo>
                  <a:pt x="5333" y="13974"/>
                </a:lnTo>
                <a:lnTo>
                  <a:pt x="5333" y="9906"/>
                </a:lnTo>
                <a:lnTo>
                  <a:pt x="9143" y="3048"/>
                </a:lnTo>
                <a:lnTo>
                  <a:pt x="13816" y="9906"/>
                </a:lnTo>
                <a:lnTo>
                  <a:pt x="252983" y="9906"/>
                </a:lnTo>
                <a:lnTo>
                  <a:pt x="252983" y="7620"/>
                </a:lnTo>
                <a:lnTo>
                  <a:pt x="256793" y="9906"/>
                </a:lnTo>
                <a:lnTo>
                  <a:pt x="256793" y="12983"/>
                </a:lnTo>
                <a:lnTo>
                  <a:pt x="383969" y="192024"/>
                </a:lnTo>
                <a:lnTo>
                  <a:pt x="393191" y="192024"/>
                </a:lnTo>
                <a:lnTo>
                  <a:pt x="393191" y="201930"/>
                </a:lnTo>
                <a:lnTo>
                  <a:pt x="394715" y="201930"/>
                </a:lnTo>
                <a:lnTo>
                  <a:pt x="397763" y="198882"/>
                </a:lnTo>
                <a:lnTo>
                  <a:pt x="398525" y="197358"/>
                </a:lnTo>
                <a:close/>
              </a:path>
              <a:path w="398779" h="201929">
                <a:moveTo>
                  <a:pt x="13816" y="9906"/>
                </a:moveTo>
                <a:lnTo>
                  <a:pt x="9143" y="3048"/>
                </a:lnTo>
                <a:lnTo>
                  <a:pt x="5333" y="9906"/>
                </a:lnTo>
                <a:lnTo>
                  <a:pt x="13816" y="9906"/>
                </a:lnTo>
                <a:close/>
              </a:path>
              <a:path w="398779" h="201929">
                <a:moveTo>
                  <a:pt x="137888" y="192024"/>
                </a:moveTo>
                <a:lnTo>
                  <a:pt x="13816" y="9906"/>
                </a:lnTo>
                <a:lnTo>
                  <a:pt x="5333" y="9906"/>
                </a:lnTo>
                <a:lnTo>
                  <a:pt x="5333" y="13974"/>
                </a:lnTo>
                <a:lnTo>
                  <a:pt x="131825" y="199644"/>
                </a:lnTo>
                <a:lnTo>
                  <a:pt x="132587" y="201168"/>
                </a:lnTo>
                <a:lnTo>
                  <a:pt x="134111" y="201930"/>
                </a:lnTo>
                <a:lnTo>
                  <a:pt x="135635" y="201930"/>
                </a:lnTo>
                <a:lnTo>
                  <a:pt x="135635" y="192024"/>
                </a:lnTo>
                <a:lnTo>
                  <a:pt x="137888" y="192024"/>
                </a:lnTo>
                <a:close/>
              </a:path>
              <a:path w="398779" h="201929">
                <a:moveTo>
                  <a:pt x="139445" y="194310"/>
                </a:moveTo>
                <a:lnTo>
                  <a:pt x="137888" y="192024"/>
                </a:lnTo>
                <a:lnTo>
                  <a:pt x="135635" y="192024"/>
                </a:lnTo>
                <a:lnTo>
                  <a:pt x="139445" y="194310"/>
                </a:lnTo>
                <a:close/>
              </a:path>
              <a:path w="398779" h="201929">
                <a:moveTo>
                  <a:pt x="139445" y="201930"/>
                </a:moveTo>
                <a:lnTo>
                  <a:pt x="139445" y="194310"/>
                </a:lnTo>
                <a:lnTo>
                  <a:pt x="135635" y="192024"/>
                </a:lnTo>
                <a:lnTo>
                  <a:pt x="135635" y="201930"/>
                </a:lnTo>
                <a:lnTo>
                  <a:pt x="139445" y="201930"/>
                </a:lnTo>
                <a:close/>
              </a:path>
              <a:path w="398779" h="201929">
                <a:moveTo>
                  <a:pt x="393191" y="201930"/>
                </a:moveTo>
                <a:lnTo>
                  <a:pt x="393191" y="192024"/>
                </a:lnTo>
                <a:lnTo>
                  <a:pt x="389381" y="199644"/>
                </a:lnTo>
                <a:lnTo>
                  <a:pt x="383969" y="192024"/>
                </a:lnTo>
                <a:lnTo>
                  <a:pt x="137888" y="192024"/>
                </a:lnTo>
                <a:lnTo>
                  <a:pt x="139445" y="194310"/>
                </a:lnTo>
                <a:lnTo>
                  <a:pt x="139445" y="201930"/>
                </a:lnTo>
                <a:lnTo>
                  <a:pt x="393191" y="201930"/>
                </a:lnTo>
                <a:close/>
              </a:path>
              <a:path w="398779" h="201929">
                <a:moveTo>
                  <a:pt x="256793" y="9906"/>
                </a:moveTo>
                <a:lnTo>
                  <a:pt x="252983" y="7620"/>
                </a:lnTo>
                <a:lnTo>
                  <a:pt x="254607" y="9906"/>
                </a:lnTo>
                <a:lnTo>
                  <a:pt x="256793" y="9906"/>
                </a:lnTo>
                <a:close/>
              </a:path>
              <a:path w="398779" h="201929">
                <a:moveTo>
                  <a:pt x="254607" y="9906"/>
                </a:moveTo>
                <a:lnTo>
                  <a:pt x="252983" y="7620"/>
                </a:lnTo>
                <a:lnTo>
                  <a:pt x="252983" y="9906"/>
                </a:lnTo>
                <a:lnTo>
                  <a:pt x="254607" y="9906"/>
                </a:lnTo>
                <a:close/>
              </a:path>
              <a:path w="398779" h="201929">
                <a:moveTo>
                  <a:pt x="256793" y="12983"/>
                </a:moveTo>
                <a:lnTo>
                  <a:pt x="256793" y="9906"/>
                </a:lnTo>
                <a:lnTo>
                  <a:pt x="254607" y="9906"/>
                </a:lnTo>
                <a:lnTo>
                  <a:pt x="256793" y="12983"/>
                </a:lnTo>
                <a:close/>
              </a:path>
              <a:path w="398779" h="201929">
                <a:moveTo>
                  <a:pt x="393191" y="192024"/>
                </a:moveTo>
                <a:lnTo>
                  <a:pt x="383969" y="192024"/>
                </a:lnTo>
                <a:lnTo>
                  <a:pt x="389381" y="199644"/>
                </a:lnTo>
                <a:lnTo>
                  <a:pt x="393191" y="1920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6269028" y="1519859"/>
            <a:ext cx="188913" cy="11699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6233364" y="1516920"/>
            <a:ext cx="228014" cy="122286"/>
          </a:xfrm>
          <a:custGeom>
            <a:avLst/>
            <a:gdLst/>
            <a:ahLst/>
            <a:cxnLst/>
            <a:rect l="l" t="t" r="r" b="b"/>
            <a:pathLst>
              <a:path w="311784" h="264160">
                <a:moveTo>
                  <a:pt x="258624" y="238417"/>
                </a:moveTo>
                <a:lnTo>
                  <a:pt x="95249" y="1523"/>
                </a:lnTo>
                <a:lnTo>
                  <a:pt x="94487" y="761"/>
                </a:lnTo>
                <a:lnTo>
                  <a:pt x="92963" y="0"/>
                </a:lnTo>
                <a:lnTo>
                  <a:pt x="17525" y="717"/>
                </a:lnTo>
                <a:lnTo>
                  <a:pt x="10667" y="761"/>
                </a:lnTo>
                <a:lnTo>
                  <a:pt x="9143" y="2285"/>
                </a:lnTo>
                <a:lnTo>
                  <a:pt x="8381" y="3809"/>
                </a:lnTo>
                <a:lnTo>
                  <a:pt x="761" y="30479"/>
                </a:lnTo>
                <a:lnTo>
                  <a:pt x="0" y="32003"/>
                </a:lnTo>
                <a:lnTo>
                  <a:pt x="761" y="33527"/>
                </a:lnTo>
                <a:lnTo>
                  <a:pt x="1523" y="34289"/>
                </a:lnTo>
                <a:lnTo>
                  <a:pt x="2285" y="35813"/>
                </a:lnTo>
                <a:lnTo>
                  <a:pt x="3809" y="36575"/>
                </a:lnTo>
                <a:lnTo>
                  <a:pt x="5333" y="36575"/>
                </a:lnTo>
                <a:lnTo>
                  <a:pt x="5333" y="26669"/>
                </a:lnTo>
                <a:lnTo>
                  <a:pt x="11698" y="26669"/>
                </a:lnTo>
                <a:lnTo>
                  <a:pt x="12953" y="22402"/>
                </a:lnTo>
                <a:lnTo>
                  <a:pt x="12953" y="9905"/>
                </a:lnTo>
                <a:lnTo>
                  <a:pt x="17525" y="6857"/>
                </a:lnTo>
                <a:lnTo>
                  <a:pt x="17525" y="9861"/>
                </a:lnTo>
                <a:lnTo>
                  <a:pt x="42245" y="9621"/>
                </a:lnTo>
                <a:lnTo>
                  <a:pt x="43433" y="4571"/>
                </a:lnTo>
                <a:lnTo>
                  <a:pt x="44195" y="3047"/>
                </a:lnTo>
                <a:lnTo>
                  <a:pt x="45719" y="1523"/>
                </a:lnTo>
                <a:lnTo>
                  <a:pt x="47243" y="761"/>
                </a:lnTo>
                <a:lnTo>
                  <a:pt x="49529" y="761"/>
                </a:lnTo>
                <a:lnTo>
                  <a:pt x="51053" y="1523"/>
                </a:lnTo>
                <a:lnTo>
                  <a:pt x="51815" y="3047"/>
                </a:lnTo>
                <a:lnTo>
                  <a:pt x="56237" y="9485"/>
                </a:lnTo>
                <a:lnTo>
                  <a:pt x="87629" y="9180"/>
                </a:lnTo>
                <a:lnTo>
                  <a:pt x="87629" y="6857"/>
                </a:lnTo>
                <a:lnTo>
                  <a:pt x="91439" y="9143"/>
                </a:lnTo>
                <a:lnTo>
                  <a:pt x="91439" y="12382"/>
                </a:lnTo>
                <a:lnTo>
                  <a:pt x="254507" y="248831"/>
                </a:lnTo>
                <a:lnTo>
                  <a:pt x="254507" y="245363"/>
                </a:lnTo>
                <a:lnTo>
                  <a:pt x="258624" y="238417"/>
                </a:lnTo>
                <a:close/>
              </a:path>
              <a:path w="311784" h="264160">
                <a:moveTo>
                  <a:pt x="11698" y="26669"/>
                </a:moveTo>
                <a:lnTo>
                  <a:pt x="5333" y="26669"/>
                </a:lnTo>
                <a:lnTo>
                  <a:pt x="9905" y="32765"/>
                </a:lnTo>
                <a:lnTo>
                  <a:pt x="11698" y="26669"/>
                </a:lnTo>
                <a:close/>
              </a:path>
              <a:path w="311784" h="264160">
                <a:moveTo>
                  <a:pt x="38234" y="26669"/>
                </a:moveTo>
                <a:lnTo>
                  <a:pt x="11698" y="26669"/>
                </a:lnTo>
                <a:lnTo>
                  <a:pt x="9905" y="32765"/>
                </a:lnTo>
                <a:lnTo>
                  <a:pt x="5333" y="26669"/>
                </a:lnTo>
                <a:lnTo>
                  <a:pt x="5333" y="36575"/>
                </a:lnTo>
                <a:lnTo>
                  <a:pt x="37337" y="36575"/>
                </a:lnTo>
                <a:lnTo>
                  <a:pt x="37337" y="30479"/>
                </a:lnTo>
                <a:lnTo>
                  <a:pt x="38234" y="26669"/>
                </a:lnTo>
                <a:close/>
              </a:path>
              <a:path w="311784" h="264160">
                <a:moveTo>
                  <a:pt x="17525" y="6857"/>
                </a:moveTo>
                <a:lnTo>
                  <a:pt x="12953" y="9905"/>
                </a:lnTo>
                <a:lnTo>
                  <a:pt x="16640" y="9870"/>
                </a:lnTo>
                <a:lnTo>
                  <a:pt x="17525" y="6857"/>
                </a:lnTo>
                <a:close/>
              </a:path>
              <a:path w="311784" h="264160">
                <a:moveTo>
                  <a:pt x="16640" y="9870"/>
                </a:moveTo>
                <a:lnTo>
                  <a:pt x="12953" y="9905"/>
                </a:lnTo>
                <a:lnTo>
                  <a:pt x="12953" y="22402"/>
                </a:lnTo>
                <a:lnTo>
                  <a:pt x="16640" y="9870"/>
                </a:lnTo>
                <a:close/>
              </a:path>
              <a:path w="311784" h="264160">
                <a:moveTo>
                  <a:pt x="17525" y="9861"/>
                </a:moveTo>
                <a:lnTo>
                  <a:pt x="17525" y="6857"/>
                </a:lnTo>
                <a:lnTo>
                  <a:pt x="16640" y="9870"/>
                </a:lnTo>
                <a:lnTo>
                  <a:pt x="17525" y="9861"/>
                </a:lnTo>
                <a:close/>
              </a:path>
              <a:path w="311784" h="264160">
                <a:moveTo>
                  <a:pt x="41909" y="26669"/>
                </a:moveTo>
                <a:lnTo>
                  <a:pt x="38234" y="26669"/>
                </a:lnTo>
                <a:lnTo>
                  <a:pt x="37337" y="30479"/>
                </a:lnTo>
                <a:lnTo>
                  <a:pt x="41909" y="26669"/>
                </a:lnTo>
                <a:close/>
              </a:path>
              <a:path w="311784" h="264160">
                <a:moveTo>
                  <a:pt x="41909" y="36575"/>
                </a:moveTo>
                <a:lnTo>
                  <a:pt x="41909" y="26669"/>
                </a:lnTo>
                <a:lnTo>
                  <a:pt x="37337" y="30479"/>
                </a:lnTo>
                <a:lnTo>
                  <a:pt x="37337" y="36575"/>
                </a:lnTo>
                <a:lnTo>
                  <a:pt x="41909" y="36575"/>
                </a:lnTo>
                <a:close/>
              </a:path>
              <a:path w="311784" h="264160">
                <a:moveTo>
                  <a:pt x="50403" y="17420"/>
                </a:moveTo>
                <a:lnTo>
                  <a:pt x="45028" y="9594"/>
                </a:lnTo>
                <a:lnTo>
                  <a:pt x="42245" y="9621"/>
                </a:lnTo>
                <a:lnTo>
                  <a:pt x="38234" y="26669"/>
                </a:lnTo>
                <a:lnTo>
                  <a:pt x="41909" y="26669"/>
                </a:lnTo>
                <a:lnTo>
                  <a:pt x="41909" y="36575"/>
                </a:lnTo>
                <a:lnTo>
                  <a:pt x="44195" y="36575"/>
                </a:lnTo>
                <a:lnTo>
                  <a:pt x="46481" y="35051"/>
                </a:lnTo>
                <a:lnTo>
                  <a:pt x="47243" y="32765"/>
                </a:lnTo>
                <a:lnTo>
                  <a:pt x="50403" y="17420"/>
                </a:lnTo>
                <a:close/>
              </a:path>
              <a:path w="311784" h="264160">
                <a:moveTo>
                  <a:pt x="56237" y="9485"/>
                </a:moveTo>
                <a:lnTo>
                  <a:pt x="51815" y="3047"/>
                </a:lnTo>
                <a:lnTo>
                  <a:pt x="51053" y="1523"/>
                </a:lnTo>
                <a:lnTo>
                  <a:pt x="49529" y="761"/>
                </a:lnTo>
                <a:lnTo>
                  <a:pt x="47243" y="761"/>
                </a:lnTo>
                <a:lnTo>
                  <a:pt x="45719" y="1523"/>
                </a:lnTo>
                <a:lnTo>
                  <a:pt x="44195" y="3047"/>
                </a:lnTo>
                <a:lnTo>
                  <a:pt x="43433" y="4571"/>
                </a:lnTo>
                <a:lnTo>
                  <a:pt x="42245" y="9621"/>
                </a:lnTo>
                <a:lnTo>
                  <a:pt x="44195" y="9602"/>
                </a:lnTo>
                <a:lnTo>
                  <a:pt x="44195" y="8381"/>
                </a:lnTo>
                <a:lnTo>
                  <a:pt x="52577" y="6857"/>
                </a:lnTo>
                <a:lnTo>
                  <a:pt x="52577" y="9521"/>
                </a:lnTo>
                <a:lnTo>
                  <a:pt x="56237" y="9485"/>
                </a:lnTo>
                <a:close/>
              </a:path>
              <a:path w="311784" h="264160">
                <a:moveTo>
                  <a:pt x="52577" y="6857"/>
                </a:moveTo>
                <a:lnTo>
                  <a:pt x="44195" y="8381"/>
                </a:lnTo>
                <a:lnTo>
                  <a:pt x="45028" y="9594"/>
                </a:lnTo>
                <a:lnTo>
                  <a:pt x="52028" y="9526"/>
                </a:lnTo>
                <a:lnTo>
                  <a:pt x="52577" y="6857"/>
                </a:lnTo>
                <a:close/>
              </a:path>
              <a:path w="311784" h="264160">
                <a:moveTo>
                  <a:pt x="45028" y="9594"/>
                </a:moveTo>
                <a:lnTo>
                  <a:pt x="44195" y="8381"/>
                </a:lnTo>
                <a:lnTo>
                  <a:pt x="44195" y="9602"/>
                </a:lnTo>
                <a:lnTo>
                  <a:pt x="45028" y="9594"/>
                </a:lnTo>
                <a:close/>
              </a:path>
              <a:path w="311784" h="264160">
                <a:moveTo>
                  <a:pt x="52028" y="9526"/>
                </a:moveTo>
                <a:lnTo>
                  <a:pt x="45028" y="9594"/>
                </a:lnTo>
                <a:lnTo>
                  <a:pt x="50403" y="17420"/>
                </a:lnTo>
                <a:lnTo>
                  <a:pt x="52028" y="9526"/>
                </a:lnTo>
                <a:close/>
              </a:path>
              <a:path w="311784" h="264160">
                <a:moveTo>
                  <a:pt x="223949" y="253698"/>
                </a:moveTo>
                <a:lnTo>
                  <a:pt x="56237" y="9485"/>
                </a:lnTo>
                <a:lnTo>
                  <a:pt x="52028" y="9526"/>
                </a:lnTo>
                <a:lnTo>
                  <a:pt x="50403" y="17420"/>
                </a:lnTo>
                <a:lnTo>
                  <a:pt x="217931" y="261365"/>
                </a:lnTo>
                <a:lnTo>
                  <a:pt x="218693" y="262889"/>
                </a:lnTo>
                <a:lnTo>
                  <a:pt x="220217" y="263651"/>
                </a:lnTo>
                <a:lnTo>
                  <a:pt x="221741" y="263651"/>
                </a:lnTo>
                <a:lnTo>
                  <a:pt x="221741" y="253745"/>
                </a:lnTo>
                <a:lnTo>
                  <a:pt x="223949" y="253698"/>
                </a:lnTo>
                <a:close/>
              </a:path>
              <a:path w="311784" h="264160">
                <a:moveTo>
                  <a:pt x="52577" y="9521"/>
                </a:moveTo>
                <a:lnTo>
                  <a:pt x="52577" y="6857"/>
                </a:lnTo>
                <a:lnTo>
                  <a:pt x="52028" y="9526"/>
                </a:lnTo>
                <a:lnTo>
                  <a:pt x="52577" y="9521"/>
                </a:lnTo>
                <a:close/>
              </a:path>
              <a:path w="311784" h="264160">
                <a:moveTo>
                  <a:pt x="91439" y="9143"/>
                </a:moveTo>
                <a:lnTo>
                  <a:pt x="87629" y="6857"/>
                </a:lnTo>
                <a:lnTo>
                  <a:pt x="89221" y="9165"/>
                </a:lnTo>
                <a:lnTo>
                  <a:pt x="91439" y="9143"/>
                </a:lnTo>
                <a:close/>
              </a:path>
              <a:path w="311784" h="264160">
                <a:moveTo>
                  <a:pt x="89221" y="9165"/>
                </a:moveTo>
                <a:lnTo>
                  <a:pt x="87629" y="6857"/>
                </a:lnTo>
                <a:lnTo>
                  <a:pt x="87629" y="9180"/>
                </a:lnTo>
                <a:lnTo>
                  <a:pt x="89221" y="9165"/>
                </a:lnTo>
                <a:close/>
              </a:path>
              <a:path w="311784" h="264160">
                <a:moveTo>
                  <a:pt x="91439" y="12382"/>
                </a:moveTo>
                <a:lnTo>
                  <a:pt x="91439" y="9143"/>
                </a:lnTo>
                <a:lnTo>
                  <a:pt x="89221" y="9165"/>
                </a:lnTo>
                <a:lnTo>
                  <a:pt x="91439" y="12382"/>
                </a:lnTo>
                <a:close/>
              </a:path>
              <a:path w="311784" h="264160">
                <a:moveTo>
                  <a:pt x="225551" y="256031"/>
                </a:moveTo>
                <a:lnTo>
                  <a:pt x="223949" y="253698"/>
                </a:lnTo>
                <a:lnTo>
                  <a:pt x="221741" y="253745"/>
                </a:lnTo>
                <a:lnTo>
                  <a:pt x="225551" y="256031"/>
                </a:lnTo>
                <a:close/>
              </a:path>
              <a:path w="311784" h="264160">
                <a:moveTo>
                  <a:pt x="225551" y="263570"/>
                </a:moveTo>
                <a:lnTo>
                  <a:pt x="225551" y="256031"/>
                </a:lnTo>
                <a:lnTo>
                  <a:pt x="221741" y="253745"/>
                </a:lnTo>
                <a:lnTo>
                  <a:pt x="221741" y="263651"/>
                </a:lnTo>
                <a:lnTo>
                  <a:pt x="225551" y="263570"/>
                </a:lnTo>
                <a:close/>
              </a:path>
              <a:path w="311784" h="264160">
                <a:moveTo>
                  <a:pt x="292607" y="262127"/>
                </a:moveTo>
                <a:lnTo>
                  <a:pt x="292607" y="252221"/>
                </a:lnTo>
                <a:lnTo>
                  <a:pt x="288035" y="255269"/>
                </a:lnTo>
                <a:lnTo>
                  <a:pt x="288035" y="252320"/>
                </a:lnTo>
                <a:lnTo>
                  <a:pt x="223949" y="253698"/>
                </a:lnTo>
                <a:lnTo>
                  <a:pt x="225551" y="256031"/>
                </a:lnTo>
                <a:lnTo>
                  <a:pt x="225551" y="263570"/>
                </a:lnTo>
                <a:lnTo>
                  <a:pt x="288035" y="262226"/>
                </a:lnTo>
                <a:lnTo>
                  <a:pt x="288035" y="255269"/>
                </a:lnTo>
                <a:lnTo>
                  <a:pt x="289488" y="252289"/>
                </a:lnTo>
                <a:lnTo>
                  <a:pt x="289488" y="262195"/>
                </a:lnTo>
                <a:lnTo>
                  <a:pt x="292607" y="262127"/>
                </a:lnTo>
                <a:close/>
              </a:path>
              <a:path w="311784" h="264160">
                <a:moveTo>
                  <a:pt x="262889" y="244601"/>
                </a:moveTo>
                <a:lnTo>
                  <a:pt x="258624" y="238417"/>
                </a:lnTo>
                <a:lnTo>
                  <a:pt x="254507" y="245363"/>
                </a:lnTo>
                <a:lnTo>
                  <a:pt x="262889" y="244601"/>
                </a:lnTo>
                <a:close/>
              </a:path>
              <a:path w="311784" h="264160">
                <a:moveTo>
                  <a:pt x="262889" y="249935"/>
                </a:moveTo>
                <a:lnTo>
                  <a:pt x="262889" y="244601"/>
                </a:lnTo>
                <a:lnTo>
                  <a:pt x="254507" y="245363"/>
                </a:lnTo>
                <a:lnTo>
                  <a:pt x="254507" y="248831"/>
                </a:lnTo>
                <a:lnTo>
                  <a:pt x="255269" y="249935"/>
                </a:lnTo>
                <a:lnTo>
                  <a:pt x="256031" y="251459"/>
                </a:lnTo>
                <a:lnTo>
                  <a:pt x="257555" y="252221"/>
                </a:lnTo>
                <a:lnTo>
                  <a:pt x="260603" y="252221"/>
                </a:lnTo>
                <a:lnTo>
                  <a:pt x="262127" y="251459"/>
                </a:lnTo>
                <a:lnTo>
                  <a:pt x="262889" y="249935"/>
                </a:lnTo>
                <a:close/>
              </a:path>
              <a:path w="311784" h="264160">
                <a:moveTo>
                  <a:pt x="311657" y="227837"/>
                </a:moveTo>
                <a:lnTo>
                  <a:pt x="311657" y="226313"/>
                </a:lnTo>
                <a:lnTo>
                  <a:pt x="310133" y="223265"/>
                </a:lnTo>
                <a:lnTo>
                  <a:pt x="308609" y="222503"/>
                </a:lnTo>
                <a:lnTo>
                  <a:pt x="268985" y="222503"/>
                </a:lnTo>
                <a:lnTo>
                  <a:pt x="267461" y="223265"/>
                </a:lnTo>
                <a:lnTo>
                  <a:pt x="266699" y="224789"/>
                </a:lnTo>
                <a:lnTo>
                  <a:pt x="258624" y="238417"/>
                </a:lnTo>
                <a:lnTo>
                  <a:pt x="262889" y="244601"/>
                </a:lnTo>
                <a:lnTo>
                  <a:pt x="262889" y="249935"/>
                </a:lnTo>
                <a:lnTo>
                  <a:pt x="270509" y="237553"/>
                </a:lnTo>
                <a:lnTo>
                  <a:pt x="270509" y="232409"/>
                </a:lnTo>
                <a:lnTo>
                  <a:pt x="275081" y="230123"/>
                </a:lnTo>
                <a:lnTo>
                  <a:pt x="275081" y="232409"/>
                </a:lnTo>
                <a:lnTo>
                  <a:pt x="299172" y="232409"/>
                </a:lnTo>
                <a:lnTo>
                  <a:pt x="302513" y="225551"/>
                </a:lnTo>
                <a:lnTo>
                  <a:pt x="307085" y="232409"/>
                </a:lnTo>
                <a:lnTo>
                  <a:pt x="307085" y="237182"/>
                </a:lnTo>
                <a:lnTo>
                  <a:pt x="310895" y="229361"/>
                </a:lnTo>
                <a:lnTo>
                  <a:pt x="311657" y="227837"/>
                </a:lnTo>
                <a:close/>
              </a:path>
              <a:path w="311784" h="264160">
                <a:moveTo>
                  <a:pt x="275081" y="230123"/>
                </a:moveTo>
                <a:lnTo>
                  <a:pt x="270509" y="232409"/>
                </a:lnTo>
                <a:lnTo>
                  <a:pt x="273675" y="232409"/>
                </a:lnTo>
                <a:lnTo>
                  <a:pt x="275081" y="230123"/>
                </a:lnTo>
                <a:close/>
              </a:path>
              <a:path w="311784" h="264160">
                <a:moveTo>
                  <a:pt x="273675" y="232409"/>
                </a:moveTo>
                <a:lnTo>
                  <a:pt x="270509" y="232409"/>
                </a:lnTo>
                <a:lnTo>
                  <a:pt x="270509" y="237553"/>
                </a:lnTo>
                <a:lnTo>
                  <a:pt x="273675" y="232409"/>
                </a:lnTo>
                <a:close/>
              </a:path>
              <a:path w="311784" h="264160">
                <a:moveTo>
                  <a:pt x="275081" y="232409"/>
                </a:moveTo>
                <a:lnTo>
                  <a:pt x="275081" y="230123"/>
                </a:lnTo>
                <a:lnTo>
                  <a:pt x="273675" y="232409"/>
                </a:lnTo>
                <a:lnTo>
                  <a:pt x="275081" y="232409"/>
                </a:lnTo>
                <a:close/>
              </a:path>
              <a:path w="311784" h="264160">
                <a:moveTo>
                  <a:pt x="292607" y="252221"/>
                </a:moveTo>
                <a:lnTo>
                  <a:pt x="289488" y="252289"/>
                </a:lnTo>
                <a:lnTo>
                  <a:pt x="288035" y="255269"/>
                </a:lnTo>
                <a:lnTo>
                  <a:pt x="292607" y="252221"/>
                </a:lnTo>
                <a:close/>
              </a:path>
              <a:path w="311784" h="264160">
                <a:moveTo>
                  <a:pt x="307085" y="237182"/>
                </a:moveTo>
                <a:lnTo>
                  <a:pt x="307085" y="232409"/>
                </a:lnTo>
                <a:lnTo>
                  <a:pt x="299172" y="232409"/>
                </a:lnTo>
                <a:lnTo>
                  <a:pt x="289488" y="252289"/>
                </a:lnTo>
                <a:lnTo>
                  <a:pt x="292607" y="252221"/>
                </a:lnTo>
                <a:lnTo>
                  <a:pt x="292607" y="262127"/>
                </a:lnTo>
                <a:lnTo>
                  <a:pt x="294131" y="262127"/>
                </a:lnTo>
                <a:lnTo>
                  <a:pt x="295655" y="261365"/>
                </a:lnTo>
                <a:lnTo>
                  <a:pt x="296417" y="259079"/>
                </a:lnTo>
                <a:lnTo>
                  <a:pt x="307085" y="237182"/>
                </a:lnTo>
                <a:close/>
              </a:path>
              <a:path w="311784" h="264160">
                <a:moveTo>
                  <a:pt x="307085" y="232409"/>
                </a:moveTo>
                <a:lnTo>
                  <a:pt x="302513" y="225551"/>
                </a:lnTo>
                <a:lnTo>
                  <a:pt x="299172" y="232409"/>
                </a:lnTo>
                <a:lnTo>
                  <a:pt x="307085" y="2324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6096267" y="1533852"/>
            <a:ext cx="284213" cy="88187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6092925" y="1531030"/>
            <a:ext cx="291170" cy="93185"/>
          </a:xfrm>
          <a:custGeom>
            <a:avLst/>
            <a:gdLst/>
            <a:ahLst/>
            <a:cxnLst/>
            <a:rect l="l" t="t" r="r" b="b"/>
            <a:pathLst>
              <a:path w="398145" h="201295">
                <a:moveTo>
                  <a:pt x="397764" y="197358"/>
                </a:moveTo>
                <a:lnTo>
                  <a:pt x="397764" y="195072"/>
                </a:lnTo>
                <a:lnTo>
                  <a:pt x="397002" y="193548"/>
                </a:lnTo>
                <a:lnTo>
                  <a:pt x="259842" y="2286"/>
                </a:lnTo>
                <a:lnTo>
                  <a:pt x="259080" y="762"/>
                </a:lnTo>
                <a:lnTo>
                  <a:pt x="257556" y="0"/>
                </a:lnTo>
                <a:lnTo>
                  <a:pt x="3048" y="0"/>
                </a:lnTo>
                <a:lnTo>
                  <a:pt x="1524" y="1524"/>
                </a:lnTo>
                <a:lnTo>
                  <a:pt x="0" y="4572"/>
                </a:lnTo>
                <a:lnTo>
                  <a:pt x="0" y="6096"/>
                </a:lnTo>
                <a:lnTo>
                  <a:pt x="762" y="7620"/>
                </a:lnTo>
                <a:lnTo>
                  <a:pt x="4572" y="13179"/>
                </a:lnTo>
                <a:lnTo>
                  <a:pt x="4572" y="9906"/>
                </a:lnTo>
                <a:lnTo>
                  <a:pt x="9144" y="2286"/>
                </a:lnTo>
                <a:lnTo>
                  <a:pt x="14315" y="9876"/>
                </a:lnTo>
                <a:lnTo>
                  <a:pt x="252222" y="9155"/>
                </a:lnTo>
                <a:lnTo>
                  <a:pt x="252222" y="7620"/>
                </a:lnTo>
                <a:lnTo>
                  <a:pt x="256032" y="9144"/>
                </a:lnTo>
                <a:lnTo>
                  <a:pt x="256032" y="12983"/>
                </a:lnTo>
                <a:lnTo>
                  <a:pt x="383207" y="192024"/>
                </a:lnTo>
                <a:lnTo>
                  <a:pt x="393192" y="192024"/>
                </a:lnTo>
                <a:lnTo>
                  <a:pt x="393192" y="201168"/>
                </a:lnTo>
                <a:lnTo>
                  <a:pt x="394716" y="201168"/>
                </a:lnTo>
                <a:lnTo>
                  <a:pt x="396240" y="200406"/>
                </a:lnTo>
                <a:lnTo>
                  <a:pt x="397764" y="197358"/>
                </a:lnTo>
                <a:close/>
              </a:path>
              <a:path w="398145" h="201295">
                <a:moveTo>
                  <a:pt x="14315" y="9876"/>
                </a:moveTo>
                <a:lnTo>
                  <a:pt x="9144" y="2286"/>
                </a:lnTo>
                <a:lnTo>
                  <a:pt x="4572" y="9906"/>
                </a:lnTo>
                <a:lnTo>
                  <a:pt x="14315" y="9876"/>
                </a:lnTo>
                <a:close/>
              </a:path>
              <a:path w="398145" h="201295">
                <a:moveTo>
                  <a:pt x="138407" y="192024"/>
                </a:moveTo>
                <a:lnTo>
                  <a:pt x="14315" y="9876"/>
                </a:lnTo>
                <a:lnTo>
                  <a:pt x="4572" y="9906"/>
                </a:lnTo>
                <a:lnTo>
                  <a:pt x="4572" y="13179"/>
                </a:lnTo>
                <a:lnTo>
                  <a:pt x="131826" y="198882"/>
                </a:lnTo>
                <a:lnTo>
                  <a:pt x="132588" y="200406"/>
                </a:lnTo>
                <a:lnTo>
                  <a:pt x="134112" y="201168"/>
                </a:lnTo>
                <a:lnTo>
                  <a:pt x="135636" y="201168"/>
                </a:lnTo>
                <a:lnTo>
                  <a:pt x="135636" y="192024"/>
                </a:lnTo>
                <a:lnTo>
                  <a:pt x="138407" y="192024"/>
                </a:lnTo>
                <a:close/>
              </a:path>
              <a:path w="398145" h="201295">
                <a:moveTo>
                  <a:pt x="139446" y="193548"/>
                </a:moveTo>
                <a:lnTo>
                  <a:pt x="138407" y="192024"/>
                </a:lnTo>
                <a:lnTo>
                  <a:pt x="135636" y="192024"/>
                </a:lnTo>
                <a:lnTo>
                  <a:pt x="139446" y="193548"/>
                </a:lnTo>
                <a:close/>
              </a:path>
              <a:path w="398145" h="201295">
                <a:moveTo>
                  <a:pt x="139446" y="201168"/>
                </a:moveTo>
                <a:lnTo>
                  <a:pt x="139446" y="193548"/>
                </a:lnTo>
                <a:lnTo>
                  <a:pt x="135636" y="192024"/>
                </a:lnTo>
                <a:lnTo>
                  <a:pt x="135636" y="201168"/>
                </a:lnTo>
                <a:lnTo>
                  <a:pt x="139446" y="201168"/>
                </a:lnTo>
                <a:close/>
              </a:path>
              <a:path w="398145" h="201295">
                <a:moveTo>
                  <a:pt x="393192" y="201168"/>
                </a:moveTo>
                <a:lnTo>
                  <a:pt x="393192" y="192024"/>
                </a:lnTo>
                <a:lnTo>
                  <a:pt x="388620" y="199644"/>
                </a:lnTo>
                <a:lnTo>
                  <a:pt x="383207" y="192024"/>
                </a:lnTo>
                <a:lnTo>
                  <a:pt x="138407" y="192024"/>
                </a:lnTo>
                <a:lnTo>
                  <a:pt x="139446" y="193548"/>
                </a:lnTo>
                <a:lnTo>
                  <a:pt x="139446" y="201168"/>
                </a:lnTo>
                <a:lnTo>
                  <a:pt x="393192" y="201168"/>
                </a:lnTo>
                <a:close/>
              </a:path>
              <a:path w="398145" h="201295">
                <a:moveTo>
                  <a:pt x="256032" y="9144"/>
                </a:moveTo>
                <a:lnTo>
                  <a:pt x="252222" y="7620"/>
                </a:lnTo>
                <a:lnTo>
                  <a:pt x="253310" y="9152"/>
                </a:lnTo>
                <a:lnTo>
                  <a:pt x="256032" y="9144"/>
                </a:lnTo>
                <a:close/>
              </a:path>
              <a:path w="398145" h="201295">
                <a:moveTo>
                  <a:pt x="253310" y="9152"/>
                </a:moveTo>
                <a:lnTo>
                  <a:pt x="252222" y="7620"/>
                </a:lnTo>
                <a:lnTo>
                  <a:pt x="252222" y="9155"/>
                </a:lnTo>
                <a:lnTo>
                  <a:pt x="253310" y="9152"/>
                </a:lnTo>
                <a:close/>
              </a:path>
              <a:path w="398145" h="201295">
                <a:moveTo>
                  <a:pt x="256032" y="12983"/>
                </a:moveTo>
                <a:lnTo>
                  <a:pt x="256032" y="9144"/>
                </a:lnTo>
                <a:lnTo>
                  <a:pt x="253310" y="9152"/>
                </a:lnTo>
                <a:lnTo>
                  <a:pt x="256032" y="12983"/>
                </a:lnTo>
                <a:close/>
              </a:path>
              <a:path w="398145" h="201295">
                <a:moveTo>
                  <a:pt x="393192" y="192024"/>
                </a:moveTo>
                <a:lnTo>
                  <a:pt x="383207" y="192024"/>
                </a:lnTo>
                <a:lnTo>
                  <a:pt x="388620" y="199644"/>
                </a:lnTo>
                <a:lnTo>
                  <a:pt x="393192" y="1920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3905120" y="1534910"/>
            <a:ext cx="272501" cy="8995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3901776" y="1532441"/>
            <a:ext cx="280025" cy="94654"/>
          </a:xfrm>
          <a:custGeom>
            <a:avLst/>
            <a:gdLst/>
            <a:ahLst/>
            <a:cxnLst/>
            <a:rect l="l" t="t" r="r" b="b"/>
            <a:pathLst>
              <a:path w="382904" h="204470">
                <a:moveTo>
                  <a:pt x="382524" y="200405"/>
                </a:moveTo>
                <a:lnTo>
                  <a:pt x="382524" y="198119"/>
                </a:lnTo>
                <a:lnTo>
                  <a:pt x="381000" y="196595"/>
                </a:lnTo>
                <a:lnTo>
                  <a:pt x="249174" y="2285"/>
                </a:lnTo>
                <a:lnTo>
                  <a:pt x="248412" y="761"/>
                </a:lnTo>
                <a:lnTo>
                  <a:pt x="246888" y="0"/>
                </a:lnTo>
                <a:lnTo>
                  <a:pt x="171450" y="0"/>
                </a:lnTo>
                <a:lnTo>
                  <a:pt x="170688" y="761"/>
                </a:lnTo>
                <a:lnTo>
                  <a:pt x="2286" y="92963"/>
                </a:lnTo>
                <a:lnTo>
                  <a:pt x="762" y="93725"/>
                </a:lnTo>
                <a:lnTo>
                  <a:pt x="0" y="95249"/>
                </a:lnTo>
                <a:lnTo>
                  <a:pt x="0" y="99059"/>
                </a:lnTo>
                <a:lnTo>
                  <a:pt x="762" y="100583"/>
                </a:lnTo>
                <a:lnTo>
                  <a:pt x="2286" y="101345"/>
                </a:lnTo>
                <a:lnTo>
                  <a:pt x="6858" y="104118"/>
                </a:lnTo>
                <a:lnTo>
                  <a:pt x="6858" y="92963"/>
                </a:lnTo>
                <a:lnTo>
                  <a:pt x="14122" y="97368"/>
                </a:lnTo>
                <a:lnTo>
                  <a:pt x="172974" y="10395"/>
                </a:lnTo>
                <a:lnTo>
                  <a:pt x="172974" y="9143"/>
                </a:lnTo>
                <a:lnTo>
                  <a:pt x="240792" y="9143"/>
                </a:lnTo>
                <a:lnTo>
                  <a:pt x="240792" y="7619"/>
                </a:lnTo>
                <a:lnTo>
                  <a:pt x="245364" y="9143"/>
                </a:lnTo>
                <a:lnTo>
                  <a:pt x="245364" y="14320"/>
                </a:lnTo>
                <a:lnTo>
                  <a:pt x="368180" y="194309"/>
                </a:lnTo>
                <a:lnTo>
                  <a:pt x="377190" y="194309"/>
                </a:lnTo>
                <a:lnTo>
                  <a:pt x="377190" y="204215"/>
                </a:lnTo>
                <a:lnTo>
                  <a:pt x="378714" y="204215"/>
                </a:lnTo>
                <a:lnTo>
                  <a:pt x="381000" y="203453"/>
                </a:lnTo>
                <a:lnTo>
                  <a:pt x="382524" y="200405"/>
                </a:lnTo>
                <a:close/>
              </a:path>
              <a:path w="382904" h="204470">
                <a:moveTo>
                  <a:pt x="14122" y="97368"/>
                </a:moveTo>
                <a:lnTo>
                  <a:pt x="6858" y="92963"/>
                </a:lnTo>
                <a:lnTo>
                  <a:pt x="6858" y="101345"/>
                </a:lnTo>
                <a:lnTo>
                  <a:pt x="14122" y="97368"/>
                </a:lnTo>
                <a:close/>
              </a:path>
              <a:path w="382904" h="204470">
                <a:moveTo>
                  <a:pt x="174003" y="194309"/>
                </a:moveTo>
                <a:lnTo>
                  <a:pt x="14122" y="97368"/>
                </a:lnTo>
                <a:lnTo>
                  <a:pt x="6858" y="101345"/>
                </a:lnTo>
                <a:lnTo>
                  <a:pt x="6858" y="104118"/>
                </a:lnTo>
                <a:lnTo>
                  <a:pt x="170688" y="203453"/>
                </a:lnTo>
                <a:lnTo>
                  <a:pt x="171450" y="204215"/>
                </a:lnTo>
                <a:lnTo>
                  <a:pt x="172974" y="204215"/>
                </a:lnTo>
                <a:lnTo>
                  <a:pt x="172974" y="194309"/>
                </a:lnTo>
                <a:lnTo>
                  <a:pt x="174003" y="194309"/>
                </a:lnTo>
                <a:close/>
              </a:path>
              <a:path w="382904" h="204470">
                <a:moveTo>
                  <a:pt x="175260" y="9143"/>
                </a:moveTo>
                <a:lnTo>
                  <a:pt x="172974" y="9143"/>
                </a:lnTo>
                <a:lnTo>
                  <a:pt x="172974" y="10395"/>
                </a:lnTo>
                <a:lnTo>
                  <a:pt x="175260" y="9143"/>
                </a:lnTo>
                <a:close/>
              </a:path>
              <a:path w="382904" h="204470">
                <a:moveTo>
                  <a:pt x="175260" y="195071"/>
                </a:moveTo>
                <a:lnTo>
                  <a:pt x="174003" y="194309"/>
                </a:lnTo>
                <a:lnTo>
                  <a:pt x="172974" y="194309"/>
                </a:lnTo>
                <a:lnTo>
                  <a:pt x="175260" y="195071"/>
                </a:lnTo>
                <a:close/>
              </a:path>
              <a:path w="382904" h="204470">
                <a:moveTo>
                  <a:pt x="175260" y="204215"/>
                </a:moveTo>
                <a:lnTo>
                  <a:pt x="175260" y="195071"/>
                </a:lnTo>
                <a:lnTo>
                  <a:pt x="172974" y="194309"/>
                </a:lnTo>
                <a:lnTo>
                  <a:pt x="172974" y="204215"/>
                </a:lnTo>
                <a:lnTo>
                  <a:pt x="175260" y="204215"/>
                </a:lnTo>
                <a:close/>
              </a:path>
              <a:path w="382904" h="204470">
                <a:moveTo>
                  <a:pt x="377190" y="204215"/>
                </a:moveTo>
                <a:lnTo>
                  <a:pt x="377190" y="194309"/>
                </a:lnTo>
                <a:lnTo>
                  <a:pt x="373380" y="201929"/>
                </a:lnTo>
                <a:lnTo>
                  <a:pt x="368180" y="194309"/>
                </a:lnTo>
                <a:lnTo>
                  <a:pt x="174003" y="194309"/>
                </a:lnTo>
                <a:lnTo>
                  <a:pt x="175260" y="195071"/>
                </a:lnTo>
                <a:lnTo>
                  <a:pt x="175260" y="204215"/>
                </a:lnTo>
                <a:lnTo>
                  <a:pt x="377190" y="204215"/>
                </a:lnTo>
                <a:close/>
              </a:path>
              <a:path w="382904" h="204470">
                <a:moveTo>
                  <a:pt x="245364" y="9143"/>
                </a:moveTo>
                <a:lnTo>
                  <a:pt x="240792" y="7619"/>
                </a:lnTo>
                <a:lnTo>
                  <a:pt x="241831" y="9143"/>
                </a:lnTo>
                <a:lnTo>
                  <a:pt x="245364" y="9143"/>
                </a:lnTo>
                <a:close/>
              </a:path>
              <a:path w="382904" h="204470">
                <a:moveTo>
                  <a:pt x="241831" y="9143"/>
                </a:moveTo>
                <a:lnTo>
                  <a:pt x="240792" y="7619"/>
                </a:lnTo>
                <a:lnTo>
                  <a:pt x="240792" y="9143"/>
                </a:lnTo>
                <a:lnTo>
                  <a:pt x="241831" y="9143"/>
                </a:lnTo>
                <a:close/>
              </a:path>
              <a:path w="382904" h="204470">
                <a:moveTo>
                  <a:pt x="245364" y="14320"/>
                </a:moveTo>
                <a:lnTo>
                  <a:pt x="245364" y="9143"/>
                </a:lnTo>
                <a:lnTo>
                  <a:pt x="241831" y="9143"/>
                </a:lnTo>
                <a:lnTo>
                  <a:pt x="245364" y="14320"/>
                </a:lnTo>
                <a:close/>
              </a:path>
              <a:path w="382904" h="204470">
                <a:moveTo>
                  <a:pt x="377190" y="194309"/>
                </a:moveTo>
                <a:lnTo>
                  <a:pt x="368180" y="194309"/>
                </a:lnTo>
                <a:lnTo>
                  <a:pt x="373380" y="201929"/>
                </a:lnTo>
                <a:lnTo>
                  <a:pt x="377190" y="1943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4037747" y="1521623"/>
            <a:ext cx="219561" cy="116995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4033289" y="1518684"/>
            <a:ext cx="228014" cy="122580"/>
          </a:xfrm>
          <a:custGeom>
            <a:avLst/>
            <a:gdLst/>
            <a:ahLst/>
            <a:cxnLst/>
            <a:rect l="l" t="t" r="r" b="b"/>
            <a:pathLst>
              <a:path w="311785" h="264795">
                <a:moveTo>
                  <a:pt x="258150" y="239569"/>
                </a:moveTo>
                <a:lnTo>
                  <a:pt x="95250" y="2285"/>
                </a:lnTo>
                <a:lnTo>
                  <a:pt x="94488" y="761"/>
                </a:lnTo>
                <a:lnTo>
                  <a:pt x="92964" y="0"/>
                </a:lnTo>
                <a:lnTo>
                  <a:pt x="86868" y="37"/>
                </a:lnTo>
                <a:lnTo>
                  <a:pt x="17526" y="717"/>
                </a:lnTo>
                <a:lnTo>
                  <a:pt x="10668" y="761"/>
                </a:lnTo>
                <a:lnTo>
                  <a:pt x="8382" y="2285"/>
                </a:lnTo>
                <a:lnTo>
                  <a:pt x="8382" y="3809"/>
                </a:lnTo>
                <a:lnTo>
                  <a:pt x="762" y="30479"/>
                </a:lnTo>
                <a:lnTo>
                  <a:pt x="0" y="32003"/>
                </a:lnTo>
                <a:lnTo>
                  <a:pt x="0" y="33527"/>
                </a:lnTo>
                <a:lnTo>
                  <a:pt x="1524" y="34289"/>
                </a:lnTo>
                <a:lnTo>
                  <a:pt x="2286" y="35813"/>
                </a:lnTo>
                <a:lnTo>
                  <a:pt x="3810" y="36575"/>
                </a:lnTo>
                <a:lnTo>
                  <a:pt x="5334" y="36575"/>
                </a:lnTo>
                <a:lnTo>
                  <a:pt x="5334" y="26669"/>
                </a:lnTo>
                <a:lnTo>
                  <a:pt x="11698" y="26669"/>
                </a:lnTo>
                <a:lnTo>
                  <a:pt x="12954" y="22402"/>
                </a:lnTo>
                <a:lnTo>
                  <a:pt x="12954" y="9905"/>
                </a:lnTo>
                <a:lnTo>
                  <a:pt x="17526" y="6857"/>
                </a:lnTo>
                <a:lnTo>
                  <a:pt x="17526" y="9861"/>
                </a:lnTo>
                <a:lnTo>
                  <a:pt x="42245" y="9621"/>
                </a:lnTo>
                <a:lnTo>
                  <a:pt x="43434" y="4571"/>
                </a:lnTo>
                <a:lnTo>
                  <a:pt x="43434" y="3047"/>
                </a:lnTo>
                <a:lnTo>
                  <a:pt x="44958" y="1523"/>
                </a:lnTo>
                <a:lnTo>
                  <a:pt x="47244" y="761"/>
                </a:lnTo>
                <a:lnTo>
                  <a:pt x="48768" y="761"/>
                </a:lnTo>
                <a:lnTo>
                  <a:pt x="51054" y="1523"/>
                </a:lnTo>
                <a:lnTo>
                  <a:pt x="51816" y="3047"/>
                </a:lnTo>
                <a:lnTo>
                  <a:pt x="56204" y="9486"/>
                </a:lnTo>
                <a:lnTo>
                  <a:pt x="86868" y="9188"/>
                </a:lnTo>
                <a:lnTo>
                  <a:pt x="86868" y="7619"/>
                </a:lnTo>
                <a:lnTo>
                  <a:pt x="91440" y="9143"/>
                </a:lnTo>
                <a:lnTo>
                  <a:pt x="91440" y="14249"/>
                </a:lnTo>
                <a:lnTo>
                  <a:pt x="254508" y="250697"/>
                </a:lnTo>
                <a:lnTo>
                  <a:pt x="254508" y="246125"/>
                </a:lnTo>
                <a:lnTo>
                  <a:pt x="258150" y="239569"/>
                </a:lnTo>
                <a:close/>
              </a:path>
              <a:path w="311785" h="264795">
                <a:moveTo>
                  <a:pt x="11698" y="26669"/>
                </a:moveTo>
                <a:lnTo>
                  <a:pt x="5334" y="26669"/>
                </a:lnTo>
                <a:lnTo>
                  <a:pt x="9906" y="32765"/>
                </a:lnTo>
                <a:lnTo>
                  <a:pt x="11698" y="26669"/>
                </a:lnTo>
                <a:close/>
              </a:path>
              <a:path w="311785" h="264795">
                <a:moveTo>
                  <a:pt x="38234" y="26669"/>
                </a:moveTo>
                <a:lnTo>
                  <a:pt x="11698" y="26669"/>
                </a:lnTo>
                <a:lnTo>
                  <a:pt x="9906" y="32765"/>
                </a:lnTo>
                <a:lnTo>
                  <a:pt x="5334" y="26669"/>
                </a:lnTo>
                <a:lnTo>
                  <a:pt x="5334" y="36575"/>
                </a:lnTo>
                <a:lnTo>
                  <a:pt x="37338" y="36575"/>
                </a:lnTo>
                <a:lnTo>
                  <a:pt x="37338" y="30479"/>
                </a:lnTo>
                <a:lnTo>
                  <a:pt x="38234" y="26669"/>
                </a:lnTo>
                <a:close/>
              </a:path>
              <a:path w="311785" h="264795">
                <a:moveTo>
                  <a:pt x="17526" y="6857"/>
                </a:moveTo>
                <a:lnTo>
                  <a:pt x="12954" y="9905"/>
                </a:lnTo>
                <a:lnTo>
                  <a:pt x="16640" y="9870"/>
                </a:lnTo>
                <a:lnTo>
                  <a:pt x="17526" y="6857"/>
                </a:lnTo>
                <a:close/>
              </a:path>
              <a:path w="311785" h="264795">
                <a:moveTo>
                  <a:pt x="16640" y="9870"/>
                </a:moveTo>
                <a:lnTo>
                  <a:pt x="12954" y="9905"/>
                </a:lnTo>
                <a:lnTo>
                  <a:pt x="12954" y="22402"/>
                </a:lnTo>
                <a:lnTo>
                  <a:pt x="16640" y="9870"/>
                </a:lnTo>
                <a:close/>
              </a:path>
              <a:path w="311785" h="264795">
                <a:moveTo>
                  <a:pt x="17526" y="9861"/>
                </a:moveTo>
                <a:lnTo>
                  <a:pt x="17526" y="6857"/>
                </a:lnTo>
                <a:lnTo>
                  <a:pt x="16640" y="9870"/>
                </a:lnTo>
                <a:lnTo>
                  <a:pt x="17526" y="9861"/>
                </a:lnTo>
                <a:close/>
              </a:path>
              <a:path w="311785" h="264795">
                <a:moveTo>
                  <a:pt x="41910" y="26669"/>
                </a:moveTo>
                <a:lnTo>
                  <a:pt x="38234" y="26669"/>
                </a:lnTo>
                <a:lnTo>
                  <a:pt x="37338" y="30479"/>
                </a:lnTo>
                <a:lnTo>
                  <a:pt x="41910" y="26669"/>
                </a:lnTo>
                <a:close/>
              </a:path>
              <a:path w="311785" h="264795">
                <a:moveTo>
                  <a:pt x="41910" y="36575"/>
                </a:moveTo>
                <a:lnTo>
                  <a:pt x="41910" y="26669"/>
                </a:lnTo>
                <a:lnTo>
                  <a:pt x="37338" y="30479"/>
                </a:lnTo>
                <a:lnTo>
                  <a:pt x="37338" y="36575"/>
                </a:lnTo>
                <a:lnTo>
                  <a:pt x="41910" y="36575"/>
                </a:lnTo>
                <a:close/>
              </a:path>
              <a:path w="311785" h="264795">
                <a:moveTo>
                  <a:pt x="50160" y="17131"/>
                </a:moveTo>
                <a:lnTo>
                  <a:pt x="45022" y="9594"/>
                </a:lnTo>
                <a:lnTo>
                  <a:pt x="42245" y="9621"/>
                </a:lnTo>
                <a:lnTo>
                  <a:pt x="38234" y="26669"/>
                </a:lnTo>
                <a:lnTo>
                  <a:pt x="41910" y="26669"/>
                </a:lnTo>
                <a:lnTo>
                  <a:pt x="41910" y="36575"/>
                </a:lnTo>
                <a:lnTo>
                  <a:pt x="44196" y="36575"/>
                </a:lnTo>
                <a:lnTo>
                  <a:pt x="45720" y="35051"/>
                </a:lnTo>
                <a:lnTo>
                  <a:pt x="46482" y="32765"/>
                </a:lnTo>
                <a:lnTo>
                  <a:pt x="50160" y="17131"/>
                </a:lnTo>
                <a:close/>
              </a:path>
              <a:path w="311785" h="264795">
                <a:moveTo>
                  <a:pt x="56204" y="9486"/>
                </a:moveTo>
                <a:lnTo>
                  <a:pt x="51816" y="3047"/>
                </a:lnTo>
                <a:lnTo>
                  <a:pt x="51054" y="1523"/>
                </a:lnTo>
                <a:lnTo>
                  <a:pt x="48768" y="761"/>
                </a:lnTo>
                <a:lnTo>
                  <a:pt x="47244" y="761"/>
                </a:lnTo>
                <a:lnTo>
                  <a:pt x="44958" y="1523"/>
                </a:lnTo>
                <a:lnTo>
                  <a:pt x="43434" y="3047"/>
                </a:lnTo>
                <a:lnTo>
                  <a:pt x="43434" y="4571"/>
                </a:lnTo>
                <a:lnTo>
                  <a:pt x="42245" y="9621"/>
                </a:lnTo>
                <a:lnTo>
                  <a:pt x="44196" y="9602"/>
                </a:lnTo>
                <a:lnTo>
                  <a:pt x="44196" y="8381"/>
                </a:lnTo>
                <a:lnTo>
                  <a:pt x="52578" y="6857"/>
                </a:lnTo>
                <a:lnTo>
                  <a:pt x="52578" y="9521"/>
                </a:lnTo>
                <a:lnTo>
                  <a:pt x="56204" y="9486"/>
                </a:lnTo>
                <a:close/>
              </a:path>
              <a:path w="311785" h="264795">
                <a:moveTo>
                  <a:pt x="52578" y="6857"/>
                </a:moveTo>
                <a:lnTo>
                  <a:pt x="44196" y="8381"/>
                </a:lnTo>
                <a:lnTo>
                  <a:pt x="44958" y="9499"/>
                </a:lnTo>
                <a:lnTo>
                  <a:pt x="51949" y="9527"/>
                </a:lnTo>
                <a:lnTo>
                  <a:pt x="52578" y="6857"/>
                </a:lnTo>
                <a:close/>
              </a:path>
              <a:path w="311785" h="264795">
                <a:moveTo>
                  <a:pt x="45022" y="9594"/>
                </a:moveTo>
                <a:lnTo>
                  <a:pt x="44196" y="8381"/>
                </a:lnTo>
                <a:lnTo>
                  <a:pt x="44196" y="9602"/>
                </a:lnTo>
                <a:lnTo>
                  <a:pt x="45022" y="9594"/>
                </a:lnTo>
                <a:close/>
              </a:path>
              <a:path w="311785" h="264795">
                <a:moveTo>
                  <a:pt x="51949" y="9527"/>
                </a:moveTo>
                <a:lnTo>
                  <a:pt x="45022" y="9594"/>
                </a:lnTo>
                <a:lnTo>
                  <a:pt x="50160" y="17131"/>
                </a:lnTo>
                <a:lnTo>
                  <a:pt x="51949" y="9527"/>
                </a:lnTo>
                <a:close/>
              </a:path>
              <a:path w="311785" h="264795">
                <a:moveTo>
                  <a:pt x="223199" y="254460"/>
                </a:moveTo>
                <a:lnTo>
                  <a:pt x="56204" y="9486"/>
                </a:lnTo>
                <a:lnTo>
                  <a:pt x="51949" y="9527"/>
                </a:lnTo>
                <a:lnTo>
                  <a:pt x="50160" y="17131"/>
                </a:lnTo>
                <a:lnTo>
                  <a:pt x="217170" y="262127"/>
                </a:lnTo>
                <a:lnTo>
                  <a:pt x="217932" y="263651"/>
                </a:lnTo>
                <a:lnTo>
                  <a:pt x="219456" y="264413"/>
                </a:lnTo>
                <a:lnTo>
                  <a:pt x="220980" y="264413"/>
                </a:lnTo>
                <a:lnTo>
                  <a:pt x="220980" y="254507"/>
                </a:lnTo>
                <a:lnTo>
                  <a:pt x="223199" y="254460"/>
                </a:lnTo>
                <a:close/>
              </a:path>
              <a:path w="311785" h="264795">
                <a:moveTo>
                  <a:pt x="52578" y="9521"/>
                </a:moveTo>
                <a:lnTo>
                  <a:pt x="52578" y="6857"/>
                </a:lnTo>
                <a:lnTo>
                  <a:pt x="51949" y="9527"/>
                </a:lnTo>
                <a:lnTo>
                  <a:pt x="52578" y="9521"/>
                </a:lnTo>
                <a:close/>
              </a:path>
              <a:path w="311785" h="264795">
                <a:moveTo>
                  <a:pt x="91440" y="9143"/>
                </a:moveTo>
                <a:lnTo>
                  <a:pt x="86868" y="7619"/>
                </a:lnTo>
                <a:lnTo>
                  <a:pt x="87942" y="9177"/>
                </a:lnTo>
                <a:lnTo>
                  <a:pt x="91440" y="9143"/>
                </a:lnTo>
                <a:close/>
              </a:path>
              <a:path w="311785" h="264795">
                <a:moveTo>
                  <a:pt x="87942" y="9177"/>
                </a:moveTo>
                <a:lnTo>
                  <a:pt x="86868" y="7619"/>
                </a:lnTo>
                <a:lnTo>
                  <a:pt x="86868" y="9188"/>
                </a:lnTo>
                <a:lnTo>
                  <a:pt x="87942" y="9177"/>
                </a:lnTo>
                <a:close/>
              </a:path>
              <a:path w="311785" h="264795">
                <a:moveTo>
                  <a:pt x="91440" y="14249"/>
                </a:moveTo>
                <a:lnTo>
                  <a:pt x="91440" y="9143"/>
                </a:lnTo>
                <a:lnTo>
                  <a:pt x="87942" y="9177"/>
                </a:lnTo>
                <a:lnTo>
                  <a:pt x="91440" y="14249"/>
                </a:lnTo>
                <a:close/>
              </a:path>
              <a:path w="311785" h="264795">
                <a:moveTo>
                  <a:pt x="224790" y="256793"/>
                </a:moveTo>
                <a:lnTo>
                  <a:pt x="223199" y="254460"/>
                </a:lnTo>
                <a:lnTo>
                  <a:pt x="220980" y="254507"/>
                </a:lnTo>
                <a:lnTo>
                  <a:pt x="224790" y="256793"/>
                </a:lnTo>
                <a:close/>
              </a:path>
              <a:path w="311785" h="264795">
                <a:moveTo>
                  <a:pt x="224790" y="264332"/>
                </a:moveTo>
                <a:lnTo>
                  <a:pt x="224790" y="256793"/>
                </a:lnTo>
                <a:lnTo>
                  <a:pt x="220980" y="254507"/>
                </a:lnTo>
                <a:lnTo>
                  <a:pt x="220980" y="264413"/>
                </a:lnTo>
                <a:lnTo>
                  <a:pt x="224790" y="264332"/>
                </a:lnTo>
                <a:close/>
              </a:path>
              <a:path w="311785" h="264795">
                <a:moveTo>
                  <a:pt x="291846" y="262889"/>
                </a:moveTo>
                <a:lnTo>
                  <a:pt x="291846" y="252983"/>
                </a:lnTo>
                <a:lnTo>
                  <a:pt x="288036" y="256031"/>
                </a:lnTo>
                <a:lnTo>
                  <a:pt x="288036" y="253065"/>
                </a:lnTo>
                <a:lnTo>
                  <a:pt x="223199" y="254460"/>
                </a:lnTo>
                <a:lnTo>
                  <a:pt x="224790" y="256793"/>
                </a:lnTo>
                <a:lnTo>
                  <a:pt x="224790" y="264332"/>
                </a:lnTo>
                <a:lnTo>
                  <a:pt x="288036" y="262971"/>
                </a:lnTo>
                <a:lnTo>
                  <a:pt x="288036" y="256031"/>
                </a:lnTo>
                <a:lnTo>
                  <a:pt x="289383" y="253036"/>
                </a:lnTo>
                <a:lnTo>
                  <a:pt x="289383" y="262942"/>
                </a:lnTo>
                <a:lnTo>
                  <a:pt x="291846" y="262889"/>
                </a:lnTo>
                <a:close/>
              </a:path>
              <a:path w="311785" h="264795">
                <a:moveTo>
                  <a:pt x="262128" y="245363"/>
                </a:moveTo>
                <a:lnTo>
                  <a:pt x="258150" y="239569"/>
                </a:lnTo>
                <a:lnTo>
                  <a:pt x="254508" y="246125"/>
                </a:lnTo>
                <a:lnTo>
                  <a:pt x="262128" y="245363"/>
                </a:lnTo>
                <a:close/>
              </a:path>
              <a:path w="311785" h="264795">
                <a:moveTo>
                  <a:pt x="262128" y="252221"/>
                </a:moveTo>
                <a:lnTo>
                  <a:pt x="262128" y="245363"/>
                </a:lnTo>
                <a:lnTo>
                  <a:pt x="254508" y="246125"/>
                </a:lnTo>
                <a:lnTo>
                  <a:pt x="254508" y="250697"/>
                </a:lnTo>
                <a:lnTo>
                  <a:pt x="255270" y="252221"/>
                </a:lnTo>
                <a:lnTo>
                  <a:pt x="256794" y="252983"/>
                </a:lnTo>
                <a:lnTo>
                  <a:pt x="260604" y="252983"/>
                </a:lnTo>
                <a:lnTo>
                  <a:pt x="262128" y="252221"/>
                </a:lnTo>
                <a:close/>
              </a:path>
              <a:path w="311785" h="264795">
                <a:moveTo>
                  <a:pt x="311658" y="228599"/>
                </a:moveTo>
                <a:lnTo>
                  <a:pt x="311658" y="227075"/>
                </a:lnTo>
                <a:lnTo>
                  <a:pt x="310134" y="225551"/>
                </a:lnTo>
                <a:lnTo>
                  <a:pt x="309372" y="224027"/>
                </a:lnTo>
                <a:lnTo>
                  <a:pt x="307848" y="223265"/>
                </a:lnTo>
                <a:lnTo>
                  <a:pt x="268986" y="223265"/>
                </a:lnTo>
                <a:lnTo>
                  <a:pt x="267462" y="224027"/>
                </a:lnTo>
                <a:lnTo>
                  <a:pt x="265938" y="225551"/>
                </a:lnTo>
                <a:lnTo>
                  <a:pt x="258150" y="239569"/>
                </a:lnTo>
                <a:lnTo>
                  <a:pt x="262128" y="245363"/>
                </a:lnTo>
                <a:lnTo>
                  <a:pt x="262128" y="252221"/>
                </a:lnTo>
                <a:lnTo>
                  <a:pt x="262890" y="250697"/>
                </a:lnTo>
                <a:lnTo>
                  <a:pt x="270510" y="236981"/>
                </a:lnTo>
                <a:lnTo>
                  <a:pt x="270510" y="232409"/>
                </a:lnTo>
                <a:lnTo>
                  <a:pt x="274320" y="230123"/>
                </a:lnTo>
                <a:lnTo>
                  <a:pt x="274320" y="232409"/>
                </a:lnTo>
                <a:lnTo>
                  <a:pt x="298665" y="232409"/>
                </a:lnTo>
                <a:lnTo>
                  <a:pt x="301752" y="225551"/>
                </a:lnTo>
                <a:lnTo>
                  <a:pt x="306324" y="232409"/>
                </a:lnTo>
                <a:lnTo>
                  <a:pt x="306324" y="239508"/>
                </a:lnTo>
                <a:lnTo>
                  <a:pt x="310896" y="230123"/>
                </a:lnTo>
                <a:lnTo>
                  <a:pt x="311658" y="228599"/>
                </a:lnTo>
                <a:close/>
              </a:path>
              <a:path w="311785" h="264795">
                <a:moveTo>
                  <a:pt x="274320" y="230123"/>
                </a:moveTo>
                <a:lnTo>
                  <a:pt x="270510" y="232409"/>
                </a:lnTo>
                <a:lnTo>
                  <a:pt x="273050" y="232409"/>
                </a:lnTo>
                <a:lnTo>
                  <a:pt x="274320" y="230123"/>
                </a:lnTo>
                <a:close/>
              </a:path>
              <a:path w="311785" h="264795">
                <a:moveTo>
                  <a:pt x="273050" y="232409"/>
                </a:moveTo>
                <a:lnTo>
                  <a:pt x="270510" y="232409"/>
                </a:lnTo>
                <a:lnTo>
                  <a:pt x="270510" y="236981"/>
                </a:lnTo>
                <a:lnTo>
                  <a:pt x="273050" y="232409"/>
                </a:lnTo>
                <a:close/>
              </a:path>
              <a:path w="311785" h="264795">
                <a:moveTo>
                  <a:pt x="274320" y="232409"/>
                </a:moveTo>
                <a:lnTo>
                  <a:pt x="274320" y="230123"/>
                </a:lnTo>
                <a:lnTo>
                  <a:pt x="273050" y="232409"/>
                </a:lnTo>
                <a:lnTo>
                  <a:pt x="274320" y="232409"/>
                </a:lnTo>
                <a:close/>
              </a:path>
              <a:path w="311785" h="264795">
                <a:moveTo>
                  <a:pt x="291846" y="252983"/>
                </a:moveTo>
                <a:lnTo>
                  <a:pt x="289383" y="253036"/>
                </a:lnTo>
                <a:lnTo>
                  <a:pt x="288036" y="256031"/>
                </a:lnTo>
                <a:lnTo>
                  <a:pt x="291846" y="252983"/>
                </a:lnTo>
                <a:close/>
              </a:path>
              <a:path w="311785" h="264795">
                <a:moveTo>
                  <a:pt x="306324" y="239508"/>
                </a:moveTo>
                <a:lnTo>
                  <a:pt x="306324" y="232409"/>
                </a:lnTo>
                <a:lnTo>
                  <a:pt x="298665" y="232409"/>
                </a:lnTo>
                <a:lnTo>
                  <a:pt x="289383" y="253036"/>
                </a:lnTo>
                <a:lnTo>
                  <a:pt x="291846" y="252983"/>
                </a:lnTo>
                <a:lnTo>
                  <a:pt x="291846" y="262889"/>
                </a:lnTo>
                <a:lnTo>
                  <a:pt x="294132" y="262889"/>
                </a:lnTo>
                <a:lnTo>
                  <a:pt x="295656" y="261365"/>
                </a:lnTo>
                <a:lnTo>
                  <a:pt x="296418" y="259841"/>
                </a:lnTo>
                <a:lnTo>
                  <a:pt x="306324" y="239508"/>
                </a:lnTo>
                <a:close/>
              </a:path>
              <a:path w="311785" h="264795">
                <a:moveTo>
                  <a:pt x="306324" y="232409"/>
                </a:moveTo>
                <a:lnTo>
                  <a:pt x="301752" y="225551"/>
                </a:lnTo>
                <a:lnTo>
                  <a:pt x="298665" y="232409"/>
                </a:lnTo>
                <a:lnTo>
                  <a:pt x="306324" y="2324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4289074" y="1522329"/>
            <a:ext cx="188346" cy="116995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4253408" y="1519037"/>
            <a:ext cx="228014" cy="122580"/>
          </a:xfrm>
          <a:custGeom>
            <a:avLst/>
            <a:gdLst/>
            <a:ahLst/>
            <a:cxnLst/>
            <a:rect l="l" t="t" r="r" b="b"/>
            <a:pathLst>
              <a:path w="311785" h="264795">
                <a:moveTo>
                  <a:pt x="257922" y="239980"/>
                </a:moveTo>
                <a:lnTo>
                  <a:pt x="95250" y="2285"/>
                </a:lnTo>
                <a:lnTo>
                  <a:pt x="93726" y="761"/>
                </a:lnTo>
                <a:lnTo>
                  <a:pt x="92202" y="0"/>
                </a:lnTo>
                <a:lnTo>
                  <a:pt x="10668" y="761"/>
                </a:lnTo>
                <a:lnTo>
                  <a:pt x="8382" y="2285"/>
                </a:lnTo>
                <a:lnTo>
                  <a:pt x="8382" y="4571"/>
                </a:lnTo>
                <a:lnTo>
                  <a:pt x="762" y="30479"/>
                </a:lnTo>
                <a:lnTo>
                  <a:pt x="0" y="32003"/>
                </a:lnTo>
                <a:lnTo>
                  <a:pt x="0" y="33527"/>
                </a:lnTo>
                <a:lnTo>
                  <a:pt x="2286" y="35813"/>
                </a:lnTo>
                <a:lnTo>
                  <a:pt x="3810" y="36575"/>
                </a:lnTo>
                <a:lnTo>
                  <a:pt x="5334" y="36575"/>
                </a:lnTo>
                <a:lnTo>
                  <a:pt x="5334" y="27431"/>
                </a:lnTo>
                <a:lnTo>
                  <a:pt x="11647" y="27431"/>
                </a:lnTo>
                <a:lnTo>
                  <a:pt x="12954" y="22859"/>
                </a:lnTo>
                <a:lnTo>
                  <a:pt x="12954" y="10667"/>
                </a:lnTo>
                <a:lnTo>
                  <a:pt x="17526" y="6857"/>
                </a:lnTo>
                <a:lnTo>
                  <a:pt x="17526" y="10623"/>
                </a:lnTo>
                <a:lnTo>
                  <a:pt x="42245" y="10383"/>
                </a:lnTo>
                <a:lnTo>
                  <a:pt x="43434" y="5333"/>
                </a:lnTo>
                <a:lnTo>
                  <a:pt x="43434" y="3047"/>
                </a:lnTo>
                <a:lnTo>
                  <a:pt x="44958" y="1523"/>
                </a:lnTo>
                <a:lnTo>
                  <a:pt x="47244" y="1523"/>
                </a:lnTo>
                <a:lnTo>
                  <a:pt x="48768" y="761"/>
                </a:lnTo>
                <a:lnTo>
                  <a:pt x="50292" y="1523"/>
                </a:lnTo>
                <a:lnTo>
                  <a:pt x="51816" y="3047"/>
                </a:lnTo>
                <a:lnTo>
                  <a:pt x="56720" y="10243"/>
                </a:lnTo>
                <a:lnTo>
                  <a:pt x="86868" y="9950"/>
                </a:lnTo>
                <a:lnTo>
                  <a:pt x="86868" y="7619"/>
                </a:lnTo>
                <a:lnTo>
                  <a:pt x="91440" y="9905"/>
                </a:lnTo>
                <a:lnTo>
                  <a:pt x="91440" y="14270"/>
                </a:lnTo>
                <a:lnTo>
                  <a:pt x="254508" y="251459"/>
                </a:lnTo>
                <a:lnTo>
                  <a:pt x="254508" y="246125"/>
                </a:lnTo>
                <a:lnTo>
                  <a:pt x="257922" y="239980"/>
                </a:lnTo>
                <a:close/>
              </a:path>
              <a:path w="311785" h="264795">
                <a:moveTo>
                  <a:pt x="11647" y="27431"/>
                </a:moveTo>
                <a:lnTo>
                  <a:pt x="5334" y="27431"/>
                </a:lnTo>
                <a:lnTo>
                  <a:pt x="9906" y="33527"/>
                </a:lnTo>
                <a:lnTo>
                  <a:pt x="11647" y="27431"/>
                </a:lnTo>
                <a:close/>
              </a:path>
              <a:path w="311785" h="264795">
                <a:moveTo>
                  <a:pt x="38234" y="27431"/>
                </a:moveTo>
                <a:lnTo>
                  <a:pt x="11647" y="27431"/>
                </a:lnTo>
                <a:lnTo>
                  <a:pt x="9906" y="33527"/>
                </a:lnTo>
                <a:lnTo>
                  <a:pt x="5334" y="27431"/>
                </a:lnTo>
                <a:lnTo>
                  <a:pt x="5334" y="36575"/>
                </a:lnTo>
                <a:lnTo>
                  <a:pt x="37338" y="36575"/>
                </a:lnTo>
                <a:lnTo>
                  <a:pt x="37338" y="31241"/>
                </a:lnTo>
                <a:lnTo>
                  <a:pt x="38234" y="27431"/>
                </a:lnTo>
                <a:close/>
              </a:path>
              <a:path w="311785" h="264795">
                <a:moveTo>
                  <a:pt x="17526" y="6857"/>
                </a:moveTo>
                <a:lnTo>
                  <a:pt x="12954" y="10667"/>
                </a:lnTo>
                <a:lnTo>
                  <a:pt x="16447" y="10634"/>
                </a:lnTo>
                <a:lnTo>
                  <a:pt x="17526" y="6857"/>
                </a:lnTo>
                <a:close/>
              </a:path>
              <a:path w="311785" h="264795">
                <a:moveTo>
                  <a:pt x="16447" y="10634"/>
                </a:moveTo>
                <a:lnTo>
                  <a:pt x="12954" y="10667"/>
                </a:lnTo>
                <a:lnTo>
                  <a:pt x="12954" y="22859"/>
                </a:lnTo>
                <a:lnTo>
                  <a:pt x="16447" y="10634"/>
                </a:lnTo>
                <a:close/>
              </a:path>
              <a:path w="311785" h="264795">
                <a:moveTo>
                  <a:pt x="17526" y="10623"/>
                </a:moveTo>
                <a:lnTo>
                  <a:pt x="17526" y="6857"/>
                </a:lnTo>
                <a:lnTo>
                  <a:pt x="16447" y="10634"/>
                </a:lnTo>
                <a:lnTo>
                  <a:pt x="17526" y="10623"/>
                </a:lnTo>
                <a:close/>
              </a:path>
              <a:path w="311785" h="264795">
                <a:moveTo>
                  <a:pt x="41910" y="27431"/>
                </a:moveTo>
                <a:lnTo>
                  <a:pt x="38234" y="27431"/>
                </a:lnTo>
                <a:lnTo>
                  <a:pt x="37338" y="31241"/>
                </a:lnTo>
                <a:lnTo>
                  <a:pt x="41910" y="27431"/>
                </a:lnTo>
                <a:close/>
              </a:path>
              <a:path w="311785" h="264795">
                <a:moveTo>
                  <a:pt x="41910" y="36575"/>
                </a:moveTo>
                <a:lnTo>
                  <a:pt x="41910" y="27431"/>
                </a:lnTo>
                <a:lnTo>
                  <a:pt x="37338" y="31241"/>
                </a:lnTo>
                <a:lnTo>
                  <a:pt x="37338" y="36575"/>
                </a:lnTo>
                <a:lnTo>
                  <a:pt x="41910" y="36575"/>
                </a:lnTo>
                <a:close/>
              </a:path>
              <a:path w="311785" h="264795">
                <a:moveTo>
                  <a:pt x="50086" y="17758"/>
                </a:moveTo>
                <a:lnTo>
                  <a:pt x="45025" y="10356"/>
                </a:lnTo>
                <a:lnTo>
                  <a:pt x="42245" y="10383"/>
                </a:lnTo>
                <a:lnTo>
                  <a:pt x="38234" y="27431"/>
                </a:lnTo>
                <a:lnTo>
                  <a:pt x="41910" y="27431"/>
                </a:lnTo>
                <a:lnTo>
                  <a:pt x="41910" y="36575"/>
                </a:lnTo>
                <a:lnTo>
                  <a:pt x="44196" y="36575"/>
                </a:lnTo>
                <a:lnTo>
                  <a:pt x="45720" y="35051"/>
                </a:lnTo>
                <a:lnTo>
                  <a:pt x="46482" y="33527"/>
                </a:lnTo>
                <a:lnTo>
                  <a:pt x="50086" y="17758"/>
                </a:lnTo>
                <a:close/>
              </a:path>
              <a:path w="311785" h="264795">
                <a:moveTo>
                  <a:pt x="56720" y="10243"/>
                </a:moveTo>
                <a:lnTo>
                  <a:pt x="51793" y="3025"/>
                </a:lnTo>
                <a:lnTo>
                  <a:pt x="50292" y="1523"/>
                </a:lnTo>
                <a:lnTo>
                  <a:pt x="48768" y="761"/>
                </a:lnTo>
                <a:lnTo>
                  <a:pt x="47244" y="1523"/>
                </a:lnTo>
                <a:lnTo>
                  <a:pt x="44958" y="1523"/>
                </a:lnTo>
                <a:lnTo>
                  <a:pt x="43434" y="3047"/>
                </a:lnTo>
                <a:lnTo>
                  <a:pt x="43434" y="5333"/>
                </a:lnTo>
                <a:lnTo>
                  <a:pt x="42245" y="10383"/>
                </a:lnTo>
                <a:lnTo>
                  <a:pt x="44196" y="10364"/>
                </a:lnTo>
                <a:lnTo>
                  <a:pt x="44196" y="9143"/>
                </a:lnTo>
                <a:lnTo>
                  <a:pt x="52578" y="6857"/>
                </a:lnTo>
                <a:lnTo>
                  <a:pt x="52578" y="10283"/>
                </a:lnTo>
                <a:lnTo>
                  <a:pt x="56720" y="10243"/>
                </a:lnTo>
                <a:close/>
              </a:path>
              <a:path w="311785" h="264795">
                <a:moveTo>
                  <a:pt x="52578" y="6857"/>
                </a:moveTo>
                <a:lnTo>
                  <a:pt x="44196" y="9143"/>
                </a:lnTo>
                <a:lnTo>
                  <a:pt x="44958" y="10258"/>
                </a:lnTo>
                <a:lnTo>
                  <a:pt x="51816" y="10191"/>
                </a:lnTo>
                <a:lnTo>
                  <a:pt x="52578" y="6857"/>
                </a:lnTo>
                <a:close/>
              </a:path>
              <a:path w="311785" h="264795">
                <a:moveTo>
                  <a:pt x="45025" y="10356"/>
                </a:moveTo>
                <a:lnTo>
                  <a:pt x="44196" y="9143"/>
                </a:lnTo>
                <a:lnTo>
                  <a:pt x="44196" y="10364"/>
                </a:lnTo>
                <a:lnTo>
                  <a:pt x="45025" y="10356"/>
                </a:lnTo>
                <a:close/>
              </a:path>
              <a:path w="311785" h="264795">
                <a:moveTo>
                  <a:pt x="51793" y="10290"/>
                </a:moveTo>
                <a:lnTo>
                  <a:pt x="45025" y="10356"/>
                </a:lnTo>
                <a:lnTo>
                  <a:pt x="50086" y="17758"/>
                </a:lnTo>
                <a:lnTo>
                  <a:pt x="51793" y="10290"/>
                </a:lnTo>
                <a:close/>
              </a:path>
              <a:path w="311785" h="264795">
                <a:moveTo>
                  <a:pt x="223711" y="255211"/>
                </a:moveTo>
                <a:lnTo>
                  <a:pt x="56720" y="10243"/>
                </a:lnTo>
                <a:lnTo>
                  <a:pt x="51793" y="10290"/>
                </a:lnTo>
                <a:lnTo>
                  <a:pt x="50086" y="17758"/>
                </a:lnTo>
                <a:lnTo>
                  <a:pt x="217170" y="262127"/>
                </a:lnTo>
                <a:lnTo>
                  <a:pt x="217932" y="263651"/>
                </a:lnTo>
                <a:lnTo>
                  <a:pt x="219456" y="264413"/>
                </a:lnTo>
                <a:lnTo>
                  <a:pt x="220980" y="264413"/>
                </a:lnTo>
                <a:lnTo>
                  <a:pt x="220980" y="255269"/>
                </a:lnTo>
                <a:lnTo>
                  <a:pt x="223711" y="255211"/>
                </a:lnTo>
                <a:close/>
              </a:path>
              <a:path w="311785" h="264795">
                <a:moveTo>
                  <a:pt x="52578" y="10283"/>
                </a:moveTo>
                <a:lnTo>
                  <a:pt x="52578" y="6857"/>
                </a:lnTo>
                <a:lnTo>
                  <a:pt x="51793" y="10290"/>
                </a:lnTo>
                <a:lnTo>
                  <a:pt x="52578" y="10283"/>
                </a:lnTo>
                <a:close/>
              </a:path>
              <a:path w="311785" h="264795">
                <a:moveTo>
                  <a:pt x="91440" y="9905"/>
                </a:moveTo>
                <a:lnTo>
                  <a:pt x="86868" y="7619"/>
                </a:lnTo>
                <a:lnTo>
                  <a:pt x="88459" y="9934"/>
                </a:lnTo>
                <a:lnTo>
                  <a:pt x="91440" y="9905"/>
                </a:lnTo>
                <a:close/>
              </a:path>
              <a:path w="311785" h="264795">
                <a:moveTo>
                  <a:pt x="88459" y="9934"/>
                </a:moveTo>
                <a:lnTo>
                  <a:pt x="86868" y="7619"/>
                </a:lnTo>
                <a:lnTo>
                  <a:pt x="86868" y="9950"/>
                </a:lnTo>
                <a:lnTo>
                  <a:pt x="88459" y="9934"/>
                </a:lnTo>
                <a:close/>
              </a:path>
              <a:path w="311785" h="264795">
                <a:moveTo>
                  <a:pt x="91440" y="14270"/>
                </a:moveTo>
                <a:lnTo>
                  <a:pt x="91440" y="9905"/>
                </a:lnTo>
                <a:lnTo>
                  <a:pt x="88459" y="9934"/>
                </a:lnTo>
                <a:lnTo>
                  <a:pt x="91440" y="14270"/>
                </a:lnTo>
                <a:close/>
              </a:path>
              <a:path w="311785" h="264795">
                <a:moveTo>
                  <a:pt x="224790" y="256793"/>
                </a:moveTo>
                <a:lnTo>
                  <a:pt x="223711" y="255211"/>
                </a:lnTo>
                <a:lnTo>
                  <a:pt x="220980" y="255269"/>
                </a:lnTo>
                <a:lnTo>
                  <a:pt x="224790" y="256793"/>
                </a:lnTo>
                <a:close/>
              </a:path>
              <a:path w="311785" h="264795">
                <a:moveTo>
                  <a:pt x="224790" y="264332"/>
                </a:moveTo>
                <a:lnTo>
                  <a:pt x="224790" y="256793"/>
                </a:lnTo>
                <a:lnTo>
                  <a:pt x="220980" y="255269"/>
                </a:lnTo>
                <a:lnTo>
                  <a:pt x="220980" y="264413"/>
                </a:lnTo>
                <a:lnTo>
                  <a:pt x="224790" y="264332"/>
                </a:lnTo>
                <a:close/>
              </a:path>
              <a:path w="311785" h="264795">
                <a:moveTo>
                  <a:pt x="291846" y="262889"/>
                </a:moveTo>
                <a:lnTo>
                  <a:pt x="291846" y="253745"/>
                </a:lnTo>
                <a:lnTo>
                  <a:pt x="287274" y="256031"/>
                </a:lnTo>
                <a:lnTo>
                  <a:pt x="287274" y="253844"/>
                </a:lnTo>
                <a:lnTo>
                  <a:pt x="223711" y="255211"/>
                </a:lnTo>
                <a:lnTo>
                  <a:pt x="224790" y="256793"/>
                </a:lnTo>
                <a:lnTo>
                  <a:pt x="224790" y="264332"/>
                </a:lnTo>
                <a:lnTo>
                  <a:pt x="287274" y="262988"/>
                </a:lnTo>
                <a:lnTo>
                  <a:pt x="287274" y="256031"/>
                </a:lnTo>
                <a:lnTo>
                  <a:pt x="288351" y="253821"/>
                </a:lnTo>
                <a:lnTo>
                  <a:pt x="288351" y="262965"/>
                </a:lnTo>
                <a:lnTo>
                  <a:pt x="291846" y="262889"/>
                </a:lnTo>
                <a:close/>
              </a:path>
              <a:path w="311785" h="264795">
                <a:moveTo>
                  <a:pt x="262128" y="246125"/>
                </a:moveTo>
                <a:lnTo>
                  <a:pt x="257922" y="239980"/>
                </a:lnTo>
                <a:lnTo>
                  <a:pt x="254508" y="246125"/>
                </a:lnTo>
                <a:lnTo>
                  <a:pt x="262128" y="246125"/>
                </a:lnTo>
                <a:close/>
              </a:path>
              <a:path w="311785" h="264795">
                <a:moveTo>
                  <a:pt x="262128" y="251459"/>
                </a:moveTo>
                <a:lnTo>
                  <a:pt x="262128" y="246125"/>
                </a:lnTo>
                <a:lnTo>
                  <a:pt x="254508" y="246125"/>
                </a:lnTo>
                <a:lnTo>
                  <a:pt x="254508" y="251459"/>
                </a:lnTo>
                <a:lnTo>
                  <a:pt x="255270" y="252221"/>
                </a:lnTo>
                <a:lnTo>
                  <a:pt x="256794" y="252983"/>
                </a:lnTo>
                <a:lnTo>
                  <a:pt x="260604" y="252983"/>
                </a:lnTo>
                <a:lnTo>
                  <a:pt x="262128" y="251459"/>
                </a:lnTo>
                <a:close/>
              </a:path>
              <a:path w="311785" h="264795">
                <a:moveTo>
                  <a:pt x="311658" y="228599"/>
                </a:moveTo>
                <a:lnTo>
                  <a:pt x="309372" y="224027"/>
                </a:lnTo>
                <a:lnTo>
                  <a:pt x="307848" y="223265"/>
                </a:lnTo>
                <a:lnTo>
                  <a:pt x="268986" y="223265"/>
                </a:lnTo>
                <a:lnTo>
                  <a:pt x="266700" y="224789"/>
                </a:lnTo>
                <a:lnTo>
                  <a:pt x="265938" y="225551"/>
                </a:lnTo>
                <a:lnTo>
                  <a:pt x="257922" y="239980"/>
                </a:lnTo>
                <a:lnTo>
                  <a:pt x="262128" y="246125"/>
                </a:lnTo>
                <a:lnTo>
                  <a:pt x="262128" y="251459"/>
                </a:lnTo>
                <a:lnTo>
                  <a:pt x="262890" y="250697"/>
                </a:lnTo>
                <a:lnTo>
                  <a:pt x="270510" y="237489"/>
                </a:lnTo>
                <a:lnTo>
                  <a:pt x="270510" y="233171"/>
                </a:lnTo>
                <a:lnTo>
                  <a:pt x="274320" y="230885"/>
                </a:lnTo>
                <a:lnTo>
                  <a:pt x="274320" y="233171"/>
                </a:lnTo>
                <a:lnTo>
                  <a:pt x="298410" y="233171"/>
                </a:lnTo>
                <a:lnTo>
                  <a:pt x="301752" y="226313"/>
                </a:lnTo>
                <a:lnTo>
                  <a:pt x="306324" y="233171"/>
                </a:lnTo>
                <a:lnTo>
                  <a:pt x="306324" y="239749"/>
                </a:lnTo>
                <a:lnTo>
                  <a:pt x="310896" y="230123"/>
                </a:lnTo>
                <a:lnTo>
                  <a:pt x="311658" y="228599"/>
                </a:lnTo>
                <a:close/>
              </a:path>
              <a:path w="311785" h="264795">
                <a:moveTo>
                  <a:pt x="274320" y="230885"/>
                </a:moveTo>
                <a:lnTo>
                  <a:pt x="270510" y="233171"/>
                </a:lnTo>
                <a:lnTo>
                  <a:pt x="273001" y="233171"/>
                </a:lnTo>
                <a:lnTo>
                  <a:pt x="274320" y="230885"/>
                </a:lnTo>
                <a:close/>
              </a:path>
              <a:path w="311785" h="264795">
                <a:moveTo>
                  <a:pt x="273001" y="233171"/>
                </a:moveTo>
                <a:lnTo>
                  <a:pt x="270510" y="233171"/>
                </a:lnTo>
                <a:lnTo>
                  <a:pt x="270510" y="237489"/>
                </a:lnTo>
                <a:lnTo>
                  <a:pt x="273001" y="233171"/>
                </a:lnTo>
                <a:close/>
              </a:path>
              <a:path w="311785" h="264795">
                <a:moveTo>
                  <a:pt x="274320" y="233171"/>
                </a:moveTo>
                <a:lnTo>
                  <a:pt x="274320" y="230885"/>
                </a:lnTo>
                <a:lnTo>
                  <a:pt x="273001" y="233171"/>
                </a:lnTo>
                <a:lnTo>
                  <a:pt x="274320" y="233171"/>
                </a:lnTo>
                <a:close/>
              </a:path>
              <a:path w="311785" h="264795">
                <a:moveTo>
                  <a:pt x="291846" y="253745"/>
                </a:moveTo>
                <a:lnTo>
                  <a:pt x="288351" y="253821"/>
                </a:lnTo>
                <a:lnTo>
                  <a:pt x="287274" y="256031"/>
                </a:lnTo>
                <a:lnTo>
                  <a:pt x="291846" y="253745"/>
                </a:lnTo>
                <a:close/>
              </a:path>
              <a:path w="311785" h="264795">
                <a:moveTo>
                  <a:pt x="306324" y="239749"/>
                </a:moveTo>
                <a:lnTo>
                  <a:pt x="306324" y="233171"/>
                </a:lnTo>
                <a:lnTo>
                  <a:pt x="298410" y="233171"/>
                </a:lnTo>
                <a:lnTo>
                  <a:pt x="288351" y="253821"/>
                </a:lnTo>
                <a:lnTo>
                  <a:pt x="291846" y="253745"/>
                </a:lnTo>
                <a:lnTo>
                  <a:pt x="291846" y="262889"/>
                </a:lnTo>
                <a:lnTo>
                  <a:pt x="294132" y="262889"/>
                </a:lnTo>
                <a:lnTo>
                  <a:pt x="295656" y="262127"/>
                </a:lnTo>
                <a:lnTo>
                  <a:pt x="296418" y="260603"/>
                </a:lnTo>
                <a:lnTo>
                  <a:pt x="306324" y="239749"/>
                </a:lnTo>
                <a:close/>
              </a:path>
              <a:path w="311785" h="264795">
                <a:moveTo>
                  <a:pt x="306324" y="233171"/>
                </a:moveTo>
                <a:lnTo>
                  <a:pt x="301752" y="226313"/>
                </a:lnTo>
                <a:lnTo>
                  <a:pt x="298410" y="233171"/>
                </a:lnTo>
                <a:lnTo>
                  <a:pt x="306324" y="2331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4116323" y="1535733"/>
            <a:ext cx="283637" cy="88775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4112420" y="1533499"/>
            <a:ext cx="291635" cy="93185"/>
          </a:xfrm>
          <a:custGeom>
            <a:avLst/>
            <a:gdLst/>
            <a:ahLst/>
            <a:cxnLst/>
            <a:rect l="l" t="t" r="r" b="b"/>
            <a:pathLst>
              <a:path w="398779" h="201295">
                <a:moveTo>
                  <a:pt x="398526" y="197358"/>
                </a:moveTo>
                <a:lnTo>
                  <a:pt x="397764" y="195072"/>
                </a:lnTo>
                <a:lnTo>
                  <a:pt x="397002" y="194310"/>
                </a:lnTo>
                <a:lnTo>
                  <a:pt x="260604" y="1524"/>
                </a:lnTo>
                <a:lnTo>
                  <a:pt x="259842" y="762"/>
                </a:lnTo>
                <a:lnTo>
                  <a:pt x="258318" y="0"/>
                </a:lnTo>
                <a:lnTo>
                  <a:pt x="3810" y="0"/>
                </a:lnTo>
                <a:lnTo>
                  <a:pt x="2286" y="762"/>
                </a:lnTo>
                <a:lnTo>
                  <a:pt x="762" y="2286"/>
                </a:lnTo>
                <a:lnTo>
                  <a:pt x="0" y="3810"/>
                </a:lnTo>
                <a:lnTo>
                  <a:pt x="762" y="6096"/>
                </a:lnTo>
                <a:lnTo>
                  <a:pt x="1524" y="7620"/>
                </a:lnTo>
                <a:lnTo>
                  <a:pt x="5334" y="13234"/>
                </a:lnTo>
                <a:lnTo>
                  <a:pt x="5334" y="9906"/>
                </a:lnTo>
                <a:lnTo>
                  <a:pt x="9144" y="2286"/>
                </a:lnTo>
                <a:lnTo>
                  <a:pt x="14326" y="9878"/>
                </a:lnTo>
                <a:lnTo>
                  <a:pt x="252984" y="9155"/>
                </a:lnTo>
                <a:lnTo>
                  <a:pt x="252984" y="7620"/>
                </a:lnTo>
                <a:lnTo>
                  <a:pt x="256794" y="9144"/>
                </a:lnTo>
                <a:lnTo>
                  <a:pt x="256794" y="12983"/>
                </a:lnTo>
                <a:lnTo>
                  <a:pt x="383969" y="192024"/>
                </a:lnTo>
                <a:lnTo>
                  <a:pt x="393192" y="192024"/>
                </a:lnTo>
                <a:lnTo>
                  <a:pt x="393192" y="201168"/>
                </a:lnTo>
                <a:lnTo>
                  <a:pt x="394716" y="201168"/>
                </a:lnTo>
                <a:lnTo>
                  <a:pt x="396240" y="200406"/>
                </a:lnTo>
                <a:lnTo>
                  <a:pt x="397764" y="198882"/>
                </a:lnTo>
                <a:lnTo>
                  <a:pt x="398526" y="197358"/>
                </a:lnTo>
                <a:close/>
              </a:path>
              <a:path w="398779" h="201295">
                <a:moveTo>
                  <a:pt x="14326" y="9878"/>
                </a:moveTo>
                <a:lnTo>
                  <a:pt x="9144" y="2286"/>
                </a:lnTo>
                <a:lnTo>
                  <a:pt x="5334" y="9906"/>
                </a:lnTo>
                <a:lnTo>
                  <a:pt x="14326" y="9878"/>
                </a:lnTo>
                <a:close/>
              </a:path>
              <a:path w="398779" h="201295">
                <a:moveTo>
                  <a:pt x="138647" y="192024"/>
                </a:moveTo>
                <a:lnTo>
                  <a:pt x="14326" y="9878"/>
                </a:lnTo>
                <a:lnTo>
                  <a:pt x="5334" y="9906"/>
                </a:lnTo>
                <a:lnTo>
                  <a:pt x="5334" y="13234"/>
                </a:lnTo>
                <a:lnTo>
                  <a:pt x="131826" y="199644"/>
                </a:lnTo>
                <a:lnTo>
                  <a:pt x="132588" y="200406"/>
                </a:lnTo>
                <a:lnTo>
                  <a:pt x="134112" y="201168"/>
                </a:lnTo>
                <a:lnTo>
                  <a:pt x="135636" y="201168"/>
                </a:lnTo>
                <a:lnTo>
                  <a:pt x="135636" y="192024"/>
                </a:lnTo>
                <a:lnTo>
                  <a:pt x="138647" y="192024"/>
                </a:lnTo>
                <a:close/>
              </a:path>
              <a:path w="398779" h="201295">
                <a:moveTo>
                  <a:pt x="140208" y="194310"/>
                </a:moveTo>
                <a:lnTo>
                  <a:pt x="138647" y="192024"/>
                </a:lnTo>
                <a:lnTo>
                  <a:pt x="135636" y="192024"/>
                </a:lnTo>
                <a:lnTo>
                  <a:pt x="140208" y="194310"/>
                </a:lnTo>
                <a:close/>
              </a:path>
              <a:path w="398779" h="201295">
                <a:moveTo>
                  <a:pt x="140208" y="201168"/>
                </a:moveTo>
                <a:lnTo>
                  <a:pt x="140208" y="194310"/>
                </a:lnTo>
                <a:lnTo>
                  <a:pt x="135636" y="192024"/>
                </a:lnTo>
                <a:lnTo>
                  <a:pt x="135636" y="201168"/>
                </a:lnTo>
                <a:lnTo>
                  <a:pt x="140208" y="201168"/>
                </a:lnTo>
                <a:close/>
              </a:path>
              <a:path w="398779" h="201295">
                <a:moveTo>
                  <a:pt x="393192" y="201168"/>
                </a:moveTo>
                <a:lnTo>
                  <a:pt x="393192" y="192024"/>
                </a:lnTo>
                <a:lnTo>
                  <a:pt x="389382" y="199644"/>
                </a:lnTo>
                <a:lnTo>
                  <a:pt x="383969" y="192024"/>
                </a:lnTo>
                <a:lnTo>
                  <a:pt x="138647" y="192024"/>
                </a:lnTo>
                <a:lnTo>
                  <a:pt x="140208" y="194310"/>
                </a:lnTo>
                <a:lnTo>
                  <a:pt x="140208" y="201168"/>
                </a:lnTo>
                <a:lnTo>
                  <a:pt x="393192" y="201168"/>
                </a:lnTo>
                <a:close/>
              </a:path>
              <a:path w="398779" h="201295">
                <a:moveTo>
                  <a:pt x="256794" y="9144"/>
                </a:moveTo>
                <a:lnTo>
                  <a:pt x="252984" y="7620"/>
                </a:lnTo>
                <a:lnTo>
                  <a:pt x="254072" y="9152"/>
                </a:lnTo>
                <a:lnTo>
                  <a:pt x="256794" y="9144"/>
                </a:lnTo>
                <a:close/>
              </a:path>
              <a:path w="398779" h="201295">
                <a:moveTo>
                  <a:pt x="254072" y="9152"/>
                </a:moveTo>
                <a:lnTo>
                  <a:pt x="252984" y="7620"/>
                </a:lnTo>
                <a:lnTo>
                  <a:pt x="252984" y="9155"/>
                </a:lnTo>
                <a:lnTo>
                  <a:pt x="254072" y="9152"/>
                </a:lnTo>
                <a:close/>
              </a:path>
              <a:path w="398779" h="201295">
                <a:moveTo>
                  <a:pt x="256794" y="12983"/>
                </a:moveTo>
                <a:lnTo>
                  <a:pt x="256794" y="9144"/>
                </a:lnTo>
                <a:lnTo>
                  <a:pt x="254072" y="9152"/>
                </a:lnTo>
                <a:lnTo>
                  <a:pt x="256794" y="12983"/>
                </a:lnTo>
                <a:close/>
              </a:path>
              <a:path w="398779" h="201295">
                <a:moveTo>
                  <a:pt x="393192" y="192024"/>
                </a:moveTo>
                <a:lnTo>
                  <a:pt x="383969" y="192024"/>
                </a:lnTo>
                <a:lnTo>
                  <a:pt x="389382" y="199644"/>
                </a:lnTo>
                <a:lnTo>
                  <a:pt x="393192" y="1920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4509749" y="1521623"/>
            <a:ext cx="188355" cy="116995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4474075" y="1518332"/>
            <a:ext cx="228014" cy="122580"/>
          </a:xfrm>
          <a:custGeom>
            <a:avLst/>
            <a:gdLst/>
            <a:ahLst/>
            <a:cxnLst/>
            <a:rect l="l" t="t" r="r" b="b"/>
            <a:pathLst>
              <a:path w="311784" h="264795">
                <a:moveTo>
                  <a:pt x="257993" y="240084"/>
                </a:moveTo>
                <a:lnTo>
                  <a:pt x="95250" y="2285"/>
                </a:lnTo>
                <a:lnTo>
                  <a:pt x="93726" y="761"/>
                </a:lnTo>
                <a:lnTo>
                  <a:pt x="92202" y="0"/>
                </a:lnTo>
                <a:lnTo>
                  <a:pt x="86868" y="37"/>
                </a:lnTo>
                <a:lnTo>
                  <a:pt x="17526" y="717"/>
                </a:lnTo>
                <a:lnTo>
                  <a:pt x="10668" y="761"/>
                </a:lnTo>
                <a:lnTo>
                  <a:pt x="8382" y="2285"/>
                </a:lnTo>
                <a:lnTo>
                  <a:pt x="8382" y="4571"/>
                </a:lnTo>
                <a:lnTo>
                  <a:pt x="762" y="31241"/>
                </a:lnTo>
                <a:lnTo>
                  <a:pt x="0" y="32003"/>
                </a:lnTo>
                <a:lnTo>
                  <a:pt x="0" y="33527"/>
                </a:lnTo>
                <a:lnTo>
                  <a:pt x="1524" y="35051"/>
                </a:lnTo>
                <a:lnTo>
                  <a:pt x="2286" y="36575"/>
                </a:lnTo>
                <a:lnTo>
                  <a:pt x="5334" y="36575"/>
                </a:lnTo>
                <a:lnTo>
                  <a:pt x="5334" y="27431"/>
                </a:lnTo>
                <a:lnTo>
                  <a:pt x="11647" y="27431"/>
                </a:lnTo>
                <a:lnTo>
                  <a:pt x="12954" y="22859"/>
                </a:lnTo>
                <a:lnTo>
                  <a:pt x="12954" y="10667"/>
                </a:lnTo>
                <a:lnTo>
                  <a:pt x="17526" y="6857"/>
                </a:lnTo>
                <a:lnTo>
                  <a:pt x="17526" y="10623"/>
                </a:lnTo>
                <a:lnTo>
                  <a:pt x="42245" y="10383"/>
                </a:lnTo>
                <a:lnTo>
                  <a:pt x="43434" y="5333"/>
                </a:lnTo>
                <a:lnTo>
                  <a:pt x="43434" y="3047"/>
                </a:lnTo>
                <a:lnTo>
                  <a:pt x="44958" y="1523"/>
                </a:lnTo>
                <a:lnTo>
                  <a:pt x="48768" y="1523"/>
                </a:lnTo>
                <a:lnTo>
                  <a:pt x="50292" y="2285"/>
                </a:lnTo>
                <a:lnTo>
                  <a:pt x="51816" y="3809"/>
                </a:lnTo>
                <a:lnTo>
                  <a:pt x="56217" y="10247"/>
                </a:lnTo>
                <a:lnTo>
                  <a:pt x="86868" y="9950"/>
                </a:lnTo>
                <a:lnTo>
                  <a:pt x="86868" y="7619"/>
                </a:lnTo>
                <a:lnTo>
                  <a:pt x="91440" y="9905"/>
                </a:lnTo>
                <a:lnTo>
                  <a:pt x="91440" y="14270"/>
                </a:lnTo>
                <a:lnTo>
                  <a:pt x="254508" y="251459"/>
                </a:lnTo>
                <a:lnTo>
                  <a:pt x="254508" y="246125"/>
                </a:lnTo>
                <a:lnTo>
                  <a:pt x="257993" y="240084"/>
                </a:lnTo>
                <a:close/>
              </a:path>
              <a:path w="311784" h="264795">
                <a:moveTo>
                  <a:pt x="11647" y="27431"/>
                </a:moveTo>
                <a:lnTo>
                  <a:pt x="5334" y="27431"/>
                </a:lnTo>
                <a:lnTo>
                  <a:pt x="9906" y="33527"/>
                </a:lnTo>
                <a:lnTo>
                  <a:pt x="11647" y="27431"/>
                </a:lnTo>
                <a:close/>
              </a:path>
              <a:path w="311784" h="264795">
                <a:moveTo>
                  <a:pt x="38234" y="27431"/>
                </a:moveTo>
                <a:lnTo>
                  <a:pt x="11647" y="27431"/>
                </a:lnTo>
                <a:lnTo>
                  <a:pt x="9906" y="33527"/>
                </a:lnTo>
                <a:lnTo>
                  <a:pt x="5334" y="27431"/>
                </a:lnTo>
                <a:lnTo>
                  <a:pt x="5334" y="36575"/>
                </a:lnTo>
                <a:lnTo>
                  <a:pt x="37338" y="36575"/>
                </a:lnTo>
                <a:lnTo>
                  <a:pt x="37338" y="31241"/>
                </a:lnTo>
                <a:lnTo>
                  <a:pt x="38234" y="27431"/>
                </a:lnTo>
                <a:close/>
              </a:path>
              <a:path w="311784" h="264795">
                <a:moveTo>
                  <a:pt x="17526" y="6857"/>
                </a:moveTo>
                <a:lnTo>
                  <a:pt x="12954" y="10667"/>
                </a:lnTo>
                <a:lnTo>
                  <a:pt x="16447" y="10634"/>
                </a:lnTo>
                <a:lnTo>
                  <a:pt x="17526" y="6857"/>
                </a:lnTo>
                <a:close/>
              </a:path>
              <a:path w="311784" h="264795">
                <a:moveTo>
                  <a:pt x="16447" y="10634"/>
                </a:moveTo>
                <a:lnTo>
                  <a:pt x="12954" y="10667"/>
                </a:lnTo>
                <a:lnTo>
                  <a:pt x="12954" y="22859"/>
                </a:lnTo>
                <a:lnTo>
                  <a:pt x="16447" y="10634"/>
                </a:lnTo>
                <a:close/>
              </a:path>
              <a:path w="311784" h="264795">
                <a:moveTo>
                  <a:pt x="17526" y="10623"/>
                </a:moveTo>
                <a:lnTo>
                  <a:pt x="17526" y="6857"/>
                </a:lnTo>
                <a:lnTo>
                  <a:pt x="16447" y="10634"/>
                </a:lnTo>
                <a:lnTo>
                  <a:pt x="17526" y="10623"/>
                </a:lnTo>
                <a:close/>
              </a:path>
              <a:path w="311784" h="264795">
                <a:moveTo>
                  <a:pt x="41910" y="27431"/>
                </a:moveTo>
                <a:lnTo>
                  <a:pt x="38234" y="27431"/>
                </a:lnTo>
                <a:lnTo>
                  <a:pt x="37338" y="31241"/>
                </a:lnTo>
                <a:lnTo>
                  <a:pt x="41910" y="27431"/>
                </a:lnTo>
                <a:close/>
              </a:path>
              <a:path w="311784" h="264795">
                <a:moveTo>
                  <a:pt x="41910" y="36575"/>
                </a:moveTo>
                <a:lnTo>
                  <a:pt x="41910" y="27431"/>
                </a:lnTo>
                <a:lnTo>
                  <a:pt x="37338" y="31241"/>
                </a:lnTo>
                <a:lnTo>
                  <a:pt x="37338" y="36575"/>
                </a:lnTo>
                <a:lnTo>
                  <a:pt x="41910" y="36575"/>
                </a:lnTo>
                <a:close/>
              </a:path>
              <a:path w="311784" h="264795">
                <a:moveTo>
                  <a:pt x="50081" y="17778"/>
                </a:moveTo>
                <a:lnTo>
                  <a:pt x="45022" y="10356"/>
                </a:lnTo>
                <a:lnTo>
                  <a:pt x="42245" y="10383"/>
                </a:lnTo>
                <a:lnTo>
                  <a:pt x="38234" y="27431"/>
                </a:lnTo>
                <a:lnTo>
                  <a:pt x="41910" y="27431"/>
                </a:lnTo>
                <a:lnTo>
                  <a:pt x="41910" y="36575"/>
                </a:lnTo>
                <a:lnTo>
                  <a:pt x="44196" y="36575"/>
                </a:lnTo>
                <a:lnTo>
                  <a:pt x="45720" y="35051"/>
                </a:lnTo>
                <a:lnTo>
                  <a:pt x="46482" y="33527"/>
                </a:lnTo>
                <a:lnTo>
                  <a:pt x="50081" y="17778"/>
                </a:lnTo>
                <a:close/>
              </a:path>
              <a:path w="311784" h="264795">
                <a:moveTo>
                  <a:pt x="56217" y="10247"/>
                </a:moveTo>
                <a:lnTo>
                  <a:pt x="51793" y="3787"/>
                </a:lnTo>
                <a:lnTo>
                  <a:pt x="50292" y="2285"/>
                </a:lnTo>
                <a:lnTo>
                  <a:pt x="48768" y="1523"/>
                </a:lnTo>
                <a:lnTo>
                  <a:pt x="44958" y="1523"/>
                </a:lnTo>
                <a:lnTo>
                  <a:pt x="43434" y="3047"/>
                </a:lnTo>
                <a:lnTo>
                  <a:pt x="43434" y="5333"/>
                </a:lnTo>
                <a:lnTo>
                  <a:pt x="42245" y="10383"/>
                </a:lnTo>
                <a:lnTo>
                  <a:pt x="44196" y="10364"/>
                </a:lnTo>
                <a:lnTo>
                  <a:pt x="44196" y="9143"/>
                </a:lnTo>
                <a:lnTo>
                  <a:pt x="52578" y="6857"/>
                </a:lnTo>
                <a:lnTo>
                  <a:pt x="52578" y="10283"/>
                </a:lnTo>
                <a:lnTo>
                  <a:pt x="56217" y="10247"/>
                </a:lnTo>
                <a:close/>
              </a:path>
              <a:path w="311784" h="264795">
                <a:moveTo>
                  <a:pt x="52578" y="6857"/>
                </a:moveTo>
                <a:lnTo>
                  <a:pt x="44196" y="9143"/>
                </a:lnTo>
                <a:lnTo>
                  <a:pt x="44958" y="10261"/>
                </a:lnTo>
                <a:lnTo>
                  <a:pt x="51816" y="10191"/>
                </a:lnTo>
                <a:lnTo>
                  <a:pt x="52578" y="6857"/>
                </a:lnTo>
                <a:close/>
              </a:path>
              <a:path w="311784" h="264795">
                <a:moveTo>
                  <a:pt x="45022" y="10356"/>
                </a:moveTo>
                <a:lnTo>
                  <a:pt x="44196" y="9143"/>
                </a:lnTo>
                <a:lnTo>
                  <a:pt x="44196" y="10364"/>
                </a:lnTo>
                <a:lnTo>
                  <a:pt x="45022" y="10356"/>
                </a:lnTo>
                <a:close/>
              </a:path>
              <a:path w="311784" h="264795">
                <a:moveTo>
                  <a:pt x="51793" y="10290"/>
                </a:moveTo>
                <a:lnTo>
                  <a:pt x="45022" y="10356"/>
                </a:lnTo>
                <a:lnTo>
                  <a:pt x="50081" y="17778"/>
                </a:lnTo>
                <a:lnTo>
                  <a:pt x="51793" y="10290"/>
                </a:lnTo>
                <a:close/>
              </a:path>
              <a:path w="311784" h="264795">
                <a:moveTo>
                  <a:pt x="223707" y="255211"/>
                </a:moveTo>
                <a:lnTo>
                  <a:pt x="56217" y="10247"/>
                </a:lnTo>
                <a:lnTo>
                  <a:pt x="51793" y="10290"/>
                </a:lnTo>
                <a:lnTo>
                  <a:pt x="50081" y="17778"/>
                </a:lnTo>
                <a:lnTo>
                  <a:pt x="217170" y="262889"/>
                </a:lnTo>
                <a:lnTo>
                  <a:pt x="217932" y="263651"/>
                </a:lnTo>
                <a:lnTo>
                  <a:pt x="219456" y="264413"/>
                </a:lnTo>
                <a:lnTo>
                  <a:pt x="220980" y="264413"/>
                </a:lnTo>
                <a:lnTo>
                  <a:pt x="220980" y="255269"/>
                </a:lnTo>
                <a:lnTo>
                  <a:pt x="223707" y="255211"/>
                </a:lnTo>
                <a:close/>
              </a:path>
              <a:path w="311784" h="264795">
                <a:moveTo>
                  <a:pt x="52578" y="10283"/>
                </a:moveTo>
                <a:lnTo>
                  <a:pt x="52578" y="6857"/>
                </a:lnTo>
                <a:lnTo>
                  <a:pt x="51793" y="10290"/>
                </a:lnTo>
                <a:lnTo>
                  <a:pt x="52578" y="10283"/>
                </a:lnTo>
                <a:close/>
              </a:path>
              <a:path w="311784" h="264795">
                <a:moveTo>
                  <a:pt x="91440" y="9905"/>
                </a:moveTo>
                <a:lnTo>
                  <a:pt x="86868" y="7619"/>
                </a:lnTo>
                <a:lnTo>
                  <a:pt x="88459" y="9934"/>
                </a:lnTo>
                <a:lnTo>
                  <a:pt x="91440" y="9905"/>
                </a:lnTo>
                <a:close/>
              </a:path>
              <a:path w="311784" h="264795">
                <a:moveTo>
                  <a:pt x="88459" y="9934"/>
                </a:moveTo>
                <a:lnTo>
                  <a:pt x="86868" y="7619"/>
                </a:lnTo>
                <a:lnTo>
                  <a:pt x="86868" y="9950"/>
                </a:lnTo>
                <a:lnTo>
                  <a:pt x="88459" y="9934"/>
                </a:lnTo>
                <a:close/>
              </a:path>
              <a:path w="311784" h="264795">
                <a:moveTo>
                  <a:pt x="91440" y="14270"/>
                </a:moveTo>
                <a:lnTo>
                  <a:pt x="91440" y="9905"/>
                </a:lnTo>
                <a:lnTo>
                  <a:pt x="88459" y="9934"/>
                </a:lnTo>
                <a:lnTo>
                  <a:pt x="91440" y="14270"/>
                </a:lnTo>
                <a:close/>
              </a:path>
              <a:path w="311784" h="264795">
                <a:moveTo>
                  <a:pt x="224790" y="256793"/>
                </a:moveTo>
                <a:lnTo>
                  <a:pt x="223707" y="255211"/>
                </a:lnTo>
                <a:lnTo>
                  <a:pt x="220980" y="255269"/>
                </a:lnTo>
                <a:lnTo>
                  <a:pt x="224790" y="256793"/>
                </a:lnTo>
                <a:close/>
              </a:path>
              <a:path w="311784" h="264795">
                <a:moveTo>
                  <a:pt x="224790" y="264332"/>
                </a:moveTo>
                <a:lnTo>
                  <a:pt x="224790" y="256793"/>
                </a:lnTo>
                <a:lnTo>
                  <a:pt x="220980" y="255269"/>
                </a:lnTo>
                <a:lnTo>
                  <a:pt x="220980" y="264413"/>
                </a:lnTo>
                <a:lnTo>
                  <a:pt x="224790" y="264332"/>
                </a:lnTo>
                <a:close/>
              </a:path>
              <a:path w="311784" h="264795">
                <a:moveTo>
                  <a:pt x="291846" y="262889"/>
                </a:moveTo>
                <a:lnTo>
                  <a:pt x="291846" y="253745"/>
                </a:lnTo>
                <a:lnTo>
                  <a:pt x="287274" y="256031"/>
                </a:lnTo>
                <a:lnTo>
                  <a:pt x="287274" y="253844"/>
                </a:lnTo>
                <a:lnTo>
                  <a:pt x="223707" y="255211"/>
                </a:lnTo>
                <a:lnTo>
                  <a:pt x="224790" y="256793"/>
                </a:lnTo>
                <a:lnTo>
                  <a:pt x="224790" y="264332"/>
                </a:lnTo>
                <a:lnTo>
                  <a:pt x="287274" y="262988"/>
                </a:lnTo>
                <a:lnTo>
                  <a:pt x="287274" y="256031"/>
                </a:lnTo>
                <a:lnTo>
                  <a:pt x="288351" y="253821"/>
                </a:lnTo>
                <a:lnTo>
                  <a:pt x="288351" y="262965"/>
                </a:lnTo>
                <a:lnTo>
                  <a:pt x="291846" y="262889"/>
                </a:lnTo>
                <a:close/>
              </a:path>
              <a:path w="311784" h="264795">
                <a:moveTo>
                  <a:pt x="262128" y="246125"/>
                </a:moveTo>
                <a:lnTo>
                  <a:pt x="257993" y="240084"/>
                </a:lnTo>
                <a:lnTo>
                  <a:pt x="254508" y="246125"/>
                </a:lnTo>
                <a:lnTo>
                  <a:pt x="262128" y="246125"/>
                </a:lnTo>
                <a:close/>
              </a:path>
              <a:path w="311784" h="264795">
                <a:moveTo>
                  <a:pt x="262128" y="251459"/>
                </a:moveTo>
                <a:lnTo>
                  <a:pt x="262128" y="246125"/>
                </a:lnTo>
                <a:lnTo>
                  <a:pt x="254508" y="246125"/>
                </a:lnTo>
                <a:lnTo>
                  <a:pt x="254508" y="251459"/>
                </a:lnTo>
                <a:lnTo>
                  <a:pt x="255270" y="252983"/>
                </a:lnTo>
                <a:lnTo>
                  <a:pt x="256794" y="253745"/>
                </a:lnTo>
                <a:lnTo>
                  <a:pt x="258318" y="253745"/>
                </a:lnTo>
                <a:lnTo>
                  <a:pt x="260604" y="252983"/>
                </a:lnTo>
                <a:lnTo>
                  <a:pt x="262128" y="251459"/>
                </a:lnTo>
                <a:close/>
              </a:path>
              <a:path w="311784" h="264795">
                <a:moveTo>
                  <a:pt x="311658" y="228599"/>
                </a:moveTo>
                <a:lnTo>
                  <a:pt x="310134" y="225551"/>
                </a:lnTo>
                <a:lnTo>
                  <a:pt x="307848" y="223265"/>
                </a:lnTo>
                <a:lnTo>
                  <a:pt x="268986" y="223265"/>
                </a:lnTo>
                <a:lnTo>
                  <a:pt x="266700" y="224789"/>
                </a:lnTo>
                <a:lnTo>
                  <a:pt x="265938" y="226313"/>
                </a:lnTo>
                <a:lnTo>
                  <a:pt x="257993" y="240084"/>
                </a:lnTo>
                <a:lnTo>
                  <a:pt x="262128" y="246125"/>
                </a:lnTo>
                <a:lnTo>
                  <a:pt x="262128" y="251459"/>
                </a:lnTo>
                <a:lnTo>
                  <a:pt x="262890" y="250697"/>
                </a:lnTo>
                <a:lnTo>
                  <a:pt x="270510" y="237489"/>
                </a:lnTo>
                <a:lnTo>
                  <a:pt x="270510" y="233171"/>
                </a:lnTo>
                <a:lnTo>
                  <a:pt x="274320" y="230885"/>
                </a:lnTo>
                <a:lnTo>
                  <a:pt x="274320" y="233171"/>
                </a:lnTo>
                <a:lnTo>
                  <a:pt x="298410" y="233171"/>
                </a:lnTo>
                <a:lnTo>
                  <a:pt x="301752" y="226313"/>
                </a:lnTo>
                <a:lnTo>
                  <a:pt x="306324" y="233171"/>
                </a:lnTo>
                <a:lnTo>
                  <a:pt x="306324" y="239749"/>
                </a:lnTo>
                <a:lnTo>
                  <a:pt x="310896" y="230123"/>
                </a:lnTo>
                <a:lnTo>
                  <a:pt x="311658" y="228599"/>
                </a:lnTo>
                <a:close/>
              </a:path>
              <a:path w="311784" h="264795">
                <a:moveTo>
                  <a:pt x="274320" y="230885"/>
                </a:moveTo>
                <a:lnTo>
                  <a:pt x="270510" y="233171"/>
                </a:lnTo>
                <a:lnTo>
                  <a:pt x="273001" y="233171"/>
                </a:lnTo>
                <a:lnTo>
                  <a:pt x="274320" y="230885"/>
                </a:lnTo>
                <a:close/>
              </a:path>
              <a:path w="311784" h="264795">
                <a:moveTo>
                  <a:pt x="273001" y="233171"/>
                </a:moveTo>
                <a:lnTo>
                  <a:pt x="270510" y="233171"/>
                </a:lnTo>
                <a:lnTo>
                  <a:pt x="270510" y="237489"/>
                </a:lnTo>
                <a:lnTo>
                  <a:pt x="273001" y="233171"/>
                </a:lnTo>
                <a:close/>
              </a:path>
              <a:path w="311784" h="264795">
                <a:moveTo>
                  <a:pt x="274320" y="233171"/>
                </a:moveTo>
                <a:lnTo>
                  <a:pt x="274320" y="230885"/>
                </a:lnTo>
                <a:lnTo>
                  <a:pt x="273001" y="233171"/>
                </a:lnTo>
                <a:lnTo>
                  <a:pt x="274320" y="233171"/>
                </a:lnTo>
                <a:close/>
              </a:path>
              <a:path w="311784" h="264795">
                <a:moveTo>
                  <a:pt x="291846" y="253745"/>
                </a:moveTo>
                <a:lnTo>
                  <a:pt x="288351" y="253821"/>
                </a:lnTo>
                <a:lnTo>
                  <a:pt x="287274" y="256031"/>
                </a:lnTo>
                <a:lnTo>
                  <a:pt x="291846" y="253745"/>
                </a:lnTo>
                <a:close/>
              </a:path>
              <a:path w="311784" h="264795">
                <a:moveTo>
                  <a:pt x="306324" y="239749"/>
                </a:moveTo>
                <a:lnTo>
                  <a:pt x="306324" y="233171"/>
                </a:lnTo>
                <a:lnTo>
                  <a:pt x="298410" y="233171"/>
                </a:lnTo>
                <a:lnTo>
                  <a:pt x="288351" y="253821"/>
                </a:lnTo>
                <a:lnTo>
                  <a:pt x="291846" y="253745"/>
                </a:lnTo>
                <a:lnTo>
                  <a:pt x="291846" y="262889"/>
                </a:lnTo>
                <a:lnTo>
                  <a:pt x="294132" y="262889"/>
                </a:lnTo>
                <a:lnTo>
                  <a:pt x="295656" y="262127"/>
                </a:lnTo>
                <a:lnTo>
                  <a:pt x="296418" y="260603"/>
                </a:lnTo>
                <a:lnTo>
                  <a:pt x="306324" y="239749"/>
                </a:lnTo>
                <a:close/>
              </a:path>
              <a:path w="311784" h="264795">
                <a:moveTo>
                  <a:pt x="306324" y="233171"/>
                </a:moveTo>
                <a:lnTo>
                  <a:pt x="301752" y="226313"/>
                </a:lnTo>
                <a:lnTo>
                  <a:pt x="298410" y="233171"/>
                </a:lnTo>
                <a:lnTo>
                  <a:pt x="306324" y="2331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4336999" y="1535028"/>
            <a:ext cx="283637" cy="88775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4333096" y="1532794"/>
            <a:ext cx="291635" cy="93479"/>
          </a:xfrm>
          <a:custGeom>
            <a:avLst/>
            <a:gdLst/>
            <a:ahLst/>
            <a:cxnLst/>
            <a:rect l="l" t="t" r="r" b="b"/>
            <a:pathLst>
              <a:path w="398779" h="201929">
                <a:moveTo>
                  <a:pt x="398526" y="197357"/>
                </a:moveTo>
                <a:lnTo>
                  <a:pt x="397002" y="194309"/>
                </a:lnTo>
                <a:lnTo>
                  <a:pt x="260604" y="1523"/>
                </a:lnTo>
                <a:lnTo>
                  <a:pt x="259842" y="761"/>
                </a:lnTo>
                <a:lnTo>
                  <a:pt x="258318" y="0"/>
                </a:lnTo>
                <a:lnTo>
                  <a:pt x="3810" y="0"/>
                </a:lnTo>
                <a:lnTo>
                  <a:pt x="2286" y="1523"/>
                </a:lnTo>
                <a:lnTo>
                  <a:pt x="1524" y="3047"/>
                </a:lnTo>
                <a:lnTo>
                  <a:pt x="0" y="4571"/>
                </a:lnTo>
                <a:lnTo>
                  <a:pt x="1524" y="7619"/>
                </a:lnTo>
                <a:lnTo>
                  <a:pt x="5334" y="13234"/>
                </a:lnTo>
                <a:lnTo>
                  <a:pt x="5334" y="9905"/>
                </a:lnTo>
                <a:lnTo>
                  <a:pt x="9144" y="2285"/>
                </a:lnTo>
                <a:lnTo>
                  <a:pt x="14326" y="9878"/>
                </a:lnTo>
                <a:lnTo>
                  <a:pt x="252984" y="9155"/>
                </a:lnTo>
                <a:lnTo>
                  <a:pt x="252984" y="7619"/>
                </a:lnTo>
                <a:lnTo>
                  <a:pt x="256794" y="9143"/>
                </a:lnTo>
                <a:lnTo>
                  <a:pt x="256794" y="12983"/>
                </a:lnTo>
                <a:lnTo>
                  <a:pt x="383969" y="192023"/>
                </a:lnTo>
                <a:lnTo>
                  <a:pt x="393192" y="192023"/>
                </a:lnTo>
                <a:lnTo>
                  <a:pt x="393192" y="201929"/>
                </a:lnTo>
                <a:lnTo>
                  <a:pt x="394716" y="201929"/>
                </a:lnTo>
                <a:lnTo>
                  <a:pt x="397764" y="198881"/>
                </a:lnTo>
                <a:lnTo>
                  <a:pt x="398526" y="197357"/>
                </a:lnTo>
                <a:close/>
              </a:path>
              <a:path w="398779" h="201929">
                <a:moveTo>
                  <a:pt x="14326" y="9878"/>
                </a:moveTo>
                <a:lnTo>
                  <a:pt x="9144" y="2285"/>
                </a:lnTo>
                <a:lnTo>
                  <a:pt x="5334" y="9905"/>
                </a:lnTo>
                <a:lnTo>
                  <a:pt x="14326" y="9878"/>
                </a:lnTo>
                <a:close/>
              </a:path>
              <a:path w="398779" h="201929">
                <a:moveTo>
                  <a:pt x="138647" y="192023"/>
                </a:moveTo>
                <a:lnTo>
                  <a:pt x="14326" y="9878"/>
                </a:lnTo>
                <a:lnTo>
                  <a:pt x="5334" y="9905"/>
                </a:lnTo>
                <a:lnTo>
                  <a:pt x="5334" y="13234"/>
                </a:lnTo>
                <a:lnTo>
                  <a:pt x="131826" y="199643"/>
                </a:lnTo>
                <a:lnTo>
                  <a:pt x="134112" y="201929"/>
                </a:lnTo>
                <a:lnTo>
                  <a:pt x="135636" y="201929"/>
                </a:lnTo>
                <a:lnTo>
                  <a:pt x="135636" y="192023"/>
                </a:lnTo>
                <a:lnTo>
                  <a:pt x="138647" y="192023"/>
                </a:lnTo>
                <a:close/>
              </a:path>
              <a:path w="398779" h="201929">
                <a:moveTo>
                  <a:pt x="140208" y="194309"/>
                </a:moveTo>
                <a:lnTo>
                  <a:pt x="138647" y="192023"/>
                </a:lnTo>
                <a:lnTo>
                  <a:pt x="135636" y="192023"/>
                </a:lnTo>
                <a:lnTo>
                  <a:pt x="140208" y="194309"/>
                </a:lnTo>
                <a:close/>
              </a:path>
              <a:path w="398779" h="201929">
                <a:moveTo>
                  <a:pt x="140208" y="201929"/>
                </a:moveTo>
                <a:lnTo>
                  <a:pt x="140208" y="194309"/>
                </a:lnTo>
                <a:lnTo>
                  <a:pt x="135636" y="192023"/>
                </a:lnTo>
                <a:lnTo>
                  <a:pt x="135636" y="201929"/>
                </a:lnTo>
                <a:lnTo>
                  <a:pt x="140208" y="201929"/>
                </a:lnTo>
                <a:close/>
              </a:path>
              <a:path w="398779" h="201929">
                <a:moveTo>
                  <a:pt x="393192" y="201929"/>
                </a:moveTo>
                <a:lnTo>
                  <a:pt x="393192" y="192023"/>
                </a:lnTo>
                <a:lnTo>
                  <a:pt x="389382" y="199643"/>
                </a:lnTo>
                <a:lnTo>
                  <a:pt x="383969" y="192023"/>
                </a:lnTo>
                <a:lnTo>
                  <a:pt x="138647" y="192023"/>
                </a:lnTo>
                <a:lnTo>
                  <a:pt x="140208" y="194309"/>
                </a:lnTo>
                <a:lnTo>
                  <a:pt x="140208" y="201929"/>
                </a:lnTo>
                <a:lnTo>
                  <a:pt x="393192" y="201929"/>
                </a:lnTo>
                <a:close/>
              </a:path>
              <a:path w="398779" h="201929">
                <a:moveTo>
                  <a:pt x="256794" y="9143"/>
                </a:moveTo>
                <a:lnTo>
                  <a:pt x="252984" y="7619"/>
                </a:lnTo>
                <a:lnTo>
                  <a:pt x="254072" y="9152"/>
                </a:lnTo>
                <a:lnTo>
                  <a:pt x="256794" y="9143"/>
                </a:lnTo>
                <a:close/>
              </a:path>
              <a:path w="398779" h="201929">
                <a:moveTo>
                  <a:pt x="254072" y="9152"/>
                </a:moveTo>
                <a:lnTo>
                  <a:pt x="252984" y="7619"/>
                </a:lnTo>
                <a:lnTo>
                  <a:pt x="252984" y="9155"/>
                </a:lnTo>
                <a:lnTo>
                  <a:pt x="254072" y="9152"/>
                </a:lnTo>
                <a:close/>
              </a:path>
              <a:path w="398779" h="201929">
                <a:moveTo>
                  <a:pt x="256794" y="12983"/>
                </a:moveTo>
                <a:lnTo>
                  <a:pt x="256794" y="9143"/>
                </a:lnTo>
                <a:lnTo>
                  <a:pt x="254072" y="9152"/>
                </a:lnTo>
                <a:lnTo>
                  <a:pt x="256794" y="12983"/>
                </a:lnTo>
                <a:close/>
              </a:path>
              <a:path w="398779" h="201929">
                <a:moveTo>
                  <a:pt x="393192" y="192023"/>
                </a:moveTo>
                <a:lnTo>
                  <a:pt x="383969" y="192023"/>
                </a:lnTo>
                <a:lnTo>
                  <a:pt x="389382" y="199643"/>
                </a:lnTo>
                <a:lnTo>
                  <a:pt x="393192" y="19202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4696990" y="1520330"/>
            <a:ext cx="219561" cy="117583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4692532" y="1517626"/>
            <a:ext cx="228014" cy="122580"/>
          </a:xfrm>
          <a:custGeom>
            <a:avLst/>
            <a:gdLst/>
            <a:ahLst/>
            <a:cxnLst/>
            <a:rect l="l" t="t" r="r" b="b"/>
            <a:pathLst>
              <a:path w="311784" h="264795">
                <a:moveTo>
                  <a:pt x="258150" y="239569"/>
                </a:moveTo>
                <a:lnTo>
                  <a:pt x="95249" y="2285"/>
                </a:lnTo>
                <a:lnTo>
                  <a:pt x="94487" y="761"/>
                </a:lnTo>
                <a:lnTo>
                  <a:pt x="92963" y="0"/>
                </a:lnTo>
                <a:lnTo>
                  <a:pt x="17525" y="717"/>
                </a:lnTo>
                <a:lnTo>
                  <a:pt x="10667" y="761"/>
                </a:lnTo>
                <a:lnTo>
                  <a:pt x="8381" y="2285"/>
                </a:lnTo>
                <a:lnTo>
                  <a:pt x="8381" y="4571"/>
                </a:lnTo>
                <a:lnTo>
                  <a:pt x="761" y="30479"/>
                </a:lnTo>
                <a:lnTo>
                  <a:pt x="0" y="32003"/>
                </a:lnTo>
                <a:lnTo>
                  <a:pt x="0" y="33527"/>
                </a:lnTo>
                <a:lnTo>
                  <a:pt x="2285" y="35813"/>
                </a:lnTo>
                <a:lnTo>
                  <a:pt x="3809" y="36575"/>
                </a:lnTo>
                <a:lnTo>
                  <a:pt x="5333" y="36575"/>
                </a:lnTo>
                <a:lnTo>
                  <a:pt x="5333" y="27431"/>
                </a:lnTo>
                <a:lnTo>
                  <a:pt x="11647" y="27431"/>
                </a:lnTo>
                <a:lnTo>
                  <a:pt x="12953" y="22859"/>
                </a:lnTo>
                <a:lnTo>
                  <a:pt x="12953" y="10667"/>
                </a:lnTo>
                <a:lnTo>
                  <a:pt x="17525" y="6857"/>
                </a:lnTo>
                <a:lnTo>
                  <a:pt x="17525" y="10623"/>
                </a:lnTo>
                <a:lnTo>
                  <a:pt x="42066" y="10385"/>
                </a:lnTo>
                <a:lnTo>
                  <a:pt x="43433" y="4571"/>
                </a:lnTo>
                <a:lnTo>
                  <a:pt x="43433" y="3047"/>
                </a:lnTo>
                <a:lnTo>
                  <a:pt x="44957" y="1523"/>
                </a:lnTo>
                <a:lnTo>
                  <a:pt x="47243" y="1523"/>
                </a:lnTo>
                <a:lnTo>
                  <a:pt x="48767" y="761"/>
                </a:lnTo>
                <a:lnTo>
                  <a:pt x="51053" y="1523"/>
                </a:lnTo>
                <a:lnTo>
                  <a:pt x="51815" y="3047"/>
                </a:lnTo>
                <a:lnTo>
                  <a:pt x="56720" y="10243"/>
                </a:lnTo>
                <a:lnTo>
                  <a:pt x="86867" y="9950"/>
                </a:lnTo>
                <a:lnTo>
                  <a:pt x="86867" y="7619"/>
                </a:lnTo>
                <a:lnTo>
                  <a:pt x="91439" y="9905"/>
                </a:lnTo>
                <a:lnTo>
                  <a:pt x="91439" y="14249"/>
                </a:lnTo>
                <a:lnTo>
                  <a:pt x="254507" y="250697"/>
                </a:lnTo>
                <a:lnTo>
                  <a:pt x="254507" y="246125"/>
                </a:lnTo>
                <a:lnTo>
                  <a:pt x="258150" y="239569"/>
                </a:lnTo>
                <a:close/>
              </a:path>
              <a:path w="311784" h="264795">
                <a:moveTo>
                  <a:pt x="11647" y="27431"/>
                </a:moveTo>
                <a:lnTo>
                  <a:pt x="5333" y="27431"/>
                </a:lnTo>
                <a:lnTo>
                  <a:pt x="9905" y="33527"/>
                </a:lnTo>
                <a:lnTo>
                  <a:pt x="11647" y="27431"/>
                </a:lnTo>
                <a:close/>
              </a:path>
              <a:path w="311784" h="264795">
                <a:moveTo>
                  <a:pt x="38055" y="27431"/>
                </a:moveTo>
                <a:lnTo>
                  <a:pt x="11647" y="27431"/>
                </a:lnTo>
                <a:lnTo>
                  <a:pt x="9905" y="33527"/>
                </a:lnTo>
                <a:lnTo>
                  <a:pt x="5333" y="27431"/>
                </a:lnTo>
                <a:lnTo>
                  <a:pt x="5333" y="36575"/>
                </a:lnTo>
                <a:lnTo>
                  <a:pt x="37337" y="36575"/>
                </a:lnTo>
                <a:lnTo>
                  <a:pt x="37337" y="30479"/>
                </a:lnTo>
                <a:lnTo>
                  <a:pt x="38055" y="27431"/>
                </a:lnTo>
                <a:close/>
              </a:path>
              <a:path w="311784" h="264795">
                <a:moveTo>
                  <a:pt x="17525" y="6857"/>
                </a:moveTo>
                <a:lnTo>
                  <a:pt x="12953" y="10667"/>
                </a:lnTo>
                <a:lnTo>
                  <a:pt x="16447" y="10634"/>
                </a:lnTo>
                <a:lnTo>
                  <a:pt x="17525" y="6857"/>
                </a:lnTo>
                <a:close/>
              </a:path>
              <a:path w="311784" h="264795">
                <a:moveTo>
                  <a:pt x="16447" y="10634"/>
                </a:moveTo>
                <a:lnTo>
                  <a:pt x="12953" y="10667"/>
                </a:lnTo>
                <a:lnTo>
                  <a:pt x="12953" y="22859"/>
                </a:lnTo>
                <a:lnTo>
                  <a:pt x="16447" y="10634"/>
                </a:lnTo>
                <a:close/>
              </a:path>
              <a:path w="311784" h="264795">
                <a:moveTo>
                  <a:pt x="17525" y="10623"/>
                </a:moveTo>
                <a:lnTo>
                  <a:pt x="17525" y="6857"/>
                </a:lnTo>
                <a:lnTo>
                  <a:pt x="16447" y="10634"/>
                </a:lnTo>
                <a:lnTo>
                  <a:pt x="17525" y="10623"/>
                </a:lnTo>
                <a:close/>
              </a:path>
              <a:path w="311784" h="264795">
                <a:moveTo>
                  <a:pt x="41909" y="27431"/>
                </a:moveTo>
                <a:lnTo>
                  <a:pt x="38055" y="27431"/>
                </a:lnTo>
                <a:lnTo>
                  <a:pt x="37337" y="30479"/>
                </a:lnTo>
                <a:lnTo>
                  <a:pt x="41909" y="27431"/>
                </a:lnTo>
                <a:close/>
              </a:path>
              <a:path w="311784" h="264795">
                <a:moveTo>
                  <a:pt x="41909" y="36575"/>
                </a:moveTo>
                <a:lnTo>
                  <a:pt x="41909" y="27431"/>
                </a:lnTo>
                <a:lnTo>
                  <a:pt x="37337" y="30479"/>
                </a:lnTo>
                <a:lnTo>
                  <a:pt x="37337" y="36575"/>
                </a:lnTo>
                <a:lnTo>
                  <a:pt x="41909" y="36575"/>
                </a:lnTo>
                <a:close/>
              </a:path>
              <a:path w="311784" h="264795">
                <a:moveTo>
                  <a:pt x="50160" y="17131"/>
                </a:moveTo>
                <a:lnTo>
                  <a:pt x="45538" y="10351"/>
                </a:lnTo>
                <a:lnTo>
                  <a:pt x="42066" y="10385"/>
                </a:lnTo>
                <a:lnTo>
                  <a:pt x="38055" y="27431"/>
                </a:lnTo>
                <a:lnTo>
                  <a:pt x="41909" y="27431"/>
                </a:lnTo>
                <a:lnTo>
                  <a:pt x="41909" y="36575"/>
                </a:lnTo>
                <a:lnTo>
                  <a:pt x="44195" y="36575"/>
                </a:lnTo>
                <a:lnTo>
                  <a:pt x="46481" y="35051"/>
                </a:lnTo>
                <a:lnTo>
                  <a:pt x="46481" y="32765"/>
                </a:lnTo>
                <a:lnTo>
                  <a:pt x="50160" y="17131"/>
                </a:lnTo>
                <a:close/>
              </a:path>
              <a:path w="311784" h="264795">
                <a:moveTo>
                  <a:pt x="56720" y="10243"/>
                </a:moveTo>
                <a:lnTo>
                  <a:pt x="51815" y="3047"/>
                </a:lnTo>
                <a:lnTo>
                  <a:pt x="51053" y="1523"/>
                </a:lnTo>
                <a:lnTo>
                  <a:pt x="48767" y="761"/>
                </a:lnTo>
                <a:lnTo>
                  <a:pt x="47243" y="1523"/>
                </a:lnTo>
                <a:lnTo>
                  <a:pt x="44957" y="1523"/>
                </a:lnTo>
                <a:lnTo>
                  <a:pt x="43433" y="3047"/>
                </a:lnTo>
                <a:lnTo>
                  <a:pt x="43433" y="4571"/>
                </a:lnTo>
                <a:lnTo>
                  <a:pt x="42066" y="10385"/>
                </a:lnTo>
                <a:lnTo>
                  <a:pt x="44195" y="10364"/>
                </a:lnTo>
                <a:lnTo>
                  <a:pt x="44195" y="8381"/>
                </a:lnTo>
                <a:lnTo>
                  <a:pt x="52577" y="6857"/>
                </a:lnTo>
                <a:lnTo>
                  <a:pt x="52577" y="10283"/>
                </a:lnTo>
                <a:lnTo>
                  <a:pt x="56720" y="10243"/>
                </a:lnTo>
                <a:close/>
              </a:path>
              <a:path w="311784" h="264795">
                <a:moveTo>
                  <a:pt x="52577" y="6857"/>
                </a:moveTo>
                <a:lnTo>
                  <a:pt x="44195" y="8381"/>
                </a:lnTo>
                <a:lnTo>
                  <a:pt x="45538" y="10351"/>
                </a:lnTo>
                <a:lnTo>
                  <a:pt x="51770" y="10291"/>
                </a:lnTo>
                <a:lnTo>
                  <a:pt x="52577" y="6857"/>
                </a:lnTo>
                <a:close/>
              </a:path>
              <a:path w="311784" h="264795">
                <a:moveTo>
                  <a:pt x="45538" y="10351"/>
                </a:moveTo>
                <a:lnTo>
                  <a:pt x="44195" y="8381"/>
                </a:lnTo>
                <a:lnTo>
                  <a:pt x="44195" y="10364"/>
                </a:lnTo>
                <a:lnTo>
                  <a:pt x="45538" y="10351"/>
                </a:lnTo>
                <a:close/>
              </a:path>
              <a:path w="311784" h="264795">
                <a:moveTo>
                  <a:pt x="51770" y="10291"/>
                </a:moveTo>
                <a:lnTo>
                  <a:pt x="45538" y="10351"/>
                </a:lnTo>
                <a:lnTo>
                  <a:pt x="50160" y="17131"/>
                </a:lnTo>
                <a:lnTo>
                  <a:pt x="51770" y="10291"/>
                </a:lnTo>
                <a:close/>
              </a:path>
              <a:path w="311784" h="264795">
                <a:moveTo>
                  <a:pt x="223199" y="254460"/>
                </a:moveTo>
                <a:lnTo>
                  <a:pt x="56720" y="10243"/>
                </a:lnTo>
                <a:lnTo>
                  <a:pt x="51770" y="10291"/>
                </a:lnTo>
                <a:lnTo>
                  <a:pt x="50160" y="17131"/>
                </a:lnTo>
                <a:lnTo>
                  <a:pt x="217169" y="262127"/>
                </a:lnTo>
                <a:lnTo>
                  <a:pt x="217931" y="263651"/>
                </a:lnTo>
                <a:lnTo>
                  <a:pt x="219455" y="264413"/>
                </a:lnTo>
                <a:lnTo>
                  <a:pt x="220979" y="264413"/>
                </a:lnTo>
                <a:lnTo>
                  <a:pt x="220979" y="254507"/>
                </a:lnTo>
                <a:lnTo>
                  <a:pt x="223199" y="254460"/>
                </a:lnTo>
                <a:close/>
              </a:path>
              <a:path w="311784" h="264795">
                <a:moveTo>
                  <a:pt x="52577" y="10283"/>
                </a:moveTo>
                <a:lnTo>
                  <a:pt x="52577" y="6857"/>
                </a:lnTo>
                <a:lnTo>
                  <a:pt x="51770" y="10291"/>
                </a:lnTo>
                <a:lnTo>
                  <a:pt x="52577" y="10283"/>
                </a:lnTo>
                <a:close/>
              </a:path>
              <a:path w="311784" h="264795">
                <a:moveTo>
                  <a:pt x="91439" y="9905"/>
                </a:moveTo>
                <a:lnTo>
                  <a:pt x="86867" y="7619"/>
                </a:lnTo>
                <a:lnTo>
                  <a:pt x="88464" y="9934"/>
                </a:lnTo>
                <a:lnTo>
                  <a:pt x="91439" y="9905"/>
                </a:lnTo>
                <a:close/>
              </a:path>
              <a:path w="311784" h="264795">
                <a:moveTo>
                  <a:pt x="88464" y="9934"/>
                </a:moveTo>
                <a:lnTo>
                  <a:pt x="86867" y="7619"/>
                </a:lnTo>
                <a:lnTo>
                  <a:pt x="86867" y="9950"/>
                </a:lnTo>
                <a:lnTo>
                  <a:pt x="88464" y="9934"/>
                </a:lnTo>
                <a:close/>
              </a:path>
              <a:path w="311784" h="264795">
                <a:moveTo>
                  <a:pt x="91439" y="14249"/>
                </a:moveTo>
                <a:lnTo>
                  <a:pt x="91439" y="9905"/>
                </a:lnTo>
                <a:lnTo>
                  <a:pt x="88464" y="9934"/>
                </a:lnTo>
                <a:lnTo>
                  <a:pt x="91439" y="14249"/>
                </a:lnTo>
                <a:close/>
              </a:path>
              <a:path w="311784" h="264795">
                <a:moveTo>
                  <a:pt x="224789" y="256793"/>
                </a:moveTo>
                <a:lnTo>
                  <a:pt x="223199" y="254460"/>
                </a:lnTo>
                <a:lnTo>
                  <a:pt x="220979" y="254507"/>
                </a:lnTo>
                <a:lnTo>
                  <a:pt x="224789" y="256793"/>
                </a:lnTo>
                <a:close/>
              </a:path>
              <a:path w="311784" h="264795">
                <a:moveTo>
                  <a:pt x="224789" y="264332"/>
                </a:moveTo>
                <a:lnTo>
                  <a:pt x="224789" y="256793"/>
                </a:lnTo>
                <a:lnTo>
                  <a:pt x="220979" y="254507"/>
                </a:lnTo>
                <a:lnTo>
                  <a:pt x="220979" y="264413"/>
                </a:lnTo>
                <a:lnTo>
                  <a:pt x="224789" y="264332"/>
                </a:lnTo>
                <a:close/>
              </a:path>
              <a:path w="311784" h="264795">
                <a:moveTo>
                  <a:pt x="291845" y="262889"/>
                </a:moveTo>
                <a:lnTo>
                  <a:pt x="291845" y="252983"/>
                </a:lnTo>
                <a:lnTo>
                  <a:pt x="288035" y="256031"/>
                </a:lnTo>
                <a:lnTo>
                  <a:pt x="288035" y="253065"/>
                </a:lnTo>
                <a:lnTo>
                  <a:pt x="223199" y="254460"/>
                </a:lnTo>
                <a:lnTo>
                  <a:pt x="224789" y="256793"/>
                </a:lnTo>
                <a:lnTo>
                  <a:pt x="224789" y="264332"/>
                </a:lnTo>
                <a:lnTo>
                  <a:pt x="288035" y="262971"/>
                </a:lnTo>
                <a:lnTo>
                  <a:pt x="288035" y="256031"/>
                </a:lnTo>
                <a:lnTo>
                  <a:pt x="289418" y="253036"/>
                </a:lnTo>
                <a:lnTo>
                  <a:pt x="289418" y="262942"/>
                </a:lnTo>
                <a:lnTo>
                  <a:pt x="291845" y="262889"/>
                </a:lnTo>
                <a:close/>
              </a:path>
              <a:path w="311784" h="264795">
                <a:moveTo>
                  <a:pt x="262127" y="245363"/>
                </a:moveTo>
                <a:lnTo>
                  <a:pt x="258150" y="239569"/>
                </a:lnTo>
                <a:lnTo>
                  <a:pt x="254507" y="246125"/>
                </a:lnTo>
                <a:lnTo>
                  <a:pt x="262127" y="245363"/>
                </a:lnTo>
                <a:close/>
              </a:path>
              <a:path w="311784" h="264795">
                <a:moveTo>
                  <a:pt x="262127" y="252221"/>
                </a:moveTo>
                <a:lnTo>
                  <a:pt x="262127" y="245363"/>
                </a:lnTo>
                <a:lnTo>
                  <a:pt x="254507" y="246125"/>
                </a:lnTo>
                <a:lnTo>
                  <a:pt x="254507" y="250697"/>
                </a:lnTo>
                <a:lnTo>
                  <a:pt x="255269" y="252221"/>
                </a:lnTo>
                <a:lnTo>
                  <a:pt x="256793" y="252983"/>
                </a:lnTo>
                <a:lnTo>
                  <a:pt x="260603" y="252983"/>
                </a:lnTo>
                <a:lnTo>
                  <a:pt x="262127" y="252221"/>
                </a:lnTo>
                <a:close/>
              </a:path>
              <a:path w="311784" h="264795">
                <a:moveTo>
                  <a:pt x="311657" y="228599"/>
                </a:moveTo>
                <a:lnTo>
                  <a:pt x="311657" y="227075"/>
                </a:lnTo>
                <a:lnTo>
                  <a:pt x="310133" y="225551"/>
                </a:lnTo>
                <a:lnTo>
                  <a:pt x="309371" y="224027"/>
                </a:lnTo>
                <a:lnTo>
                  <a:pt x="307847" y="223265"/>
                </a:lnTo>
                <a:lnTo>
                  <a:pt x="268985" y="223265"/>
                </a:lnTo>
                <a:lnTo>
                  <a:pt x="267461" y="224027"/>
                </a:lnTo>
                <a:lnTo>
                  <a:pt x="265937" y="225551"/>
                </a:lnTo>
                <a:lnTo>
                  <a:pt x="258150" y="239569"/>
                </a:lnTo>
                <a:lnTo>
                  <a:pt x="262127" y="245363"/>
                </a:lnTo>
                <a:lnTo>
                  <a:pt x="262127" y="252221"/>
                </a:lnTo>
                <a:lnTo>
                  <a:pt x="262889" y="250697"/>
                </a:lnTo>
                <a:lnTo>
                  <a:pt x="270509" y="237489"/>
                </a:lnTo>
                <a:lnTo>
                  <a:pt x="270509" y="233171"/>
                </a:lnTo>
                <a:lnTo>
                  <a:pt x="274319" y="230885"/>
                </a:lnTo>
                <a:lnTo>
                  <a:pt x="274319" y="233171"/>
                </a:lnTo>
                <a:lnTo>
                  <a:pt x="298586" y="233171"/>
                </a:lnTo>
                <a:lnTo>
                  <a:pt x="301751" y="226313"/>
                </a:lnTo>
                <a:lnTo>
                  <a:pt x="306323" y="233171"/>
                </a:lnTo>
                <a:lnTo>
                  <a:pt x="306323" y="239508"/>
                </a:lnTo>
                <a:lnTo>
                  <a:pt x="310895" y="230123"/>
                </a:lnTo>
                <a:lnTo>
                  <a:pt x="311657" y="228599"/>
                </a:lnTo>
                <a:close/>
              </a:path>
              <a:path w="311784" h="264795">
                <a:moveTo>
                  <a:pt x="274319" y="230885"/>
                </a:moveTo>
                <a:lnTo>
                  <a:pt x="270509" y="233171"/>
                </a:lnTo>
                <a:lnTo>
                  <a:pt x="273001" y="233171"/>
                </a:lnTo>
                <a:lnTo>
                  <a:pt x="274319" y="230885"/>
                </a:lnTo>
                <a:close/>
              </a:path>
              <a:path w="311784" h="264795">
                <a:moveTo>
                  <a:pt x="273001" y="233171"/>
                </a:moveTo>
                <a:lnTo>
                  <a:pt x="270509" y="233171"/>
                </a:lnTo>
                <a:lnTo>
                  <a:pt x="270509" y="237489"/>
                </a:lnTo>
                <a:lnTo>
                  <a:pt x="273001" y="233171"/>
                </a:lnTo>
                <a:close/>
              </a:path>
              <a:path w="311784" h="264795">
                <a:moveTo>
                  <a:pt x="274319" y="233171"/>
                </a:moveTo>
                <a:lnTo>
                  <a:pt x="274319" y="230885"/>
                </a:lnTo>
                <a:lnTo>
                  <a:pt x="273001" y="233171"/>
                </a:lnTo>
                <a:lnTo>
                  <a:pt x="274319" y="233171"/>
                </a:lnTo>
                <a:close/>
              </a:path>
              <a:path w="311784" h="264795">
                <a:moveTo>
                  <a:pt x="291845" y="252983"/>
                </a:moveTo>
                <a:lnTo>
                  <a:pt x="289418" y="253036"/>
                </a:lnTo>
                <a:lnTo>
                  <a:pt x="288035" y="256031"/>
                </a:lnTo>
                <a:lnTo>
                  <a:pt x="291845" y="252983"/>
                </a:lnTo>
                <a:close/>
              </a:path>
              <a:path w="311784" h="264795">
                <a:moveTo>
                  <a:pt x="306323" y="239508"/>
                </a:moveTo>
                <a:lnTo>
                  <a:pt x="306323" y="233171"/>
                </a:lnTo>
                <a:lnTo>
                  <a:pt x="298586" y="233171"/>
                </a:lnTo>
                <a:lnTo>
                  <a:pt x="289418" y="253036"/>
                </a:lnTo>
                <a:lnTo>
                  <a:pt x="291845" y="252983"/>
                </a:lnTo>
                <a:lnTo>
                  <a:pt x="291845" y="262889"/>
                </a:lnTo>
                <a:lnTo>
                  <a:pt x="294131" y="262889"/>
                </a:lnTo>
                <a:lnTo>
                  <a:pt x="295655" y="262127"/>
                </a:lnTo>
                <a:lnTo>
                  <a:pt x="296417" y="259841"/>
                </a:lnTo>
                <a:lnTo>
                  <a:pt x="306323" y="239508"/>
                </a:lnTo>
                <a:close/>
              </a:path>
              <a:path w="311784" h="264795">
                <a:moveTo>
                  <a:pt x="306323" y="233171"/>
                </a:moveTo>
                <a:lnTo>
                  <a:pt x="301751" y="226313"/>
                </a:lnTo>
                <a:lnTo>
                  <a:pt x="298586" y="233171"/>
                </a:lnTo>
                <a:lnTo>
                  <a:pt x="306323" y="2331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4555446" y="1534322"/>
            <a:ext cx="283637" cy="88775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4552102" y="1531735"/>
            <a:ext cx="291170" cy="93479"/>
          </a:xfrm>
          <a:custGeom>
            <a:avLst/>
            <a:gdLst/>
            <a:ahLst/>
            <a:cxnLst/>
            <a:rect l="l" t="t" r="r" b="b"/>
            <a:pathLst>
              <a:path w="398145" h="201929">
                <a:moveTo>
                  <a:pt x="397764" y="198120"/>
                </a:moveTo>
                <a:lnTo>
                  <a:pt x="397764" y="195834"/>
                </a:lnTo>
                <a:lnTo>
                  <a:pt x="396240" y="194310"/>
                </a:lnTo>
                <a:lnTo>
                  <a:pt x="259842" y="2286"/>
                </a:lnTo>
                <a:lnTo>
                  <a:pt x="259080" y="762"/>
                </a:lnTo>
                <a:lnTo>
                  <a:pt x="257556" y="0"/>
                </a:lnTo>
                <a:lnTo>
                  <a:pt x="3048" y="762"/>
                </a:lnTo>
                <a:lnTo>
                  <a:pt x="1524" y="1524"/>
                </a:lnTo>
                <a:lnTo>
                  <a:pt x="0" y="4572"/>
                </a:lnTo>
                <a:lnTo>
                  <a:pt x="0" y="6858"/>
                </a:lnTo>
                <a:lnTo>
                  <a:pt x="762" y="8382"/>
                </a:lnTo>
                <a:lnTo>
                  <a:pt x="4572" y="13974"/>
                </a:lnTo>
                <a:lnTo>
                  <a:pt x="4572" y="9906"/>
                </a:lnTo>
                <a:lnTo>
                  <a:pt x="8382" y="3048"/>
                </a:lnTo>
                <a:lnTo>
                  <a:pt x="13081" y="9906"/>
                </a:lnTo>
                <a:lnTo>
                  <a:pt x="252222" y="9906"/>
                </a:lnTo>
                <a:lnTo>
                  <a:pt x="252222" y="7620"/>
                </a:lnTo>
                <a:lnTo>
                  <a:pt x="256032" y="9906"/>
                </a:lnTo>
                <a:lnTo>
                  <a:pt x="256032" y="12983"/>
                </a:lnTo>
                <a:lnTo>
                  <a:pt x="383748" y="192786"/>
                </a:lnTo>
                <a:lnTo>
                  <a:pt x="392430" y="192786"/>
                </a:lnTo>
                <a:lnTo>
                  <a:pt x="392430" y="201930"/>
                </a:lnTo>
                <a:lnTo>
                  <a:pt x="393954" y="201930"/>
                </a:lnTo>
                <a:lnTo>
                  <a:pt x="396240" y="201168"/>
                </a:lnTo>
                <a:lnTo>
                  <a:pt x="397764" y="198120"/>
                </a:lnTo>
                <a:close/>
              </a:path>
              <a:path w="398145" h="201929">
                <a:moveTo>
                  <a:pt x="13081" y="9906"/>
                </a:moveTo>
                <a:lnTo>
                  <a:pt x="8382" y="3048"/>
                </a:lnTo>
                <a:lnTo>
                  <a:pt x="4572" y="9906"/>
                </a:lnTo>
                <a:lnTo>
                  <a:pt x="13081" y="9906"/>
                </a:lnTo>
                <a:close/>
              </a:path>
              <a:path w="398145" h="201929">
                <a:moveTo>
                  <a:pt x="138401" y="192786"/>
                </a:moveTo>
                <a:lnTo>
                  <a:pt x="13081" y="9906"/>
                </a:lnTo>
                <a:lnTo>
                  <a:pt x="4572" y="9906"/>
                </a:lnTo>
                <a:lnTo>
                  <a:pt x="4572" y="13974"/>
                </a:lnTo>
                <a:lnTo>
                  <a:pt x="131064" y="199644"/>
                </a:lnTo>
                <a:lnTo>
                  <a:pt x="131826" y="201168"/>
                </a:lnTo>
                <a:lnTo>
                  <a:pt x="133350" y="201930"/>
                </a:lnTo>
                <a:lnTo>
                  <a:pt x="134874" y="201930"/>
                </a:lnTo>
                <a:lnTo>
                  <a:pt x="134874" y="192786"/>
                </a:lnTo>
                <a:lnTo>
                  <a:pt x="138401" y="192786"/>
                </a:lnTo>
                <a:close/>
              </a:path>
              <a:path w="398145" h="201929">
                <a:moveTo>
                  <a:pt x="139446" y="194310"/>
                </a:moveTo>
                <a:lnTo>
                  <a:pt x="138401" y="192786"/>
                </a:lnTo>
                <a:lnTo>
                  <a:pt x="134874" y="192786"/>
                </a:lnTo>
                <a:lnTo>
                  <a:pt x="139446" y="194310"/>
                </a:lnTo>
                <a:close/>
              </a:path>
              <a:path w="398145" h="201929">
                <a:moveTo>
                  <a:pt x="139446" y="201930"/>
                </a:moveTo>
                <a:lnTo>
                  <a:pt x="139446" y="194310"/>
                </a:lnTo>
                <a:lnTo>
                  <a:pt x="134874" y="192786"/>
                </a:lnTo>
                <a:lnTo>
                  <a:pt x="134874" y="201930"/>
                </a:lnTo>
                <a:lnTo>
                  <a:pt x="139446" y="201930"/>
                </a:lnTo>
                <a:close/>
              </a:path>
              <a:path w="398145" h="201929">
                <a:moveTo>
                  <a:pt x="392430" y="201930"/>
                </a:moveTo>
                <a:lnTo>
                  <a:pt x="392430" y="192786"/>
                </a:lnTo>
                <a:lnTo>
                  <a:pt x="388620" y="199644"/>
                </a:lnTo>
                <a:lnTo>
                  <a:pt x="383748" y="192786"/>
                </a:lnTo>
                <a:lnTo>
                  <a:pt x="138401" y="192786"/>
                </a:lnTo>
                <a:lnTo>
                  <a:pt x="139446" y="194310"/>
                </a:lnTo>
                <a:lnTo>
                  <a:pt x="139446" y="201930"/>
                </a:lnTo>
                <a:lnTo>
                  <a:pt x="392430" y="201930"/>
                </a:lnTo>
                <a:close/>
              </a:path>
              <a:path w="398145" h="201929">
                <a:moveTo>
                  <a:pt x="256032" y="9906"/>
                </a:moveTo>
                <a:lnTo>
                  <a:pt x="252222" y="7620"/>
                </a:lnTo>
                <a:lnTo>
                  <a:pt x="253845" y="9906"/>
                </a:lnTo>
                <a:lnTo>
                  <a:pt x="256032" y="9906"/>
                </a:lnTo>
                <a:close/>
              </a:path>
              <a:path w="398145" h="201929">
                <a:moveTo>
                  <a:pt x="253845" y="9906"/>
                </a:moveTo>
                <a:lnTo>
                  <a:pt x="252222" y="7620"/>
                </a:lnTo>
                <a:lnTo>
                  <a:pt x="252222" y="9906"/>
                </a:lnTo>
                <a:lnTo>
                  <a:pt x="253845" y="9906"/>
                </a:lnTo>
                <a:close/>
              </a:path>
              <a:path w="398145" h="201929">
                <a:moveTo>
                  <a:pt x="256032" y="12983"/>
                </a:moveTo>
                <a:lnTo>
                  <a:pt x="256032" y="9906"/>
                </a:lnTo>
                <a:lnTo>
                  <a:pt x="253845" y="9906"/>
                </a:lnTo>
                <a:lnTo>
                  <a:pt x="256032" y="12983"/>
                </a:lnTo>
                <a:close/>
              </a:path>
              <a:path w="398145" h="201929">
                <a:moveTo>
                  <a:pt x="392430" y="192786"/>
                </a:moveTo>
                <a:lnTo>
                  <a:pt x="383748" y="192786"/>
                </a:lnTo>
                <a:lnTo>
                  <a:pt x="388620" y="199644"/>
                </a:lnTo>
                <a:lnTo>
                  <a:pt x="392430" y="1927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4917666" y="1519624"/>
            <a:ext cx="219552" cy="117583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4913208" y="1516920"/>
            <a:ext cx="228014" cy="122580"/>
          </a:xfrm>
          <a:custGeom>
            <a:avLst/>
            <a:gdLst/>
            <a:ahLst/>
            <a:cxnLst/>
            <a:rect l="l" t="t" r="r" b="b"/>
            <a:pathLst>
              <a:path w="311784" h="264795">
                <a:moveTo>
                  <a:pt x="258150" y="239569"/>
                </a:moveTo>
                <a:lnTo>
                  <a:pt x="95249" y="2285"/>
                </a:lnTo>
                <a:lnTo>
                  <a:pt x="94487" y="761"/>
                </a:lnTo>
                <a:lnTo>
                  <a:pt x="92963" y="0"/>
                </a:lnTo>
                <a:lnTo>
                  <a:pt x="17525" y="717"/>
                </a:lnTo>
                <a:lnTo>
                  <a:pt x="10667" y="761"/>
                </a:lnTo>
                <a:lnTo>
                  <a:pt x="8381" y="2285"/>
                </a:lnTo>
                <a:lnTo>
                  <a:pt x="8381" y="4571"/>
                </a:lnTo>
                <a:lnTo>
                  <a:pt x="761" y="30479"/>
                </a:lnTo>
                <a:lnTo>
                  <a:pt x="0" y="32003"/>
                </a:lnTo>
                <a:lnTo>
                  <a:pt x="1523" y="35051"/>
                </a:lnTo>
                <a:lnTo>
                  <a:pt x="2285" y="35813"/>
                </a:lnTo>
                <a:lnTo>
                  <a:pt x="3809" y="36575"/>
                </a:lnTo>
                <a:lnTo>
                  <a:pt x="5333" y="36575"/>
                </a:lnTo>
                <a:lnTo>
                  <a:pt x="5333" y="27431"/>
                </a:lnTo>
                <a:lnTo>
                  <a:pt x="11647" y="27431"/>
                </a:lnTo>
                <a:lnTo>
                  <a:pt x="12953" y="22859"/>
                </a:lnTo>
                <a:lnTo>
                  <a:pt x="12953" y="10667"/>
                </a:lnTo>
                <a:lnTo>
                  <a:pt x="17525" y="6857"/>
                </a:lnTo>
                <a:lnTo>
                  <a:pt x="17525" y="10623"/>
                </a:lnTo>
                <a:lnTo>
                  <a:pt x="42105" y="10384"/>
                </a:lnTo>
                <a:lnTo>
                  <a:pt x="43433" y="4571"/>
                </a:lnTo>
                <a:lnTo>
                  <a:pt x="43433" y="3047"/>
                </a:lnTo>
                <a:lnTo>
                  <a:pt x="44957" y="1523"/>
                </a:lnTo>
                <a:lnTo>
                  <a:pt x="47243" y="1523"/>
                </a:lnTo>
                <a:lnTo>
                  <a:pt x="48767" y="761"/>
                </a:lnTo>
                <a:lnTo>
                  <a:pt x="51053" y="1523"/>
                </a:lnTo>
                <a:lnTo>
                  <a:pt x="51815" y="3047"/>
                </a:lnTo>
                <a:lnTo>
                  <a:pt x="56742" y="10242"/>
                </a:lnTo>
                <a:lnTo>
                  <a:pt x="86867" y="9950"/>
                </a:lnTo>
                <a:lnTo>
                  <a:pt x="86867" y="7619"/>
                </a:lnTo>
                <a:lnTo>
                  <a:pt x="91439" y="9905"/>
                </a:lnTo>
                <a:lnTo>
                  <a:pt x="91439" y="14270"/>
                </a:lnTo>
                <a:lnTo>
                  <a:pt x="254507" y="251459"/>
                </a:lnTo>
                <a:lnTo>
                  <a:pt x="254507" y="246125"/>
                </a:lnTo>
                <a:lnTo>
                  <a:pt x="258150" y="239569"/>
                </a:lnTo>
                <a:close/>
              </a:path>
              <a:path w="311784" h="264795">
                <a:moveTo>
                  <a:pt x="11647" y="27431"/>
                </a:moveTo>
                <a:lnTo>
                  <a:pt x="5333" y="27431"/>
                </a:lnTo>
                <a:lnTo>
                  <a:pt x="9905" y="33527"/>
                </a:lnTo>
                <a:lnTo>
                  <a:pt x="11647" y="27431"/>
                </a:lnTo>
                <a:close/>
              </a:path>
              <a:path w="311784" h="264795">
                <a:moveTo>
                  <a:pt x="38208" y="27431"/>
                </a:moveTo>
                <a:lnTo>
                  <a:pt x="11647" y="27431"/>
                </a:lnTo>
                <a:lnTo>
                  <a:pt x="9905" y="33527"/>
                </a:lnTo>
                <a:lnTo>
                  <a:pt x="5333" y="27431"/>
                </a:lnTo>
                <a:lnTo>
                  <a:pt x="5333" y="36575"/>
                </a:lnTo>
                <a:lnTo>
                  <a:pt x="37337" y="36575"/>
                </a:lnTo>
                <a:lnTo>
                  <a:pt x="37337" y="31241"/>
                </a:lnTo>
                <a:lnTo>
                  <a:pt x="38208" y="27431"/>
                </a:lnTo>
                <a:close/>
              </a:path>
              <a:path w="311784" h="264795">
                <a:moveTo>
                  <a:pt x="17525" y="6857"/>
                </a:moveTo>
                <a:lnTo>
                  <a:pt x="12953" y="10667"/>
                </a:lnTo>
                <a:lnTo>
                  <a:pt x="16447" y="10634"/>
                </a:lnTo>
                <a:lnTo>
                  <a:pt x="17525" y="6857"/>
                </a:lnTo>
                <a:close/>
              </a:path>
              <a:path w="311784" h="264795">
                <a:moveTo>
                  <a:pt x="16447" y="10634"/>
                </a:moveTo>
                <a:lnTo>
                  <a:pt x="12953" y="10667"/>
                </a:lnTo>
                <a:lnTo>
                  <a:pt x="12953" y="22859"/>
                </a:lnTo>
                <a:lnTo>
                  <a:pt x="16447" y="10634"/>
                </a:lnTo>
                <a:close/>
              </a:path>
              <a:path w="311784" h="264795">
                <a:moveTo>
                  <a:pt x="17525" y="10623"/>
                </a:moveTo>
                <a:lnTo>
                  <a:pt x="17525" y="6857"/>
                </a:lnTo>
                <a:lnTo>
                  <a:pt x="16447" y="10634"/>
                </a:lnTo>
                <a:lnTo>
                  <a:pt x="17525" y="10623"/>
                </a:lnTo>
                <a:close/>
              </a:path>
              <a:path w="311784" h="264795">
                <a:moveTo>
                  <a:pt x="41909" y="27431"/>
                </a:moveTo>
                <a:lnTo>
                  <a:pt x="38208" y="27431"/>
                </a:lnTo>
                <a:lnTo>
                  <a:pt x="37337" y="31241"/>
                </a:lnTo>
                <a:lnTo>
                  <a:pt x="41909" y="27431"/>
                </a:lnTo>
                <a:close/>
              </a:path>
              <a:path w="311784" h="264795">
                <a:moveTo>
                  <a:pt x="41909" y="36575"/>
                </a:moveTo>
                <a:lnTo>
                  <a:pt x="41909" y="27431"/>
                </a:lnTo>
                <a:lnTo>
                  <a:pt x="37337" y="31241"/>
                </a:lnTo>
                <a:lnTo>
                  <a:pt x="37337" y="36575"/>
                </a:lnTo>
                <a:lnTo>
                  <a:pt x="41909" y="36575"/>
                </a:lnTo>
                <a:close/>
              </a:path>
              <a:path w="311784" h="264795">
                <a:moveTo>
                  <a:pt x="50160" y="17131"/>
                </a:moveTo>
                <a:lnTo>
                  <a:pt x="45538" y="10351"/>
                </a:lnTo>
                <a:lnTo>
                  <a:pt x="42105" y="10384"/>
                </a:lnTo>
                <a:lnTo>
                  <a:pt x="38208" y="27431"/>
                </a:lnTo>
                <a:lnTo>
                  <a:pt x="41909" y="27431"/>
                </a:lnTo>
                <a:lnTo>
                  <a:pt x="41909" y="36575"/>
                </a:lnTo>
                <a:lnTo>
                  <a:pt x="44195" y="36575"/>
                </a:lnTo>
                <a:lnTo>
                  <a:pt x="46481" y="35051"/>
                </a:lnTo>
                <a:lnTo>
                  <a:pt x="46481" y="32765"/>
                </a:lnTo>
                <a:lnTo>
                  <a:pt x="50160" y="17131"/>
                </a:lnTo>
                <a:close/>
              </a:path>
              <a:path w="311784" h="264795">
                <a:moveTo>
                  <a:pt x="56742" y="10242"/>
                </a:moveTo>
                <a:lnTo>
                  <a:pt x="51815" y="3047"/>
                </a:lnTo>
                <a:lnTo>
                  <a:pt x="51053" y="1523"/>
                </a:lnTo>
                <a:lnTo>
                  <a:pt x="48767" y="761"/>
                </a:lnTo>
                <a:lnTo>
                  <a:pt x="47243" y="1523"/>
                </a:lnTo>
                <a:lnTo>
                  <a:pt x="44957" y="1523"/>
                </a:lnTo>
                <a:lnTo>
                  <a:pt x="43433" y="3047"/>
                </a:lnTo>
                <a:lnTo>
                  <a:pt x="43433" y="4571"/>
                </a:lnTo>
                <a:lnTo>
                  <a:pt x="42105" y="10384"/>
                </a:lnTo>
                <a:lnTo>
                  <a:pt x="44195" y="10364"/>
                </a:lnTo>
                <a:lnTo>
                  <a:pt x="44195" y="8381"/>
                </a:lnTo>
                <a:lnTo>
                  <a:pt x="52577" y="6857"/>
                </a:lnTo>
                <a:lnTo>
                  <a:pt x="52577" y="10283"/>
                </a:lnTo>
                <a:lnTo>
                  <a:pt x="56742" y="10242"/>
                </a:lnTo>
                <a:close/>
              </a:path>
              <a:path w="311784" h="264795">
                <a:moveTo>
                  <a:pt x="52577" y="6857"/>
                </a:moveTo>
                <a:lnTo>
                  <a:pt x="44195" y="8381"/>
                </a:lnTo>
                <a:lnTo>
                  <a:pt x="45538" y="10351"/>
                </a:lnTo>
                <a:lnTo>
                  <a:pt x="51770" y="10291"/>
                </a:lnTo>
                <a:lnTo>
                  <a:pt x="52577" y="6857"/>
                </a:lnTo>
                <a:close/>
              </a:path>
              <a:path w="311784" h="264795">
                <a:moveTo>
                  <a:pt x="45538" y="10351"/>
                </a:moveTo>
                <a:lnTo>
                  <a:pt x="44195" y="8381"/>
                </a:lnTo>
                <a:lnTo>
                  <a:pt x="44195" y="10364"/>
                </a:lnTo>
                <a:lnTo>
                  <a:pt x="45538" y="10351"/>
                </a:lnTo>
                <a:close/>
              </a:path>
              <a:path w="311784" h="264795">
                <a:moveTo>
                  <a:pt x="51770" y="10291"/>
                </a:moveTo>
                <a:lnTo>
                  <a:pt x="45538" y="10351"/>
                </a:lnTo>
                <a:lnTo>
                  <a:pt x="50160" y="17131"/>
                </a:lnTo>
                <a:lnTo>
                  <a:pt x="51770" y="10291"/>
                </a:lnTo>
                <a:close/>
              </a:path>
              <a:path w="311784" h="264795">
                <a:moveTo>
                  <a:pt x="223964" y="254475"/>
                </a:moveTo>
                <a:lnTo>
                  <a:pt x="56742" y="10242"/>
                </a:lnTo>
                <a:lnTo>
                  <a:pt x="51770" y="10291"/>
                </a:lnTo>
                <a:lnTo>
                  <a:pt x="50160" y="17131"/>
                </a:lnTo>
                <a:lnTo>
                  <a:pt x="217169" y="262127"/>
                </a:lnTo>
                <a:lnTo>
                  <a:pt x="217931" y="263651"/>
                </a:lnTo>
                <a:lnTo>
                  <a:pt x="219455" y="264413"/>
                </a:lnTo>
                <a:lnTo>
                  <a:pt x="220979" y="264413"/>
                </a:lnTo>
                <a:lnTo>
                  <a:pt x="220979" y="254507"/>
                </a:lnTo>
                <a:lnTo>
                  <a:pt x="223964" y="254475"/>
                </a:lnTo>
                <a:close/>
              </a:path>
              <a:path w="311784" h="264795">
                <a:moveTo>
                  <a:pt x="52577" y="10283"/>
                </a:moveTo>
                <a:lnTo>
                  <a:pt x="52577" y="6857"/>
                </a:lnTo>
                <a:lnTo>
                  <a:pt x="51770" y="10291"/>
                </a:lnTo>
                <a:lnTo>
                  <a:pt x="52577" y="10283"/>
                </a:lnTo>
                <a:close/>
              </a:path>
              <a:path w="311784" h="264795">
                <a:moveTo>
                  <a:pt x="91439" y="9905"/>
                </a:moveTo>
                <a:lnTo>
                  <a:pt x="86867" y="7619"/>
                </a:lnTo>
                <a:lnTo>
                  <a:pt x="88459" y="9934"/>
                </a:lnTo>
                <a:lnTo>
                  <a:pt x="91439" y="9905"/>
                </a:lnTo>
                <a:close/>
              </a:path>
              <a:path w="311784" h="264795">
                <a:moveTo>
                  <a:pt x="88459" y="9934"/>
                </a:moveTo>
                <a:lnTo>
                  <a:pt x="86867" y="7619"/>
                </a:lnTo>
                <a:lnTo>
                  <a:pt x="86867" y="9950"/>
                </a:lnTo>
                <a:lnTo>
                  <a:pt x="88459" y="9934"/>
                </a:lnTo>
                <a:close/>
              </a:path>
              <a:path w="311784" h="264795">
                <a:moveTo>
                  <a:pt x="91439" y="14270"/>
                </a:moveTo>
                <a:lnTo>
                  <a:pt x="91439" y="9905"/>
                </a:lnTo>
                <a:lnTo>
                  <a:pt x="88459" y="9934"/>
                </a:lnTo>
                <a:lnTo>
                  <a:pt x="91439" y="14270"/>
                </a:lnTo>
                <a:close/>
              </a:path>
              <a:path w="311784" h="264795">
                <a:moveTo>
                  <a:pt x="225551" y="256793"/>
                </a:moveTo>
                <a:lnTo>
                  <a:pt x="223964" y="254475"/>
                </a:lnTo>
                <a:lnTo>
                  <a:pt x="220979" y="254507"/>
                </a:lnTo>
                <a:lnTo>
                  <a:pt x="225551" y="256793"/>
                </a:lnTo>
                <a:close/>
              </a:path>
              <a:path w="311784" h="264795">
                <a:moveTo>
                  <a:pt x="225551" y="264315"/>
                </a:moveTo>
                <a:lnTo>
                  <a:pt x="225551" y="256793"/>
                </a:lnTo>
                <a:lnTo>
                  <a:pt x="220979" y="254507"/>
                </a:lnTo>
                <a:lnTo>
                  <a:pt x="220979" y="264413"/>
                </a:lnTo>
                <a:lnTo>
                  <a:pt x="225551" y="264315"/>
                </a:lnTo>
                <a:close/>
              </a:path>
              <a:path w="311784" h="264795">
                <a:moveTo>
                  <a:pt x="291845" y="262889"/>
                </a:moveTo>
                <a:lnTo>
                  <a:pt x="291845" y="253745"/>
                </a:lnTo>
                <a:lnTo>
                  <a:pt x="288035" y="256031"/>
                </a:lnTo>
                <a:lnTo>
                  <a:pt x="288035" y="253786"/>
                </a:lnTo>
                <a:lnTo>
                  <a:pt x="223964" y="254475"/>
                </a:lnTo>
                <a:lnTo>
                  <a:pt x="225551" y="256793"/>
                </a:lnTo>
                <a:lnTo>
                  <a:pt x="225551" y="264315"/>
                </a:lnTo>
                <a:lnTo>
                  <a:pt x="288035" y="262971"/>
                </a:lnTo>
                <a:lnTo>
                  <a:pt x="288035" y="256031"/>
                </a:lnTo>
                <a:lnTo>
                  <a:pt x="289135" y="253775"/>
                </a:lnTo>
                <a:lnTo>
                  <a:pt x="289135" y="262948"/>
                </a:lnTo>
                <a:lnTo>
                  <a:pt x="291845" y="262889"/>
                </a:lnTo>
                <a:close/>
              </a:path>
              <a:path w="311784" h="264795">
                <a:moveTo>
                  <a:pt x="262127" y="245363"/>
                </a:moveTo>
                <a:lnTo>
                  <a:pt x="258150" y="239569"/>
                </a:lnTo>
                <a:lnTo>
                  <a:pt x="254507" y="246125"/>
                </a:lnTo>
                <a:lnTo>
                  <a:pt x="262127" y="245363"/>
                </a:lnTo>
                <a:close/>
              </a:path>
              <a:path w="311784" h="264795">
                <a:moveTo>
                  <a:pt x="262127" y="252221"/>
                </a:moveTo>
                <a:lnTo>
                  <a:pt x="262127" y="245363"/>
                </a:lnTo>
                <a:lnTo>
                  <a:pt x="254507" y="246125"/>
                </a:lnTo>
                <a:lnTo>
                  <a:pt x="254507" y="251459"/>
                </a:lnTo>
                <a:lnTo>
                  <a:pt x="255269" y="252221"/>
                </a:lnTo>
                <a:lnTo>
                  <a:pt x="256793" y="252983"/>
                </a:lnTo>
                <a:lnTo>
                  <a:pt x="260603" y="252983"/>
                </a:lnTo>
                <a:lnTo>
                  <a:pt x="262127" y="252221"/>
                </a:lnTo>
                <a:close/>
              </a:path>
              <a:path w="311784" h="264795">
                <a:moveTo>
                  <a:pt x="311657" y="228599"/>
                </a:moveTo>
                <a:lnTo>
                  <a:pt x="311657" y="227075"/>
                </a:lnTo>
                <a:lnTo>
                  <a:pt x="310133" y="225551"/>
                </a:lnTo>
                <a:lnTo>
                  <a:pt x="309371" y="224027"/>
                </a:lnTo>
                <a:lnTo>
                  <a:pt x="307847" y="223265"/>
                </a:lnTo>
                <a:lnTo>
                  <a:pt x="268985" y="223265"/>
                </a:lnTo>
                <a:lnTo>
                  <a:pt x="267461" y="224027"/>
                </a:lnTo>
                <a:lnTo>
                  <a:pt x="265937" y="225551"/>
                </a:lnTo>
                <a:lnTo>
                  <a:pt x="258150" y="239569"/>
                </a:lnTo>
                <a:lnTo>
                  <a:pt x="262127" y="245363"/>
                </a:lnTo>
                <a:lnTo>
                  <a:pt x="262127" y="252221"/>
                </a:lnTo>
                <a:lnTo>
                  <a:pt x="262889" y="250697"/>
                </a:lnTo>
                <a:lnTo>
                  <a:pt x="270509" y="237489"/>
                </a:lnTo>
                <a:lnTo>
                  <a:pt x="270509" y="233171"/>
                </a:lnTo>
                <a:lnTo>
                  <a:pt x="274319" y="230885"/>
                </a:lnTo>
                <a:lnTo>
                  <a:pt x="274319" y="233171"/>
                </a:lnTo>
                <a:lnTo>
                  <a:pt x="299172" y="233171"/>
                </a:lnTo>
                <a:lnTo>
                  <a:pt x="302513" y="226313"/>
                </a:lnTo>
                <a:lnTo>
                  <a:pt x="306323" y="233171"/>
                </a:lnTo>
                <a:lnTo>
                  <a:pt x="306323" y="239749"/>
                </a:lnTo>
                <a:lnTo>
                  <a:pt x="310895" y="230123"/>
                </a:lnTo>
                <a:lnTo>
                  <a:pt x="311657" y="228599"/>
                </a:lnTo>
                <a:close/>
              </a:path>
              <a:path w="311784" h="264795">
                <a:moveTo>
                  <a:pt x="274319" y="230885"/>
                </a:moveTo>
                <a:lnTo>
                  <a:pt x="270509" y="233171"/>
                </a:lnTo>
                <a:lnTo>
                  <a:pt x="273001" y="233171"/>
                </a:lnTo>
                <a:lnTo>
                  <a:pt x="274319" y="230885"/>
                </a:lnTo>
                <a:close/>
              </a:path>
              <a:path w="311784" h="264795">
                <a:moveTo>
                  <a:pt x="273001" y="233171"/>
                </a:moveTo>
                <a:lnTo>
                  <a:pt x="270509" y="233171"/>
                </a:lnTo>
                <a:lnTo>
                  <a:pt x="270509" y="237489"/>
                </a:lnTo>
                <a:lnTo>
                  <a:pt x="273001" y="233171"/>
                </a:lnTo>
                <a:close/>
              </a:path>
              <a:path w="311784" h="264795">
                <a:moveTo>
                  <a:pt x="274319" y="233171"/>
                </a:moveTo>
                <a:lnTo>
                  <a:pt x="274319" y="230885"/>
                </a:lnTo>
                <a:lnTo>
                  <a:pt x="273001" y="233171"/>
                </a:lnTo>
                <a:lnTo>
                  <a:pt x="274319" y="233171"/>
                </a:lnTo>
                <a:close/>
              </a:path>
              <a:path w="311784" h="264795">
                <a:moveTo>
                  <a:pt x="291845" y="253745"/>
                </a:moveTo>
                <a:lnTo>
                  <a:pt x="289135" y="253775"/>
                </a:lnTo>
                <a:lnTo>
                  <a:pt x="288035" y="256031"/>
                </a:lnTo>
                <a:lnTo>
                  <a:pt x="291845" y="253745"/>
                </a:lnTo>
                <a:close/>
              </a:path>
              <a:path w="311784" h="264795">
                <a:moveTo>
                  <a:pt x="306323" y="239749"/>
                </a:moveTo>
                <a:lnTo>
                  <a:pt x="306323" y="233171"/>
                </a:lnTo>
                <a:lnTo>
                  <a:pt x="299172" y="233171"/>
                </a:lnTo>
                <a:lnTo>
                  <a:pt x="289135" y="253775"/>
                </a:lnTo>
                <a:lnTo>
                  <a:pt x="291845" y="253745"/>
                </a:lnTo>
                <a:lnTo>
                  <a:pt x="291845" y="262889"/>
                </a:lnTo>
                <a:lnTo>
                  <a:pt x="294131" y="262889"/>
                </a:lnTo>
                <a:lnTo>
                  <a:pt x="295655" y="262127"/>
                </a:lnTo>
                <a:lnTo>
                  <a:pt x="296417" y="260603"/>
                </a:lnTo>
                <a:lnTo>
                  <a:pt x="306323" y="239749"/>
                </a:lnTo>
                <a:close/>
              </a:path>
              <a:path w="311784" h="264795">
                <a:moveTo>
                  <a:pt x="306323" y="233171"/>
                </a:moveTo>
                <a:lnTo>
                  <a:pt x="302513" y="226313"/>
                </a:lnTo>
                <a:lnTo>
                  <a:pt x="299172" y="233171"/>
                </a:lnTo>
                <a:lnTo>
                  <a:pt x="306323" y="2331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4776112" y="1533616"/>
            <a:ext cx="283655" cy="88775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4772769" y="1531029"/>
            <a:ext cx="291170" cy="93479"/>
          </a:xfrm>
          <a:custGeom>
            <a:avLst/>
            <a:gdLst/>
            <a:ahLst/>
            <a:cxnLst/>
            <a:rect l="l" t="t" r="r" b="b"/>
            <a:pathLst>
              <a:path w="398145" h="201929">
                <a:moveTo>
                  <a:pt x="397764" y="198120"/>
                </a:moveTo>
                <a:lnTo>
                  <a:pt x="397764" y="195834"/>
                </a:lnTo>
                <a:lnTo>
                  <a:pt x="396240" y="194310"/>
                </a:lnTo>
                <a:lnTo>
                  <a:pt x="259842" y="2286"/>
                </a:lnTo>
                <a:lnTo>
                  <a:pt x="259080" y="762"/>
                </a:lnTo>
                <a:lnTo>
                  <a:pt x="257556" y="0"/>
                </a:lnTo>
                <a:lnTo>
                  <a:pt x="3048" y="762"/>
                </a:lnTo>
                <a:lnTo>
                  <a:pt x="1524" y="1524"/>
                </a:lnTo>
                <a:lnTo>
                  <a:pt x="0" y="4572"/>
                </a:lnTo>
                <a:lnTo>
                  <a:pt x="0" y="6858"/>
                </a:lnTo>
                <a:lnTo>
                  <a:pt x="762" y="8382"/>
                </a:lnTo>
                <a:lnTo>
                  <a:pt x="4572" y="13974"/>
                </a:lnTo>
                <a:lnTo>
                  <a:pt x="4572" y="9906"/>
                </a:lnTo>
                <a:lnTo>
                  <a:pt x="8382" y="3048"/>
                </a:lnTo>
                <a:lnTo>
                  <a:pt x="13081" y="9906"/>
                </a:lnTo>
                <a:lnTo>
                  <a:pt x="252222" y="9906"/>
                </a:lnTo>
                <a:lnTo>
                  <a:pt x="252222" y="7620"/>
                </a:lnTo>
                <a:lnTo>
                  <a:pt x="256032" y="9906"/>
                </a:lnTo>
                <a:lnTo>
                  <a:pt x="256032" y="13005"/>
                </a:lnTo>
                <a:lnTo>
                  <a:pt x="383228" y="192786"/>
                </a:lnTo>
                <a:lnTo>
                  <a:pt x="392430" y="192786"/>
                </a:lnTo>
                <a:lnTo>
                  <a:pt x="392430" y="201930"/>
                </a:lnTo>
                <a:lnTo>
                  <a:pt x="393954" y="201930"/>
                </a:lnTo>
                <a:lnTo>
                  <a:pt x="396240" y="201168"/>
                </a:lnTo>
                <a:lnTo>
                  <a:pt x="397764" y="198120"/>
                </a:lnTo>
                <a:close/>
              </a:path>
              <a:path w="398145" h="201929">
                <a:moveTo>
                  <a:pt x="13081" y="9906"/>
                </a:moveTo>
                <a:lnTo>
                  <a:pt x="8382" y="3048"/>
                </a:lnTo>
                <a:lnTo>
                  <a:pt x="4572" y="9906"/>
                </a:lnTo>
                <a:lnTo>
                  <a:pt x="13081" y="9906"/>
                </a:lnTo>
                <a:close/>
              </a:path>
              <a:path w="398145" h="201929">
                <a:moveTo>
                  <a:pt x="138401" y="192786"/>
                </a:moveTo>
                <a:lnTo>
                  <a:pt x="13081" y="9906"/>
                </a:lnTo>
                <a:lnTo>
                  <a:pt x="4572" y="9906"/>
                </a:lnTo>
                <a:lnTo>
                  <a:pt x="4572" y="13974"/>
                </a:lnTo>
                <a:lnTo>
                  <a:pt x="131064" y="199644"/>
                </a:lnTo>
                <a:lnTo>
                  <a:pt x="131826" y="201168"/>
                </a:lnTo>
                <a:lnTo>
                  <a:pt x="133350" y="201930"/>
                </a:lnTo>
                <a:lnTo>
                  <a:pt x="134874" y="201930"/>
                </a:lnTo>
                <a:lnTo>
                  <a:pt x="134874" y="192786"/>
                </a:lnTo>
                <a:lnTo>
                  <a:pt x="138401" y="192786"/>
                </a:lnTo>
                <a:close/>
              </a:path>
              <a:path w="398145" h="201929">
                <a:moveTo>
                  <a:pt x="139446" y="194310"/>
                </a:moveTo>
                <a:lnTo>
                  <a:pt x="138401" y="192786"/>
                </a:lnTo>
                <a:lnTo>
                  <a:pt x="134874" y="192786"/>
                </a:lnTo>
                <a:lnTo>
                  <a:pt x="139446" y="194310"/>
                </a:lnTo>
                <a:close/>
              </a:path>
              <a:path w="398145" h="201929">
                <a:moveTo>
                  <a:pt x="139446" y="201930"/>
                </a:moveTo>
                <a:lnTo>
                  <a:pt x="139446" y="194310"/>
                </a:lnTo>
                <a:lnTo>
                  <a:pt x="134874" y="192786"/>
                </a:lnTo>
                <a:lnTo>
                  <a:pt x="134874" y="201930"/>
                </a:lnTo>
                <a:lnTo>
                  <a:pt x="139446" y="201930"/>
                </a:lnTo>
                <a:close/>
              </a:path>
              <a:path w="398145" h="201929">
                <a:moveTo>
                  <a:pt x="392430" y="201930"/>
                </a:moveTo>
                <a:lnTo>
                  <a:pt x="392430" y="192786"/>
                </a:lnTo>
                <a:lnTo>
                  <a:pt x="388620" y="200406"/>
                </a:lnTo>
                <a:lnTo>
                  <a:pt x="383228" y="192786"/>
                </a:lnTo>
                <a:lnTo>
                  <a:pt x="138401" y="192786"/>
                </a:lnTo>
                <a:lnTo>
                  <a:pt x="139446" y="194310"/>
                </a:lnTo>
                <a:lnTo>
                  <a:pt x="139446" y="201930"/>
                </a:lnTo>
                <a:lnTo>
                  <a:pt x="392430" y="201930"/>
                </a:lnTo>
                <a:close/>
              </a:path>
              <a:path w="398145" h="201929">
                <a:moveTo>
                  <a:pt x="256032" y="9906"/>
                </a:moveTo>
                <a:lnTo>
                  <a:pt x="252222" y="7620"/>
                </a:lnTo>
                <a:lnTo>
                  <a:pt x="253839" y="9906"/>
                </a:lnTo>
                <a:lnTo>
                  <a:pt x="256032" y="9906"/>
                </a:lnTo>
                <a:close/>
              </a:path>
              <a:path w="398145" h="201929">
                <a:moveTo>
                  <a:pt x="253839" y="9906"/>
                </a:moveTo>
                <a:lnTo>
                  <a:pt x="252222" y="7620"/>
                </a:lnTo>
                <a:lnTo>
                  <a:pt x="252222" y="9906"/>
                </a:lnTo>
                <a:lnTo>
                  <a:pt x="253839" y="9906"/>
                </a:lnTo>
                <a:close/>
              </a:path>
              <a:path w="398145" h="201929">
                <a:moveTo>
                  <a:pt x="256032" y="13005"/>
                </a:moveTo>
                <a:lnTo>
                  <a:pt x="256032" y="9906"/>
                </a:lnTo>
                <a:lnTo>
                  <a:pt x="253839" y="9906"/>
                </a:lnTo>
                <a:lnTo>
                  <a:pt x="256032" y="13005"/>
                </a:lnTo>
                <a:close/>
              </a:path>
              <a:path w="398145" h="201929">
                <a:moveTo>
                  <a:pt x="392430" y="192786"/>
                </a:moveTo>
                <a:lnTo>
                  <a:pt x="383228" y="192786"/>
                </a:lnTo>
                <a:lnTo>
                  <a:pt x="388620" y="200406"/>
                </a:lnTo>
                <a:lnTo>
                  <a:pt x="392430" y="1927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5168434" y="1519859"/>
            <a:ext cx="188346" cy="116995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5132761" y="1516920"/>
            <a:ext cx="228014" cy="122580"/>
          </a:xfrm>
          <a:custGeom>
            <a:avLst/>
            <a:gdLst/>
            <a:ahLst/>
            <a:cxnLst/>
            <a:rect l="l" t="t" r="r" b="b"/>
            <a:pathLst>
              <a:path w="311784" h="264795">
                <a:moveTo>
                  <a:pt x="257993" y="239322"/>
                </a:moveTo>
                <a:lnTo>
                  <a:pt x="95250" y="1523"/>
                </a:lnTo>
                <a:lnTo>
                  <a:pt x="92202" y="0"/>
                </a:lnTo>
                <a:lnTo>
                  <a:pt x="10668" y="761"/>
                </a:lnTo>
                <a:lnTo>
                  <a:pt x="8382" y="2285"/>
                </a:lnTo>
                <a:lnTo>
                  <a:pt x="7620" y="3809"/>
                </a:lnTo>
                <a:lnTo>
                  <a:pt x="0" y="30479"/>
                </a:lnTo>
                <a:lnTo>
                  <a:pt x="0" y="33527"/>
                </a:lnTo>
                <a:lnTo>
                  <a:pt x="2286" y="35813"/>
                </a:lnTo>
                <a:lnTo>
                  <a:pt x="3810" y="36575"/>
                </a:lnTo>
                <a:lnTo>
                  <a:pt x="4572" y="36575"/>
                </a:lnTo>
                <a:lnTo>
                  <a:pt x="4572" y="26669"/>
                </a:lnTo>
                <a:lnTo>
                  <a:pt x="10936" y="26669"/>
                </a:lnTo>
                <a:lnTo>
                  <a:pt x="12954" y="19811"/>
                </a:lnTo>
                <a:lnTo>
                  <a:pt x="12954" y="9905"/>
                </a:lnTo>
                <a:lnTo>
                  <a:pt x="16764" y="6857"/>
                </a:lnTo>
                <a:lnTo>
                  <a:pt x="16764" y="9868"/>
                </a:lnTo>
                <a:lnTo>
                  <a:pt x="42246" y="9618"/>
                </a:lnTo>
                <a:lnTo>
                  <a:pt x="43434" y="4571"/>
                </a:lnTo>
                <a:lnTo>
                  <a:pt x="43434" y="3047"/>
                </a:lnTo>
                <a:lnTo>
                  <a:pt x="44958" y="1523"/>
                </a:lnTo>
                <a:lnTo>
                  <a:pt x="46482" y="761"/>
                </a:lnTo>
                <a:lnTo>
                  <a:pt x="48768" y="761"/>
                </a:lnTo>
                <a:lnTo>
                  <a:pt x="50292" y="1523"/>
                </a:lnTo>
                <a:lnTo>
                  <a:pt x="51816" y="3047"/>
                </a:lnTo>
                <a:lnTo>
                  <a:pt x="56201" y="9482"/>
                </a:lnTo>
                <a:lnTo>
                  <a:pt x="86868" y="9181"/>
                </a:lnTo>
                <a:lnTo>
                  <a:pt x="86868" y="6857"/>
                </a:lnTo>
                <a:lnTo>
                  <a:pt x="90678" y="9143"/>
                </a:lnTo>
                <a:lnTo>
                  <a:pt x="90678" y="12399"/>
                </a:lnTo>
                <a:lnTo>
                  <a:pt x="254508" y="250697"/>
                </a:lnTo>
                <a:lnTo>
                  <a:pt x="254508" y="245363"/>
                </a:lnTo>
                <a:lnTo>
                  <a:pt x="257993" y="239322"/>
                </a:lnTo>
                <a:close/>
              </a:path>
              <a:path w="311784" h="264795">
                <a:moveTo>
                  <a:pt x="10936" y="26669"/>
                </a:moveTo>
                <a:lnTo>
                  <a:pt x="4572" y="26669"/>
                </a:lnTo>
                <a:lnTo>
                  <a:pt x="9144" y="32765"/>
                </a:lnTo>
                <a:lnTo>
                  <a:pt x="10936" y="26669"/>
                </a:lnTo>
                <a:close/>
              </a:path>
              <a:path w="311784" h="264795">
                <a:moveTo>
                  <a:pt x="38234" y="26669"/>
                </a:moveTo>
                <a:lnTo>
                  <a:pt x="10936" y="26669"/>
                </a:lnTo>
                <a:lnTo>
                  <a:pt x="9144" y="32765"/>
                </a:lnTo>
                <a:lnTo>
                  <a:pt x="4572" y="26669"/>
                </a:lnTo>
                <a:lnTo>
                  <a:pt x="4572" y="36575"/>
                </a:lnTo>
                <a:lnTo>
                  <a:pt x="37338" y="36575"/>
                </a:lnTo>
                <a:lnTo>
                  <a:pt x="37338" y="30479"/>
                </a:lnTo>
                <a:lnTo>
                  <a:pt x="38234" y="26669"/>
                </a:lnTo>
                <a:close/>
              </a:path>
              <a:path w="311784" h="264795">
                <a:moveTo>
                  <a:pt x="16764" y="6857"/>
                </a:moveTo>
                <a:lnTo>
                  <a:pt x="12954" y="9905"/>
                </a:lnTo>
                <a:lnTo>
                  <a:pt x="15875" y="9877"/>
                </a:lnTo>
                <a:lnTo>
                  <a:pt x="16764" y="6857"/>
                </a:lnTo>
                <a:close/>
              </a:path>
              <a:path w="311784" h="264795">
                <a:moveTo>
                  <a:pt x="15875" y="9877"/>
                </a:moveTo>
                <a:lnTo>
                  <a:pt x="12954" y="9905"/>
                </a:lnTo>
                <a:lnTo>
                  <a:pt x="12954" y="19811"/>
                </a:lnTo>
                <a:lnTo>
                  <a:pt x="15875" y="9877"/>
                </a:lnTo>
                <a:close/>
              </a:path>
              <a:path w="311784" h="264795">
                <a:moveTo>
                  <a:pt x="16764" y="9868"/>
                </a:moveTo>
                <a:lnTo>
                  <a:pt x="16764" y="6857"/>
                </a:lnTo>
                <a:lnTo>
                  <a:pt x="15875" y="9877"/>
                </a:lnTo>
                <a:lnTo>
                  <a:pt x="16764" y="9868"/>
                </a:lnTo>
                <a:close/>
              </a:path>
              <a:path w="311784" h="264795">
                <a:moveTo>
                  <a:pt x="41910" y="26669"/>
                </a:moveTo>
                <a:lnTo>
                  <a:pt x="38234" y="26669"/>
                </a:lnTo>
                <a:lnTo>
                  <a:pt x="37338" y="30479"/>
                </a:lnTo>
                <a:lnTo>
                  <a:pt x="41910" y="26669"/>
                </a:lnTo>
                <a:close/>
              </a:path>
              <a:path w="311784" h="264795">
                <a:moveTo>
                  <a:pt x="41910" y="36575"/>
                </a:moveTo>
                <a:lnTo>
                  <a:pt x="41910" y="26669"/>
                </a:lnTo>
                <a:lnTo>
                  <a:pt x="37338" y="30479"/>
                </a:lnTo>
                <a:lnTo>
                  <a:pt x="37338" y="36575"/>
                </a:lnTo>
                <a:lnTo>
                  <a:pt x="41910" y="36575"/>
                </a:lnTo>
                <a:close/>
              </a:path>
              <a:path w="311784" h="264795">
                <a:moveTo>
                  <a:pt x="49972" y="17931"/>
                </a:moveTo>
                <a:lnTo>
                  <a:pt x="44267" y="9599"/>
                </a:lnTo>
                <a:lnTo>
                  <a:pt x="42246" y="9618"/>
                </a:lnTo>
                <a:lnTo>
                  <a:pt x="38234" y="26669"/>
                </a:lnTo>
                <a:lnTo>
                  <a:pt x="41910" y="26669"/>
                </a:lnTo>
                <a:lnTo>
                  <a:pt x="41910" y="36575"/>
                </a:lnTo>
                <a:lnTo>
                  <a:pt x="44267" y="36504"/>
                </a:lnTo>
                <a:lnTo>
                  <a:pt x="45720" y="35051"/>
                </a:lnTo>
                <a:lnTo>
                  <a:pt x="46482" y="32765"/>
                </a:lnTo>
                <a:lnTo>
                  <a:pt x="49972" y="17931"/>
                </a:lnTo>
                <a:close/>
              </a:path>
              <a:path w="311784" h="264795">
                <a:moveTo>
                  <a:pt x="44267" y="9599"/>
                </a:moveTo>
                <a:lnTo>
                  <a:pt x="43434" y="8381"/>
                </a:lnTo>
                <a:lnTo>
                  <a:pt x="43434" y="4571"/>
                </a:lnTo>
                <a:lnTo>
                  <a:pt x="42246" y="9618"/>
                </a:lnTo>
                <a:lnTo>
                  <a:pt x="44267" y="9599"/>
                </a:lnTo>
                <a:close/>
              </a:path>
              <a:path w="311784" h="264795">
                <a:moveTo>
                  <a:pt x="56201" y="9482"/>
                </a:moveTo>
                <a:lnTo>
                  <a:pt x="51816" y="3047"/>
                </a:lnTo>
                <a:lnTo>
                  <a:pt x="50292" y="1523"/>
                </a:lnTo>
                <a:lnTo>
                  <a:pt x="48768" y="761"/>
                </a:lnTo>
                <a:lnTo>
                  <a:pt x="46482" y="761"/>
                </a:lnTo>
                <a:lnTo>
                  <a:pt x="44958" y="1523"/>
                </a:lnTo>
                <a:lnTo>
                  <a:pt x="43434" y="3047"/>
                </a:lnTo>
                <a:lnTo>
                  <a:pt x="43434" y="8381"/>
                </a:lnTo>
                <a:lnTo>
                  <a:pt x="52578" y="6857"/>
                </a:lnTo>
                <a:lnTo>
                  <a:pt x="52578" y="9517"/>
                </a:lnTo>
                <a:lnTo>
                  <a:pt x="56201" y="9482"/>
                </a:lnTo>
                <a:close/>
              </a:path>
              <a:path w="311784" h="264795">
                <a:moveTo>
                  <a:pt x="52578" y="6857"/>
                </a:moveTo>
                <a:lnTo>
                  <a:pt x="43434" y="8381"/>
                </a:lnTo>
                <a:lnTo>
                  <a:pt x="44196" y="9494"/>
                </a:lnTo>
                <a:lnTo>
                  <a:pt x="51950" y="9523"/>
                </a:lnTo>
                <a:lnTo>
                  <a:pt x="52578" y="6857"/>
                </a:lnTo>
                <a:close/>
              </a:path>
              <a:path w="311784" h="264795">
                <a:moveTo>
                  <a:pt x="51950" y="9523"/>
                </a:moveTo>
                <a:lnTo>
                  <a:pt x="44267" y="9599"/>
                </a:lnTo>
                <a:lnTo>
                  <a:pt x="49972" y="17931"/>
                </a:lnTo>
                <a:lnTo>
                  <a:pt x="51950" y="9523"/>
                </a:lnTo>
                <a:close/>
              </a:path>
              <a:path w="311784" h="264795">
                <a:moveTo>
                  <a:pt x="223199" y="254460"/>
                </a:moveTo>
                <a:lnTo>
                  <a:pt x="56201" y="9482"/>
                </a:lnTo>
                <a:lnTo>
                  <a:pt x="51950" y="9523"/>
                </a:lnTo>
                <a:lnTo>
                  <a:pt x="49972" y="17931"/>
                </a:lnTo>
                <a:lnTo>
                  <a:pt x="217170" y="262127"/>
                </a:lnTo>
                <a:lnTo>
                  <a:pt x="217932" y="263651"/>
                </a:lnTo>
                <a:lnTo>
                  <a:pt x="219456" y="264413"/>
                </a:lnTo>
                <a:lnTo>
                  <a:pt x="220980" y="263651"/>
                </a:lnTo>
                <a:lnTo>
                  <a:pt x="220980" y="254507"/>
                </a:lnTo>
                <a:lnTo>
                  <a:pt x="223199" y="254460"/>
                </a:lnTo>
                <a:close/>
              </a:path>
              <a:path w="311784" h="264795">
                <a:moveTo>
                  <a:pt x="52578" y="9517"/>
                </a:moveTo>
                <a:lnTo>
                  <a:pt x="52578" y="6857"/>
                </a:lnTo>
                <a:lnTo>
                  <a:pt x="51950" y="9523"/>
                </a:lnTo>
                <a:lnTo>
                  <a:pt x="52578" y="9517"/>
                </a:lnTo>
                <a:close/>
              </a:path>
              <a:path w="311784" h="264795">
                <a:moveTo>
                  <a:pt x="90678" y="9143"/>
                </a:moveTo>
                <a:lnTo>
                  <a:pt x="86868" y="6857"/>
                </a:lnTo>
                <a:lnTo>
                  <a:pt x="88454" y="9165"/>
                </a:lnTo>
                <a:lnTo>
                  <a:pt x="90678" y="9143"/>
                </a:lnTo>
                <a:close/>
              </a:path>
              <a:path w="311784" h="264795">
                <a:moveTo>
                  <a:pt x="88454" y="9165"/>
                </a:moveTo>
                <a:lnTo>
                  <a:pt x="86868" y="6857"/>
                </a:lnTo>
                <a:lnTo>
                  <a:pt x="86868" y="9181"/>
                </a:lnTo>
                <a:lnTo>
                  <a:pt x="88454" y="9165"/>
                </a:lnTo>
                <a:close/>
              </a:path>
              <a:path w="311784" h="264795">
                <a:moveTo>
                  <a:pt x="90678" y="12399"/>
                </a:moveTo>
                <a:lnTo>
                  <a:pt x="90678" y="9143"/>
                </a:lnTo>
                <a:lnTo>
                  <a:pt x="88454" y="9165"/>
                </a:lnTo>
                <a:lnTo>
                  <a:pt x="90678" y="12399"/>
                </a:lnTo>
                <a:close/>
              </a:path>
              <a:path w="311784" h="264795">
                <a:moveTo>
                  <a:pt x="224790" y="256793"/>
                </a:moveTo>
                <a:lnTo>
                  <a:pt x="223199" y="254460"/>
                </a:lnTo>
                <a:lnTo>
                  <a:pt x="220980" y="254507"/>
                </a:lnTo>
                <a:lnTo>
                  <a:pt x="224790" y="256793"/>
                </a:lnTo>
                <a:close/>
              </a:path>
              <a:path w="311784" h="264795">
                <a:moveTo>
                  <a:pt x="224790" y="263611"/>
                </a:moveTo>
                <a:lnTo>
                  <a:pt x="224790" y="256793"/>
                </a:lnTo>
                <a:lnTo>
                  <a:pt x="220980" y="254507"/>
                </a:lnTo>
                <a:lnTo>
                  <a:pt x="220980" y="263651"/>
                </a:lnTo>
                <a:lnTo>
                  <a:pt x="224790" y="263611"/>
                </a:lnTo>
                <a:close/>
              </a:path>
              <a:path w="311784" h="264795">
                <a:moveTo>
                  <a:pt x="291846" y="262889"/>
                </a:moveTo>
                <a:lnTo>
                  <a:pt x="291846" y="252983"/>
                </a:lnTo>
                <a:lnTo>
                  <a:pt x="287274" y="256031"/>
                </a:lnTo>
                <a:lnTo>
                  <a:pt x="287274" y="253082"/>
                </a:lnTo>
                <a:lnTo>
                  <a:pt x="223199" y="254460"/>
                </a:lnTo>
                <a:lnTo>
                  <a:pt x="224790" y="256793"/>
                </a:lnTo>
                <a:lnTo>
                  <a:pt x="224790" y="263611"/>
                </a:lnTo>
                <a:lnTo>
                  <a:pt x="287274" y="262939"/>
                </a:lnTo>
                <a:lnTo>
                  <a:pt x="287274" y="256031"/>
                </a:lnTo>
                <a:lnTo>
                  <a:pt x="288689" y="253051"/>
                </a:lnTo>
                <a:lnTo>
                  <a:pt x="288689" y="262923"/>
                </a:lnTo>
                <a:lnTo>
                  <a:pt x="291846" y="262889"/>
                </a:lnTo>
                <a:close/>
              </a:path>
              <a:path w="311784" h="264795">
                <a:moveTo>
                  <a:pt x="262128" y="245363"/>
                </a:moveTo>
                <a:lnTo>
                  <a:pt x="257993" y="239322"/>
                </a:lnTo>
                <a:lnTo>
                  <a:pt x="254508" y="245363"/>
                </a:lnTo>
                <a:lnTo>
                  <a:pt x="262128" y="245363"/>
                </a:lnTo>
                <a:close/>
              </a:path>
              <a:path w="311784" h="264795">
                <a:moveTo>
                  <a:pt x="262128" y="250697"/>
                </a:moveTo>
                <a:lnTo>
                  <a:pt x="262128" y="245363"/>
                </a:lnTo>
                <a:lnTo>
                  <a:pt x="254508" y="245363"/>
                </a:lnTo>
                <a:lnTo>
                  <a:pt x="254508" y="250697"/>
                </a:lnTo>
                <a:lnTo>
                  <a:pt x="255270" y="252221"/>
                </a:lnTo>
                <a:lnTo>
                  <a:pt x="256794" y="252983"/>
                </a:lnTo>
                <a:lnTo>
                  <a:pt x="259842" y="252983"/>
                </a:lnTo>
                <a:lnTo>
                  <a:pt x="261366" y="252221"/>
                </a:lnTo>
                <a:lnTo>
                  <a:pt x="262128" y="250697"/>
                </a:lnTo>
                <a:close/>
              </a:path>
              <a:path w="311784" h="264795">
                <a:moveTo>
                  <a:pt x="311658" y="228599"/>
                </a:moveTo>
                <a:lnTo>
                  <a:pt x="310896" y="226313"/>
                </a:lnTo>
                <a:lnTo>
                  <a:pt x="310134" y="225551"/>
                </a:lnTo>
                <a:lnTo>
                  <a:pt x="309372" y="224027"/>
                </a:lnTo>
                <a:lnTo>
                  <a:pt x="307848" y="223265"/>
                </a:lnTo>
                <a:lnTo>
                  <a:pt x="268224" y="223265"/>
                </a:lnTo>
                <a:lnTo>
                  <a:pt x="266700" y="224027"/>
                </a:lnTo>
                <a:lnTo>
                  <a:pt x="265938" y="225551"/>
                </a:lnTo>
                <a:lnTo>
                  <a:pt x="257993" y="239322"/>
                </a:lnTo>
                <a:lnTo>
                  <a:pt x="262128" y="245363"/>
                </a:lnTo>
                <a:lnTo>
                  <a:pt x="262128" y="250697"/>
                </a:lnTo>
                <a:lnTo>
                  <a:pt x="270510" y="236553"/>
                </a:lnTo>
                <a:lnTo>
                  <a:pt x="270510" y="232409"/>
                </a:lnTo>
                <a:lnTo>
                  <a:pt x="274320" y="230123"/>
                </a:lnTo>
                <a:lnTo>
                  <a:pt x="274320" y="232409"/>
                </a:lnTo>
                <a:lnTo>
                  <a:pt x="298494" y="232409"/>
                </a:lnTo>
                <a:lnTo>
                  <a:pt x="301752" y="225551"/>
                </a:lnTo>
                <a:lnTo>
                  <a:pt x="306324" y="232409"/>
                </a:lnTo>
                <a:lnTo>
                  <a:pt x="306324" y="239508"/>
                </a:lnTo>
                <a:lnTo>
                  <a:pt x="310896" y="230123"/>
                </a:lnTo>
                <a:lnTo>
                  <a:pt x="311658" y="228599"/>
                </a:lnTo>
                <a:close/>
              </a:path>
              <a:path w="311784" h="264795">
                <a:moveTo>
                  <a:pt x="274320" y="230123"/>
                </a:moveTo>
                <a:lnTo>
                  <a:pt x="270510" y="232409"/>
                </a:lnTo>
                <a:lnTo>
                  <a:pt x="272965" y="232409"/>
                </a:lnTo>
                <a:lnTo>
                  <a:pt x="274320" y="230123"/>
                </a:lnTo>
                <a:close/>
              </a:path>
              <a:path w="311784" h="264795">
                <a:moveTo>
                  <a:pt x="272965" y="232409"/>
                </a:moveTo>
                <a:lnTo>
                  <a:pt x="270510" y="232409"/>
                </a:lnTo>
                <a:lnTo>
                  <a:pt x="270510" y="236553"/>
                </a:lnTo>
                <a:lnTo>
                  <a:pt x="272965" y="232409"/>
                </a:lnTo>
                <a:close/>
              </a:path>
              <a:path w="311784" h="264795">
                <a:moveTo>
                  <a:pt x="274320" y="232409"/>
                </a:moveTo>
                <a:lnTo>
                  <a:pt x="274320" y="230123"/>
                </a:lnTo>
                <a:lnTo>
                  <a:pt x="272965" y="232409"/>
                </a:lnTo>
                <a:lnTo>
                  <a:pt x="274320" y="232409"/>
                </a:lnTo>
                <a:close/>
              </a:path>
              <a:path w="311784" h="264795">
                <a:moveTo>
                  <a:pt x="291846" y="252983"/>
                </a:moveTo>
                <a:lnTo>
                  <a:pt x="288689" y="253051"/>
                </a:lnTo>
                <a:lnTo>
                  <a:pt x="287274" y="256031"/>
                </a:lnTo>
                <a:lnTo>
                  <a:pt x="291846" y="252983"/>
                </a:lnTo>
                <a:close/>
              </a:path>
              <a:path w="311784" h="264795">
                <a:moveTo>
                  <a:pt x="306324" y="239508"/>
                </a:moveTo>
                <a:lnTo>
                  <a:pt x="306324" y="232409"/>
                </a:lnTo>
                <a:lnTo>
                  <a:pt x="298494" y="232409"/>
                </a:lnTo>
                <a:lnTo>
                  <a:pt x="288689" y="253051"/>
                </a:lnTo>
                <a:lnTo>
                  <a:pt x="291846" y="252983"/>
                </a:lnTo>
                <a:lnTo>
                  <a:pt x="291846" y="262889"/>
                </a:lnTo>
                <a:lnTo>
                  <a:pt x="294132" y="262889"/>
                </a:lnTo>
                <a:lnTo>
                  <a:pt x="295656" y="261365"/>
                </a:lnTo>
                <a:lnTo>
                  <a:pt x="296418" y="259841"/>
                </a:lnTo>
                <a:lnTo>
                  <a:pt x="306324" y="239508"/>
                </a:lnTo>
                <a:close/>
              </a:path>
              <a:path w="311784" h="264795">
                <a:moveTo>
                  <a:pt x="306324" y="232409"/>
                </a:moveTo>
                <a:lnTo>
                  <a:pt x="301752" y="225551"/>
                </a:lnTo>
                <a:lnTo>
                  <a:pt x="298494" y="232409"/>
                </a:lnTo>
                <a:lnTo>
                  <a:pt x="306324" y="2324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4995116" y="1533616"/>
            <a:ext cx="283655" cy="88775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4991217" y="1531029"/>
            <a:ext cx="291170" cy="93479"/>
          </a:xfrm>
          <a:custGeom>
            <a:avLst/>
            <a:gdLst/>
            <a:ahLst/>
            <a:cxnLst/>
            <a:rect l="l" t="t" r="r" b="b"/>
            <a:pathLst>
              <a:path w="398145" h="201929">
                <a:moveTo>
                  <a:pt x="397763" y="198120"/>
                </a:moveTo>
                <a:lnTo>
                  <a:pt x="397763" y="195834"/>
                </a:lnTo>
                <a:lnTo>
                  <a:pt x="397001" y="194310"/>
                </a:lnTo>
                <a:lnTo>
                  <a:pt x="260603" y="2286"/>
                </a:lnTo>
                <a:lnTo>
                  <a:pt x="259841" y="762"/>
                </a:lnTo>
                <a:lnTo>
                  <a:pt x="258317" y="0"/>
                </a:lnTo>
                <a:lnTo>
                  <a:pt x="3809" y="762"/>
                </a:lnTo>
                <a:lnTo>
                  <a:pt x="1523" y="1524"/>
                </a:lnTo>
                <a:lnTo>
                  <a:pt x="0" y="4572"/>
                </a:lnTo>
                <a:lnTo>
                  <a:pt x="0" y="6858"/>
                </a:lnTo>
                <a:lnTo>
                  <a:pt x="1523" y="8382"/>
                </a:lnTo>
                <a:lnTo>
                  <a:pt x="5333" y="13974"/>
                </a:lnTo>
                <a:lnTo>
                  <a:pt x="5333" y="9906"/>
                </a:lnTo>
                <a:lnTo>
                  <a:pt x="9143" y="3048"/>
                </a:lnTo>
                <a:lnTo>
                  <a:pt x="13816" y="9906"/>
                </a:lnTo>
                <a:lnTo>
                  <a:pt x="252983" y="9906"/>
                </a:lnTo>
                <a:lnTo>
                  <a:pt x="252983" y="7620"/>
                </a:lnTo>
                <a:lnTo>
                  <a:pt x="256793" y="9906"/>
                </a:lnTo>
                <a:lnTo>
                  <a:pt x="256793" y="13005"/>
                </a:lnTo>
                <a:lnTo>
                  <a:pt x="383990" y="192786"/>
                </a:lnTo>
                <a:lnTo>
                  <a:pt x="393191" y="192786"/>
                </a:lnTo>
                <a:lnTo>
                  <a:pt x="393191" y="201930"/>
                </a:lnTo>
                <a:lnTo>
                  <a:pt x="394715" y="201930"/>
                </a:lnTo>
                <a:lnTo>
                  <a:pt x="396239" y="201168"/>
                </a:lnTo>
                <a:lnTo>
                  <a:pt x="397763" y="198120"/>
                </a:lnTo>
                <a:close/>
              </a:path>
              <a:path w="398145" h="201929">
                <a:moveTo>
                  <a:pt x="13816" y="9906"/>
                </a:moveTo>
                <a:lnTo>
                  <a:pt x="9143" y="3048"/>
                </a:lnTo>
                <a:lnTo>
                  <a:pt x="5333" y="9906"/>
                </a:lnTo>
                <a:lnTo>
                  <a:pt x="13816" y="9906"/>
                </a:lnTo>
                <a:close/>
              </a:path>
              <a:path w="398145" h="201929">
                <a:moveTo>
                  <a:pt x="138407" y="192786"/>
                </a:moveTo>
                <a:lnTo>
                  <a:pt x="13816" y="9906"/>
                </a:lnTo>
                <a:lnTo>
                  <a:pt x="5333" y="9906"/>
                </a:lnTo>
                <a:lnTo>
                  <a:pt x="5333" y="13974"/>
                </a:lnTo>
                <a:lnTo>
                  <a:pt x="131825" y="199644"/>
                </a:lnTo>
                <a:lnTo>
                  <a:pt x="132587" y="201168"/>
                </a:lnTo>
                <a:lnTo>
                  <a:pt x="134111" y="201930"/>
                </a:lnTo>
                <a:lnTo>
                  <a:pt x="135635" y="201930"/>
                </a:lnTo>
                <a:lnTo>
                  <a:pt x="135635" y="192786"/>
                </a:lnTo>
                <a:lnTo>
                  <a:pt x="138407" y="192786"/>
                </a:lnTo>
                <a:close/>
              </a:path>
              <a:path w="398145" h="201929">
                <a:moveTo>
                  <a:pt x="139445" y="194310"/>
                </a:moveTo>
                <a:lnTo>
                  <a:pt x="138407" y="192786"/>
                </a:lnTo>
                <a:lnTo>
                  <a:pt x="135635" y="192786"/>
                </a:lnTo>
                <a:lnTo>
                  <a:pt x="139445" y="194310"/>
                </a:lnTo>
                <a:close/>
              </a:path>
              <a:path w="398145" h="201929">
                <a:moveTo>
                  <a:pt x="139445" y="201930"/>
                </a:moveTo>
                <a:lnTo>
                  <a:pt x="139445" y="194310"/>
                </a:lnTo>
                <a:lnTo>
                  <a:pt x="135635" y="192786"/>
                </a:lnTo>
                <a:lnTo>
                  <a:pt x="135635" y="201930"/>
                </a:lnTo>
                <a:lnTo>
                  <a:pt x="139445" y="201930"/>
                </a:lnTo>
                <a:close/>
              </a:path>
              <a:path w="398145" h="201929">
                <a:moveTo>
                  <a:pt x="393191" y="201930"/>
                </a:moveTo>
                <a:lnTo>
                  <a:pt x="393191" y="192786"/>
                </a:lnTo>
                <a:lnTo>
                  <a:pt x="389381" y="200406"/>
                </a:lnTo>
                <a:lnTo>
                  <a:pt x="383990" y="192786"/>
                </a:lnTo>
                <a:lnTo>
                  <a:pt x="138407" y="192786"/>
                </a:lnTo>
                <a:lnTo>
                  <a:pt x="139445" y="194310"/>
                </a:lnTo>
                <a:lnTo>
                  <a:pt x="139445" y="201930"/>
                </a:lnTo>
                <a:lnTo>
                  <a:pt x="393191" y="201930"/>
                </a:lnTo>
                <a:close/>
              </a:path>
              <a:path w="398145" h="201929">
                <a:moveTo>
                  <a:pt x="256793" y="9906"/>
                </a:moveTo>
                <a:lnTo>
                  <a:pt x="252983" y="7620"/>
                </a:lnTo>
                <a:lnTo>
                  <a:pt x="254601" y="9906"/>
                </a:lnTo>
                <a:lnTo>
                  <a:pt x="256793" y="9906"/>
                </a:lnTo>
                <a:close/>
              </a:path>
              <a:path w="398145" h="201929">
                <a:moveTo>
                  <a:pt x="254601" y="9906"/>
                </a:moveTo>
                <a:lnTo>
                  <a:pt x="252983" y="7620"/>
                </a:lnTo>
                <a:lnTo>
                  <a:pt x="252983" y="9906"/>
                </a:lnTo>
                <a:lnTo>
                  <a:pt x="254601" y="9906"/>
                </a:lnTo>
                <a:close/>
              </a:path>
              <a:path w="398145" h="201929">
                <a:moveTo>
                  <a:pt x="256793" y="13005"/>
                </a:moveTo>
                <a:lnTo>
                  <a:pt x="256793" y="9906"/>
                </a:lnTo>
                <a:lnTo>
                  <a:pt x="254601" y="9906"/>
                </a:lnTo>
                <a:lnTo>
                  <a:pt x="256793" y="13005"/>
                </a:lnTo>
                <a:close/>
              </a:path>
              <a:path w="398145" h="201929">
                <a:moveTo>
                  <a:pt x="393191" y="192786"/>
                </a:moveTo>
                <a:lnTo>
                  <a:pt x="383990" y="192786"/>
                </a:lnTo>
                <a:lnTo>
                  <a:pt x="389381" y="200406"/>
                </a:lnTo>
                <a:lnTo>
                  <a:pt x="393191" y="19278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5387986" y="1519859"/>
            <a:ext cx="188364" cy="116995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5352322" y="1516920"/>
            <a:ext cx="228014" cy="122580"/>
          </a:xfrm>
          <a:custGeom>
            <a:avLst/>
            <a:gdLst/>
            <a:ahLst/>
            <a:cxnLst/>
            <a:rect l="l" t="t" r="r" b="b"/>
            <a:pathLst>
              <a:path w="311784" h="264795">
                <a:moveTo>
                  <a:pt x="258467" y="238930"/>
                </a:moveTo>
                <a:lnTo>
                  <a:pt x="95249" y="1523"/>
                </a:lnTo>
                <a:lnTo>
                  <a:pt x="94487" y="761"/>
                </a:lnTo>
                <a:lnTo>
                  <a:pt x="92963" y="0"/>
                </a:lnTo>
                <a:lnTo>
                  <a:pt x="17525" y="717"/>
                </a:lnTo>
                <a:lnTo>
                  <a:pt x="10667" y="761"/>
                </a:lnTo>
                <a:lnTo>
                  <a:pt x="9143" y="2285"/>
                </a:lnTo>
                <a:lnTo>
                  <a:pt x="8381" y="3809"/>
                </a:lnTo>
                <a:lnTo>
                  <a:pt x="761" y="30479"/>
                </a:lnTo>
                <a:lnTo>
                  <a:pt x="0" y="32003"/>
                </a:lnTo>
                <a:lnTo>
                  <a:pt x="761" y="33527"/>
                </a:lnTo>
                <a:lnTo>
                  <a:pt x="1523" y="34289"/>
                </a:lnTo>
                <a:lnTo>
                  <a:pt x="2285" y="35813"/>
                </a:lnTo>
                <a:lnTo>
                  <a:pt x="3809" y="36575"/>
                </a:lnTo>
                <a:lnTo>
                  <a:pt x="5333" y="36575"/>
                </a:lnTo>
                <a:lnTo>
                  <a:pt x="5333" y="26669"/>
                </a:lnTo>
                <a:lnTo>
                  <a:pt x="11698" y="26669"/>
                </a:lnTo>
                <a:lnTo>
                  <a:pt x="12953" y="22402"/>
                </a:lnTo>
                <a:lnTo>
                  <a:pt x="12953" y="9905"/>
                </a:lnTo>
                <a:lnTo>
                  <a:pt x="17525" y="6857"/>
                </a:lnTo>
                <a:lnTo>
                  <a:pt x="17525" y="9861"/>
                </a:lnTo>
                <a:lnTo>
                  <a:pt x="42245" y="9621"/>
                </a:lnTo>
                <a:lnTo>
                  <a:pt x="43433" y="4571"/>
                </a:lnTo>
                <a:lnTo>
                  <a:pt x="43433" y="3047"/>
                </a:lnTo>
                <a:lnTo>
                  <a:pt x="44957" y="1523"/>
                </a:lnTo>
                <a:lnTo>
                  <a:pt x="47243" y="761"/>
                </a:lnTo>
                <a:lnTo>
                  <a:pt x="48767" y="761"/>
                </a:lnTo>
                <a:lnTo>
                  <a:pt x="51053" y="1523"/>
                </a:lnTo>
                <a:lnTo>
                  <a:pt x="51815" y="3047"/>
                </a:lnTo>
                <a:lnTo>
                  <a:pt x="56223" y="9485"/>
                </a:lnTo>
                <a:lnTo>
                  <a:pt x="87629" y="9180"/>
                </a:lnTo>
                <a:lnTo>
                  <a:pt x="87629" y="6857"/>
                </a:lnTo>
                <a:lnTo>
                  <a:pt x="91439" y="9143"/>
                </a:lnTo>
                <a:lnTo>
                  <a:pt x="91439" y="12425"/>
                </a:lnTo>
                <a:lnTo>
                  <a:pt x="254507" y="250697"/>
                </a:lnTo>
                <a:lnTo>
                  <a:pt x="254507" y="245363"/>
                </a:lnTo>
                <a:lnTo>
                  <a:pt x="258467" y="238930"/>
                </a:lnTo>
                <a:close/>
              </a:path>
              <a:path w="311784" h="264795">
                <a:moveTo>
                  <a:pt x="11698" y="26669"/>
                </a:moveTo>
                <a:lnTo>
                  <a:pt x="5333" y="26669"/>
                </a:lnTo>
                <a:lnTo>
                  <a:pt x="9905" y="32765"/>
                </a:lnTo>
                <a:lnTo>
                  <a:pt x="11698" y="26669"/>
                </a:lnTo>
                <a:close/>
              </a:path>
              <a:path w="311784" h="264795">
                <a:moveTo>
                  <a:pt x="38234" y="26669"/>
                </a:moveTo>
                <a:lnTo>
                  <a:pt x="11698" y="26669"/>
                </a:lnTo>
                <a:lnTo>
                  <a:pt x="9905" y="32765"/>
                </a:lnTo>
                <a:lnTo>
                  <a:pt x="5333" y="26669"/>
                </a:lnTo>
                <a:lnTo>
                  <a:pt x="5333" y="36575"/>
                </a:lnTo>
                <a:lnTo>
                  <a:pt x="37337" y="36575"/>
                </a:lnTo>
                <a:lnTo>
                  <a:pt x="37337" y="30479"/>
                </a:lnTo>
                <a:lnTo>
                  <a:pt x="38234" y="26669"/>
                </a:lnTo>
                <a:close/>
              </a:path>
              <a:path w="311784" h="264795">
                <a:moveTo>
                  <a:pt x="17525" y="6857"/>
                </a:moveTo>
                <a:lnTo>
                  <a:pt x="12953" y="9905"/>
                </a:lnTo>
                <a:lnTo>
                  <a:pt x="16640" y="9870"/>
                </a:lnTo>
                <a:lnTo>
                  <a:pt x="17525" y="6857"/>
                </a:lnTo>
                <a:close/>
              </a:path>
              <a:path w="311784" h="264795">
                <a:moveTo>
                  <a:pt x="16640" y="9870"/>
                </a:moveTo>
                <a:lnTo>
                  <a:pt x="12953" y="9905"/>
                </a:lnTo>
                <a:lnTo>
                  <a:pt x="12953" y="22402"/>
                </a:lnTo>
                <a:lnTo>
                  <a:pt x="16640" y="9870"/>
                </a:lnTo>
                <a:close/>
              </a:path>
              <a:path w="311784" h="264795">
                <a:moveTo>
                  <a:pt x="17525" y="9861"/>
                </a:moveTo>
                <a:lnTo>
                  <a:pt x="17525" y="6857"/>
                </a:lnTo>
                <a:lnTo>
                  <a:pt x="16640" y="9870"/>
                </a:lnTo>
                <a:lnTo>
                  <a:pt x="17525" y="9861"/>
                </a:lnTo>
                <a:close/>
              </a:path>
              <a:path w="311784" h="264795">
                <a:moveTo>
                  <a:pt x="41909" y="26669"/>
                </a:moveTo>
                <a:lnTo>
                  <a:pt x="38234" y="26669"/>
                </a:lnTo>
                <a:lnTo>
                  <a:pt x="37337" y="30479"/>
                </a:lnTo>
                <a:lnTo>
                  <a:pt x="41909" y="26669"/>
                </a:lnTo>
                <a:close/>
              </a:path>
              <a:path w="311784" h="264795">
                <a:moveTo>
                  <a:pt x="41909" y="36575"/>
                </a:moveTo>
                <a:lnTo>
                  <a:pt x="41909" y="26669"/>
                </a:lnTo>
                <a:lnTo>
                  <a:pt x="37337" y="30479"/>
                </a:lnTo>
                <a:lnTo>
                  <a:pt x="37337" y="36575"/>
                </a:lnTo>
                <a:lnTo>
                  <a:pt x="41909" y="36575"/>
                </a:lnTo>
                <a:close/>
              </a:path>
              <a:path w="311784" h="264795">
                <a:moveTo>
                  <a:pt x="50160" y="17131"/>
                </a:moveTo>
                <a:lnTo>
                  <a:pt x="45022" y="9594"/>
                </a:lnTo>
                <a:lnTo>
                  <a:pt x="42245" y="9621"/>
                </a:lnTo>
                <a:lnTo>
                  <a:pt x="38234" y="26669"/>
                </a:lnTo>
                <a:lnTo>
                  <a:pt x="41909" y="26669"/>
                </a:lnTo>
                <a:lnTo>
                  <a:pt x="41909" y="36575"/>
                </a:lnTo>
                <a:lnTo>
                  <a:pt x="44195" y="36575"/>
                </a:lnTo>
                <a:lnTo>
                  <a:pt x="46481" y="35051"/>
                </a:lnTo>
                <a:lnTo>
                  <a:pt x="46481" y="32765"/>
                </a:lnTo>
                <a:lnTo>
                  <a:pt x="50160" y="17131"/>
                </a:lnTo>
                <a:close/>
              </a:path>
              <a:path w="311784" h="264795">
                <a:moveTo>
                  <a:pt x="56223" y="9485"/>
                </a:moveTo>
                <a:lnTo>
                  <a:pt x="51815" y="3047"/>
                </a:lnTo>
                <a:lnTo>
                  <a:pt x="51053" y="1523"/>
                </a:lnTo>
                <a:lnTo>
                  <a:pt x="48767" y="761"/>
                </a:lnTo>
                <a:lnTo>
                  <a:pt x="47243" y="761"/>
                </a:lnTo>
                <a:lnTo>
                  <a:pt x="44957" y="1523"/>
                </a:lnTo>
                <a:lnTo>
                  <a:pt x="43433" y="3047"/>
                </a:lnTo>
                <a:lnTo>
                  <a:pt x="43433" y="4571"/>
                </a:lnTo>
                <a:lnTo>
                  <a:pt x="42245" y="9621"/>
                </a:lnTo>
                <a:lnTo>
                  <a:pt x="44195" y="9602"/>
                </a:lnTo>
                <a:lnTo>
                  <a:pt x="44195" y="8381"/>
                </a:lnTo>
                <a:lnTo>
                  <a:pt x="52577" y="6857"/>
                </a:lnTo>
                <a:lnTo>
                  <a:pt x="52577" y="9521"/>
                </a:lnTo>
                <a:lnTo>
                  <a:pt x="56223" y="9485"/>
                </a:lnTo>
                <a:close/>
              </a:path>
              <a:path w="311784" h="264795">
                <a:moveTo>
                  <a:pt x="52577" y="6857"/>
                </a:moveTo>
                <a:lnTo>
                  <a:pt x="44195" y="8381"/>
                </a:lnTo>
                <a:lnTo>
                  <a:pt x="44957" y="9499"/>
                </a:lnTo>
                <a:lnTo>
                  <a:pt x="51949" y="9527"/>
                </a:lnTo>
                <a:lnTo>
                  <a:pt x="52577" y="6857"/>
                </a:lnTo>
                <a:close/>
              </a:path>
              <a:path w="311784" h="264795">
                <a:moveTo>
                  <a:pt x="45022" y="9594"/>
                </a:moveTo>
                <a:lnTo>
                  <a:pt x="44195" y="8381"/>
                </a:lnTo>
                <a:lnTo>
                  <a:pt x="44195" y="9602"/>
                </a:lnTo>
                <a:lnTo>
                  <a:pt x="45022" y="9594"/>
                </a:lnTo>
                <a:close/>
              </a:path>
              <a:path w="311784" h="264795">
                <a:moveTo>
                  <a:pt x="51949" y="9527"/>
                </a:moveTo>
                <a:lnTo>
                  <a:pt x="45022" y="9594"/>
                </a:lnTo>
                <a:lnTo>
                  <a:pt x="50160" y="17131"/>
                </a:lnTo>
                <a:lnTo>
                  <a:pt x="51949" y="9527"/>
                </a:lnTo>
                <a:close/>
              </a:path>
              <a:path w="311784" h="264795">
                <a:moveTo>
                  <a:pt x="223943" y="254444"/>
                </a:moveTo>
                <a:lnTo>
                  <a:pt x="56223" y="9485"/>
                </a:lnTo>
                <a:lnTo>
                  <a:pt x="51949" y="9527"/>
                </a:lnTo>
                <a:lnTo>
                  <a:pt x="50160" y="17131"/>
                </a:lnTo>
                <a:lnTo>
                  <a:pt x="217169" y="262127"/>
                </a:lnTo>
                <a:lnTo>
                  <a:pt x="218693" y="263651"/>
                </a:lnTo>
                <a:lnTo>
                  <a:pt x="220217" y="264413"/>
                </a:lnTo>
                <a:lnTo>
                  <a:pt x="220979" y="264032"/>
                </a:lnTo>
                <a:lnTo>
                  <a:pt x="220979" y="254507"/>
                </a:lnTo>
                <a:lnTo>
                  <a:pt x="223943" y="254444"/>
                </a:lnTo>
                <a:close/>
              </a:path>
              <a:path w="311784" h="264795">
                <a:moveTo>
                  <a:pt x="52577" y="9521"/>
                </a:moveTo>
                <a:lnTo>
                  <a:pt x="52577" y="6857"/>
                </a:lnTo>
                <a:lnTo>
                  <a:pt x="51949" y="9527"/>
                </a:lnTo>
                <a:lnTo>
                  <a:pt x="52577" y="9521"/>
                </a:lnTo>
                <a:close/>
              </a:path>
              <a:path w="311784" h="264795">
                <a:moveTo>
                  <a:pt x="91439" y="9143"/>
                </a:moveTo>
                <a:lnTo>
                  <a:pt x="87629" y="6857"/>
                </a:lnTo>
                <a:lnTo>
                  <a:pt x="89209" y="9165"/>
                </a:lnTo>
                <a:lnTo>
                  <a:pt x="91439" y="9143"/>
                </a:lnTo>
                <a:close/>
              </a:path>
              <a:path w="311784" h="264795">
                <a:moveTo>
                  <a:pt x="89209" y="9165"/>
                </a:moveTo>
                <a:lnTo>
                  <a:pt x="87629" y="6857"/>
                </a:lnTo>
                <a:lnTo>
                  <a:pt x="87629" y="9180"/>
                </a:lnTo>
                <a:lnTo>
                  <a:pt x="89209" y="9165"/>
                </a:lnTo>
                <a:close/>
              </a:path>
              <a:path w="311784" h="264795">
                <a:moveTo>
                  <a:pt x="91439" y="12425"/>
                </a:moveTo>
                <a:lnTo>
                  <a:pt x="91439" y="9143"/>
                </a:lnTo>
                <a:lnTo>
                  <a:pt x="89209" y="9165"/>
                </a:lnTo>
                <a:lnTo>
                  <a:pt x="91439" y="12425"/>
                </a:lnTo>
                <a:close/>
              </a:path>
              <a:path w="311784" h="264795">
                <a:moveTo>
                  <a:pt x="225551" y="256793"/>
                </a:moveTo>
                <a:lnTo>
                  <a:pt x="223943" y="254444"/>
                </a:lnTo>
                <a:lnTo>
                  <a:pt x="220979" y="254507"/>
                </a:lnTo>
                <a:lnTo>
                  <a:pt x="225551" y="256793"/>
                </a:lnTo>
                <a:close/>
              </a:path>
              <a:path w="311784" h="264795">
                <a:moveTo>
                  <a:pt x="225551" y="263611"/>
                </a:moveTo>
                <a:lnTo>
                  <a:pt x="225551" y="256793"/>
                </a:lnTo>
                <a:lnTo>
                  <a:pt x="220979" y="254507"/>
                </a:lnTo>
                <a:lnTo>
                  <a:pt x="220979" y="264032"/>
                </a:lnTo>
                <a:lnTo>
                  <a:pt x="221741" y="263651"/>
                </a:lnTo>
                <a:lnTo>
                  <a:pt x="225551" y="263611"/>
                </a:lnTo>
                <a:close/>
              </a:path>
              <a:path w="311784" h="264795">
                <a:moveTo>
                  <a:pt x="291845" y="262898"/>
                </a:moveTo>
                <a:lnTo>
                  <a:pt x="291845" y="252983"/>
                </a:lnTo>
                <a:lnTo>
                  <a:pt x="288035" y="256031"/>
                </a:lnTo>
                <a:lnTo>
                  <a:pt x="288035" y="253065"/>
                </a:lnTo>
                <a:lnTo>
                  <a:pt x="223943" y="254444"/>
                </a:lnTo>
                <a:lnTo>
                  <a:pt x="225551" y="256793"/>
                </a:lnTo>
                <a:lnTo>
                  <a:pt x="225551" y="263611"/>
                </a:lnTo>
                <a:lnTo>
                  <a:pt x="288035" y="262939"/>
                </a:lnTo>
                <a:lnTo>
                  <a:pt x="288035" y="256031"/>
                </a:lnTo>
                <a:lnTo>
                  <a:pt x="289459" y="253035"/>
                </a:lnTo>
                <a:lnTo>
                  <a:pt x="289459" y="262923"/>
                </a:lnTo>
                <a:lnTo>
                  <a:pt x="291845" y="262898"/>
                </a:lnTo>
                <a:close/>
              </a:path>
              <a:path w="311784" h="264795">
                <a:moveTo>
                  <a:pt x="262889" y="245363"/>
                </a:moveTo>
                <a:lnTo>
                  <a:pt x="258467" y="238930"/>
                </a:lnTo>
                <a:lnTo>
                  <a:pt x="254507" y="245363"/>
                </a:lnTo>
                <a:lnTo>
                  <a:pt x="262889" y="245363"/>
                </a:lnTo>
                <a:close/>
              </a:path>
              <a:path w="311784" h="264795">
                <a:moveTo>
                  <a:pt x="262889" y="250697"/>
                </a:moveTo>
                <a:lnTo>
                  <a:pt x="262889" y="245363"/>
                </a:lnTo>
                <a:lnTo>
                  <a:pt x="254507" y="245363"/>
                </a:lnTo>
                <a:lnTo>
                  <a:pt x="254507" y="250697"/>
                </a:lnTo>
                <a:lnTo>
                  <a:pt x="255269" y="252221"/>
                </a:lnTo>
                <a:lnTo>
                  <a:pt x="257555" y="252983"/>
                </a:lnTo>
                <a:lnTo>
                  <a:pt x="260603" y="252983"/>
                </a:lnTo>
                <a:lnTo>
                  <a:pt x="262127" y="252221"/>
                </a:lnTo>
                <a:lnTo>
                  <a:pt x="262889" y="250697"/>
                </a:lnTo>
                <a:close/>
              </a:path>
              <a:path w="311784" h="264795">
                <a:moveTo>
                  <a:pt x="311657" y="228599"/>
                </a:moveTo>
                <a:lnTo>
                  <a:pt x="311657" y="226313"/>
                </a:lnTo>
                <a:lnTo>
                  <a:pt x="309371" y="224027"/>
                </a:lnTo>
                <a:lnTo>
                  <a:pt x="307847" y="223265"/>
                </a:lnTo>
                <a:lnTo>
                  <a:pt x="268985" y="223265"/>
                </a:lnTo>
                <a:lnTo>
                  <a:pt x="267461" y="224027"/>
                </a:lnTo>
                <a:lnTo>
                  <a:pt x="266699" y="225551"/>
                </a:lnTo>
                <a:lnTo>
                  <a:pt x="258467" y="238930"/>
                </a:lnTo>
                <a:lnTo>
                  <a:pt x="262889" y="245363"/>
                </a:lnTo>
                <a:lnTo>
                  <a:pt x="262889" y="250697"/>
                </a:lnTo>
                <a:lnTo>
                  <a:pt x="270509" y="236981"/>
                </a:lnTo>
                <a:lnTo>
                  <a:pt x="270509" y="232409"/>
                </a:lnTo>
                <a:lnTo>
                  <a:pt x="274319" y="230123"/>
                </a:lnTo>
                <a:lnTo>
                  <a:pt x="274319" y="232409"/>
                </a:lnTo>
                <a:lnTo>
                  <a:pt x="299256" y="232409"/>
                </a:lnTo>
                <a:lnTo>
                  <a:pt x="302513" y="225551"/>
                </a:lnTo>
                <a:lnTo>
                  <a:pt x="306323" y="232409"/>
                </a:lnTo>
                <a:lnTo>
                  <a:pt x="306323" y="239508"/>
                </a:lnTo>
                <a:lnTo>
                  <a:pt x="310895" y="230123"/>
                </a:lnTo>
                <a:lnTo>
                  <a:pt x="311657" y="228599"/>
                </a:lnTo>
                <a:close/>
              </a:path>
              <a:path w="311784" h="264795">
                <a:moveTo>
                  <a:pt x="274319" y="230123"/>
                </a:moveTo>
                <a:lnTo>
                  <a:pt x="270509" y="232409"/>
                </a:lnTo>
                <a:lnTo>
                  <a:pt x="273049" y="232409"/>
                </a:lnTo>
                <a:lnTo>
                  <a:pt x="274319" y="230123"/>
                </a:lnTo>
                <a:close/>
              </a:path>
              <a:path w="311784" h="264795">
                <a:moveTo>
                  <a:pt x="273049" y="232409"/>
                </a:moveTo>
                <a:lnTo>
                  <a:pt x="270509" y="232409"/>
                </a:lnTo>
                <a:lnTo>
                  <a:pt x="270509" y="236981"/>
                </a:lnTo>
                <a:lnTo>
                  <a:pt x="273049" y="232409"/>
                </a:lnTo>
                <a:close/>
              </a:path>
              <a:path w="311784" h="264795">
                <a:moveTo>
                  <a:pt x="274319" y="232409"/>
                </a:moveTo>
                <a:lnTo>
                  <a:pt x="274319" y="230123"/>
                </a:lnTo>
                <a:lnTo>
                  <a:pt x="273049" y="232409"/>
                </a:lnTo>
                <a:lnTo>
                  <a:pt x="274319" y="232409"/>
                </a:lnTo>
                <a:close/>
              </a:path>
              <a:path w="311784" h="264795">
                <a:moveTo>
                  <a:pt x="291845" y="252983"/>
                </a:moveTo>
                <a:lnTo>
                  <a:pt x="289459" y="253035"/>
                </a:lnTo>
                <a:lnTo>
                  <a:pt x="288035" y="256031"/>
                </a:lnTo>
                <a:lnTo>
                  <a:pt x="291845" y="252983"/>
                </a:lnTo>
                <a:close/>
              </a:path>
              <a:path w="311784" h="264795">
                <a:moveTo>
                  <a:pt x="306323" y="239508"/>
                </a:moveTo>
                <a:lnTo>
                  <a:pt x="306323" y="232409"/>
                </a:lnTo>
                <a:lnTo>
                  <a:pt x="299256" y="232409"/>
                </a:lnTo>
                <a:lnTo>
                  <a:pt x="289459" y="253035"/>
                </a:lnTo>
                <a:lnTo>
                  <a:pt x="291845" y="252983"/>
                </a:lnTo>
                <a:lnTo>
                  <a:pt x="291845" y="262898"/>
                </a:lnTo>
                <a:lnTo>
                  <a:pt x="294131" y="262889"/>
                </a:lnTo>
                <a:lnTo>
                  <a:pt x="295655" y="261365"/>
                </a:lnTo>
                <a:lnTo>
                  <a:pt x="296417" y="259841"/>
                </a:lnTo>
                <a:lnTo>
                  <a:pt x="306323" y="239508"/>
                </a:lnTo>
                <a:close/>
              </a:path>
              <a:path w="311784" h="264795">
                <a:moveTo>
                  <a:pt x="306323" y="232409"/>
                </a:moveTo>
                <a:lnTo>
                  <a:pt x="302513" y="225551"/>
                </a:lnTo>
                <a:lnTo>
                  <a:pt x="299256" y="232409"/>
                </a:lnTo>
                <a:lnTo>
                  <a:pt x="306323" y="2324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5215235" y="1533616"/>
            <a:ext cx="283655" cy="88775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5211893" y="1531029"/>
            <a:ext cx="291170" cy="93479"/>
          </a:xfrm>
          <a:custGeom>
            <a:avLst/>
            <a:gdLst/>
            <a:ahLst/>
            <a:cxnLst/>
            <a:rect l="l" t="t" r="r" b="b"/>
            <a:pathLst>
              <a:path w="398145" h="201929">
                <a:moveTo>
                  <a:pt x="397764" y="197358"/>
                </a:moveTo>
                <a:lnTo>
                  <a:pt x="397764" y="195834"/>
                </a:lnTo>
                <a:lnTo>
                  <a:pt x="396240" y="194310"/>
                </a:lnTo>
                <a:lnTo>
                  <a:pt x="259842" y="2286"/>
                </a:lnTo>
                <a:lnTo>
                  <a:pt x="259080" y="762"/>
                </a:lnTo>
                <a:lnTo>
                  <a:pt x="257556" y="0"/>
                </a:lnTo>
                <a:lnTo>
                  <a:pt x="3048" y="0"/>
                </a:lnTo>
                <a:lnTo>
                  <a:pt x="1524" y="1524"/>
                </a:lnTo>
                <a:lnTo>
                  <a:pt x="0" y="4572"/>
                </a:lnTo>
                <a:lnTo>
                  <a:pt x="0" y="6096"/>
                </a:lnTo>
                <a:lnTo>
                  <a:pt x="762" y="7620"/>
                </a:lnTo>
                <a:lnTo>
                  <a:pt x="4572" y="13234"/>
                </a:lnTo>
                <a:lnTo>
                  <a:pt x="4572" y="9906"/>
                </a:lnTo>
                <a:lnTo>
                  <a:pt x="8382" y="2286"/>
                </a:lnTo>
                <a:lnTo>
                  <a:pt x="13582" y="9906"/>
                </a:lnTo>
                <a:lnTo>
                  <a:pt x="252222" y="9906"/>
                </a:lnTo>
                <a:lnTo>
                  <a:pt x="252222" y="7620"/>
                </a:lnTo>
                <a:lnTo>
                  <a:pt x="256032" y="9906"/>
                </a:lnTo>
                <a:lnTo>
                  <a:pt x="256032" y="12983"/>
                </a:lnTo>
                <a:lnTo>
                  <a:pt x="383207" y="192024"/>
                </a:lnTo>
                <a:lnTo>
                  <a:pt x="392430" y="192024"/>
                </a:lnTo>
                <a:lnTo>
                  <a:pt x="392430" y="201930"/>
                </a:lnTo>
                <a:lnTo>
                  <a:pt x="394716" y="201930"/>
                </a:lnTo>
                <a:lnTo>
                  <a:pt x="396240" y="200406"/>
                </a:lnTo>
                <a:lnTo>
                  <a:pt x="397764" y="197358"/>
                </a:lnTo>
                <a:close/>
              </a:path>
              <a:path w="398145" h="201929">
                <a:moveTo>
                  <a:pt x="13582" y="9906"/>
                </a:moveTo>
                <a:lnTo>
                  <a:pt x="8382" y="2286"/>
                </a:lnTo>
                <a:lnTo>
                  <a:pt x="4572" y="9906"/>
                </a:lnTo>
                <a:lnTo>
                  <a:pt x="13582" y="9906"/>
                </a:lnTo>
                <a:close/>
              </a:path>
              <a:path w="398145" h="201929">
                <a:moveTo>
                  <a:pt x="137885" y="192024"/>
                </a:moveTo>
                <a:lnTo>
                  <a:pt x="13582" y="9906"/>
                </a:lnTo>
                <a:lnTo>
                  <a:pt x="4572" y="9906"/>
                </a:lnTo>
                <a:lnTo>
                  <a:pt x="4572" y="13234"/>
                </a:lnTo>
                <a:lnTo>
                  <a:pt x="131064" y="199644"/>
                </a:lnTo>
                <a:lnTo>
                  <a:pt x="132588" y="201168"/>
                </a:lnTo>
                <a:lnTo>
                  <a:pt x="134112" y="201930"/>
                </a:lnTo>
                <a:lnTo>
                  <a:pt x="135636" y="201930"/>
                </a:lnTo>
                <a:lnTo>
                  <a:pt x="135636" y="192024"/>
                </a:lnTo>
                <a:lnTo>
                  <a:pt x="137885" y="192024"/>
                </a:lnTo>
                <a:close/>
              </a:path>
              <a:path w="398145" h="201929">
                <a:moveTo>
                  <a:pt x="139446" y="194310"/>
                </a:moveTo>
                <a:lnTo>
                  <a:pt x="137885" y="192024"/>
                </a:lnTo>
                <a:lnTo>
                  <a:pt x="135636" y="192024"/>
                </a:lnTo>
                <a:lnTo>
                  <a:pt x="139446" y="194310"/>
                </a:lnTo>
                <a:close/>
              </a:path>
              <a:path w="398145" h="201929">
                <a:moveTo>
                  <a:pt x="139446" y="201930"/>
                </a:moveTo>
                <a:lnTo>
                  <a:pt x="139446" y="194310"/>
                </a:lnTo>
                <a:lnTo>
                  <a:pt x="135636" y="192024"/>
                </a:lnTo>
                <a:lnTo>
                  <a:pt x="135636" y="201930"/>
                </a:lnTo>
                <a:lnTo>
                  <a:pt x="139446" y="201930"/>
                </a:lnTo>
                <a:close/>
              </a:path>
              <a:path w="398145" h="201929">
                <a:moveTo>
                  <a:pt x="392430" y="201930"/>
                </a:moveTo>
                <a:lnTo>
                  <a:pt x="392430" y="192024"/>
                </a:lnTo>
                <a:lnTo>
                  <a:pt x="388620" y="199644"/>
                </a:lnTo>
                <a:lnTo>
                  <a:pt x="383207" y="192024"/>
                </a:lnTo>
                <a:lnTo>
                  <a:pt x="137885" y="192024"/>
                </a:lnTo>
                <a:lnTo>
                  <a:pt x="139446" y="194310"/>
                </a:lnTo>
                <a:lnTo>
                  <a:pt x="139446" y="201930"/>
                </a:lnTo>
                <a:lnTo>
                  <a:pt x="392430" y="201930"/>
                </a:lnTo>
                <a:close/>
              </a:path>
              <a:path w="398145" h="201929">
                <a:moveTo>
                  <a:pt x="256032" y="9906"/>
                </a:moveTo>
                <a:lnTo>
                  <a:pt x="252222" y="7620"/>
                </a:lnTo>
                <a:lnTo>
                  <a:pt x="253845" y="9906"/>
                </a:lnTo>
                <a:lnTo>
                  <a:pt x="256032" y="9906"/>
                </a:lnTo>
                <a:close/>
              </a:path>
              <a:path w="398145" h="201929">
                <a:moveTo>
                  <a:pt x="253845" y="9906"/>
                </a:moveTo>
                <a:lnTo>
                  <a:pt x="252222" y="7620"/>
                </a:lnTo>
                <a:lnTo>
                  <a:pt x="252222" y="9906"/>
                </a:lnTo>
                <a:lnTo>
                  <a:pt x="253845" y="9906"/>
                </a:lnTo>
                <a:close/>
              </a:path>
              <a:path w="398145" h="201929">
                <a:moveTo>
                  <a:pt x="256032" y="12983"/>
                </a:moveTo>
                <a:lnTo>
                  <a:pt x="256032" y="9906"/>
                </a:lnTo>
                <a:lnTo>
                  <a:pt x="253845" y="9906"/>
                </a:lnTo>
                <a:lnTo>
                  <a:pt x="256032" y="12983"/>
                </a:lnTo>
                <a:close/>
              </a:path>
              <a:path w="398145" h="201929">
                <a:moveTo>
                  <a:pt x="392430" y="192024"/>
                </a:moveTo>
                <a:lnTo>
                  <a:pt x="383207" y="192024"/>
                </a:lnTo>
                <a:lnTo>
                  <a:pt x="388620" y="199644"/>
                </a:lnTo>
                <a:lnTo>
                  <a:pt x="392430" y="1920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5609231" y="1519859"/>
            <a:ext cx="188354" cy="116995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5573556" y="1516920"/>
            <a:ext cx="228014" cy="122286"/>
          </a:xfrm>
          <a:custGeom>
            <a:avLst/>
            <a:gdLst/>
            <a:ahLst/>
            <a:cxnLst/>
            <a:rect l="l" t="t" r="r" b="b"/>
            <a:pathLst>
              <a:path w="311784" h="264160">
                <a:moveTo>
                  <a:pt x="258624" y="238417"/>
                </a:moveTo>
                <a:lnTo>
                  <a:pt x="95249" y="1523"/>
                </a:lnTo>
                <a:lnTo>
                  <a:pt x="94487" y="761"/>
                </a:lnTo>
                <a:lnTo>
                  <a:pt x="92963" y="0"/>
                </a:lnTo>
                <a:lnTo>
                  <a:pt x="17525" y="717"/>
                </a:lnTo>
                <a:lnTo>
                  <a:pt x="10667" y="761"/>
                </a:lnTo>
                <a:lnTo>
                  <a:pt x="9143" y="2285"/>
                </a:lnTo>
                <a:lnTo>
                  <a:pt x="8381" y="3809"/>
                </a:lnTo>
                <a:lnTo>
                  <a:pt x="761" y="30479"/>
                </a:lnTo>
                <a:lnTo>
                  <a:pt x="0" y="32003"/>
                </a:lnTo>
                <a:lnTo>
                  <a:pt x="761" y="33527"/>
                </a:lnTo>
                <a:lnTo>
                  <a:pt x="1523" y="34289"/>
                </a:lnTo>
                <a:lnTo>
                  <a:pt x="2285" y="35813"/>
                </a:lnTo>
                <a:lnTo>
                  <a:pt x="3809" y="36575"/>
                </a:lnTo>
                <a:lnTo>
                  <a:pt x="5333" y="36575"/>
                </a:lnTo>
                <a:lnTo>
                  <a:pt x="5333" y="26669"/>
                </a:lnTo>
                <a:lnTo>
                  <a:pt x="11698" y="26669"/>
                </a:lnTo>
                <a:lnTo>
                  <a:pt x="12953" y="22402"/>
                </a:lnTo>
                <a:lnTo>
                  <a:pt x="12953" y="9905"/>
                </a:lnTo>
                <a:lnTo>
                  <a:pt x="17525" y="6857"/>
                </a:lnTo>
                <a:lnTo>
                  <a:pt x="17525" y="9861"/>
                </a:lnTo>
                <a:lnTo>
                  <a:pt x="42245" y="9621"/>
                </a:lnTo>
                <a:lnTo>
                  <a:pt x="43433" y="4571"/>
                </a:lnTo>
                <a:lnTo>
                  <a:pt x="44957" y="1523"/>
                </a:lnTo>
                <a:lnTo>
                  <a:pt x="47243" y="761"/>
                </a:lnTo>
                <a:lnTo>
                  <a:pt x="48767" y="761"/>
                </a:lnTo>
                <a:lnTo>
                  <a:pt x="51053" y="1523"/>
                </a:lnTo>
                <a:lnTo>
                  <a:pt x="51815" y="3047"/>
                </a:lnTo>
                <a:lnTo>
                  <a:pt x="56237" y="9485"/>
                </a:lnTo>
                <a:lnTo>
                  <a:pt x="87629" y="9180"/>
                </a:lnTo>
                <a:lnTo>
                  <a:pt x="87629" y="6857"/>
                </a:lnTo>
                <a:lnTo>
                  <a:pt x="91439" y="9143"/>
                </a:lnTo>
                <a:lnTo>
                  <a:pt x="91439" y="12407"/>
                </a:lnTo>
                <a:lnTo>
                  <a:pt x="254507" y="249935"/>
                </a:lnTo>
                <a:lnTo>
                  <a:pt x="254507" y="245363"/>
                </a:lnTo>
                <a:lnTo>
                  <a:pt x="258624" y="238417"/>
                </a:lnTo>
                <a:close/>
              </a:path>
              <a:path w="311784" h="264160">
                <a:moveTo>
                  <a:pt x="11698" y="26669"/>
                </a:moveTo>
                <a:lnTo>
                  <a:pt x="5333" y="26669"/>
                </a:lnTo>
                <a:lnTo>
                  <a:pt x="9905" y="32765"/>
                </a:lnTo>
                <a:lnTo>
                  <a:pt x="11698" y="26669"/>
                </a:lnTo>
                <a:close/>
              </a:path>
              <a:path w="311784" h="264160">
                <a:moveTo>
                  <a:pt x="38234" y="26669"/>
                </a:moveTo>
                <a:lnTo>
                  <a:pt x="11698" y="26669"/>
                </a:lnTo>
                <a:lnTo>
                  <a:pt x="9905" y="32765"/>
                </a:lnTo>
                <a:lnTo>
                  <a:pt x="5333" y="26669"/>
                </a:lnTo>
                <a:lnTo>
                  <a:pt x="5333" y="36575"/>
                </a:lnTo>
                <a:lnTo>
                  <a:pt x="37337" y="36575"/>
                </a:lnTo>
                <a:lnTo>
                  <a:pt x="37337" y="30479"/>
                </a:lnTo>
                <a:lnTo>
                  <a:pt x="38234" y="26669"/>
                </a:lnTo>
                <a:close/>
              </a:path>
              <a:path w="311784" h="264160">
                <a:moveTo>
                  <a:pt x="17525" y="6857"/>
                </a:moveTo>
                <a:lnTo>
                  <a:pt x="12953" y="9905"/>
                </a:lnTo>
                <a:lnTo>
                  <a:pt x="16640" y="9870"/>
                </a:lnTo>
                <a:lnTo>
                  <a:pt x="17525" y="6857"/>
                </a:lnTo>
                <a:close/>
              </a:path>
              <a:path w="311784" h="264160">
                <a:moveTo>
                  <a:pt x="16640" y="9870"/>
                </a:moveTo>
                <a:lnTo>
                  <a:pt x="12953" y="9905"/>
                </a:lnTo>
                <a:lnTo>
                  <a:pt x="12953" y="22402"/>
                </a:lnTo>
                <a:lnTo>
                  <a:pt x="16640" y="9870"/>
                </a:lnTo>
                <a:close/>
              </a:path>
              <a:path w="311784" h="264160">
                <a:moveTo>
                  <a:pt x="17525" y="9861"/>
                </a:moveTo>
                <a:lnTo>
                  <a:pt x="17525" y="6857"/>
                </a:lnTo>
                <a:lnTo>
                  <a:pt x="16640" y="9870"/>
                </a:lnTo>
                <a:lnTo>
                  <a:pt x="17525" y="9861"/>
                </a:lnTo>
                <a:close/>
              </a:path>
              <a:path w="311784" h="264160">
                <a:moveTo>
                  <a:pt x="41909" y="26669"/>
                </a:moveTo>
                <a:lnTo>
                  <a:pt x="38234" y="26669"/>
                </a:lnTo>
                <a:lnTo>
                  <a:pt x="37337" y="30479"/>
                </a:lnTo>
                <a:lnTo>
                  <a:pt x="41909" y="26669"/>
                </a:lnTo>
                <a:close/>
              </a:path>
              <a:path w="311784" h="264160">
                <a:moveTo>
                  <a:pt x="41909" y="36575"/>
                </a:moveTo>
                <a:lnTo>
                  <a:pt x="41909" y="26669"/>
                </a:lnTo>
                <a:lnTo>
                  <a:pt x="37337" y="30479"/>
                </a:lnTo>
                <a:lnTo>
                  <a:pt x="37337" y="36575"/>
                </a:lnTo>
                <a:lnTo>
                  <a:pt x="41909" y="36575"/>
                </a:lnTo>
                <a:close/>
              </a:path>
              <a:path w="311784" h="264160">
                <a:moveTo>
                  <a:pt x="50165" y="17112"/>
                </a:moveTo>
                <a:lnTo>
                  <a:pt x="45025" y="9594"/>
                </a:lnTo>
                <a:lnTo>
                  <a:pt x="42245" y="9621"/>
                </a:lnTo>
                <a:lnTo>
                  <a:pt x="38234" y="26669"/>
                </a:lnTo>
                <a:lnTo>
                  <a:pt x="41909" y="26669"/>
                </a:lnTo>
                <a:lnTo>
                  <a:pt x="41909" y="36575"/>
                </a:lnTo>
                <a:lnTo>
                  <a:pt x="44195" y="36575"/>
                </a:lnTo>
                <a:lnTo>
                  <a:pt x="46481" y="35051"/>
                </a:lnTo>
                <a:lnTo>
                  <a:pt x="46481" y="32765"/>
                </a:lnTo>
                <a:lnTo>
                  <a:pt x="50165" y="17112"/>
                </a:lnTo>
                <a:close/>
              </a:path>
              <a:path w="311784" h="264160">
                <a:moveTo>
                  <a:pt x="56237" y="9485"/>
                </a:moveTo>
                <a:lnTo>
                  <a:pt x="51815" y="3047"/>
                </a:lnTo>
                <a:lnTo>
                  <a:pt x="51053" y="1523"/>
                </a:lnTo>
                <a:lnTo>
                  <a:pt x="48767" y="761"/>
                </a:lnTo>
                <a:lnTo>
                  <a:pt x="47243" y="761"/>
                </a:lnTo>
                <a:lnTo>
                  <a:pt x="44957" y="1523"/>
                </a:lnTo>
                <a:lnTo>
                  <a:pt x="43433" y="4571"/>
                </a:lnTo>
                <a:lnTo>
                  <a:pt x="42245" y="9621"/>
                </a:lnTo>
                <a:lnTo>
                  <a:pt x="44195" y="9602"/>
                </a:lnTo>
                <a:lnTo>
                  <a:pt x="44195" y="8381"/>
                </a:lnTo>
                <a:lnTo>
                  <a:pt x="52577" y="6857"/>
                </a:lnTo>
                <a:lnTo>
                  <a:pt x="52577" y="9521"/>
                </a:lnTo>
                <a:lnTo>
                  <a:pt x="56237" y="9485"/>
                </a:lnTo>
                <a:close/>
              </a:path>
              <a:path w="311784" h="264160">
                <a:moveTo>
                  <a:pt x="52577" y="6857"/>
                </a:moveTo>
                <a:lnTo>
                  <a:pt x="44195" y="8381"/>
                </a:lnTo>
                <a:lnTo>
                  <a:pt x="44957" y="9496"/>
                </a:lnTo>
                <a:lnTo>
                  <a:pt x="51949" y="9527"/>
                </a:lnTo>
                <a:lnTo>
                  <a:pt x="52577" y="6857"/>
                </a:lnTo>
                <a:close/>
              </a:path>
              <a:path w="311784" h="264160">
                <a:moveTo>
                  <a:pt x="45025" y="9594"/>
                </a:moveTo>
                <a:lnTo>
                  <a:pt x="44195" y="8381"/>
                </a:lnTo>
                <a:lnTo>
                  <a:pt x="44195" y="9602"/>
                </a:lnTo>
                <a:lnTo>
                  <a:pt x="45025" y="9594"/>
                </a:lnTo>
                <a:close/>
              </a:path>
              <a:path w="311784" h="264160">
                <a:moveTo>
                  <a:pt x="51949" y="9527"/>
                </a:moveTo>
                <a:lnTo>
                  <a:pt x="45025" y="9594"/>
                </a:lnTo>
                <a:lnTo>
                  <a:pt x="50165" y="17112"/>
                </a:lnTo>
                <a:lnTo>
                  <a:pt x="51949" y="9527"/>
                </a:lnTo>
                <a:close/>
              </a:path>
              <a:path w="311784" h="264160">
                <a:moveTo>
                  <a:pt x="223938" y="253682"/>
                </a:moveTo>
                <a:lnTo>
                  <a:pt x="56237" y="9485"/>
                </a:lnTo>
                <a:lnTo>
                  <a:pt x="51949" y="9527"/>
                </a:lnTo>
                <a:lnTo>
                  <a:pt x="50165" y="17112"/>
                </a:lnTo>
                <a:lnTo>
                  <a:pt x="217169" y="261365"/>
                </a:lnTo>
                <a:lnTo>
                  <a:pt x="218693" y="262889"/>
                </a:lnTo>
                <a:lnTo>
                  <a:pt x="220217" y="263651"/>
                </a:lnTo>
                <a:lnTo>
                  <a:pt x="220979" y="263651"/>
                </a:lnTo>
                <a:lnTo>
                  <a:pt x="220979" y="253745"/>
                </a:lnTo>
                <a:lnTo>
                  <a:pt x="223938" y="253682"/>
                </a:lnTo>
                <a:close/>
              </a:path>
              <a:path w="311784" h="264160">
                <a:moveTo>
                  <a:pt x="52577" y="9521"/>
                </a:moveTo>
                <a:lnTo>
                  <a:pt x="52577" y="6857"/>
                </a:lnTo>
                <a:lnTo>
                  <a:pt x="51949" y="9527"/>
                </a:lnTo>
                <a:lnTo>
                  <a:pt x="52577" y="9521"/>
                </a:lnTo>
                <a:close/>
              </a:path>
              <a:path w="311784" h="264160">
                <a:moveTo>
                  <a:pt x="91439" y="9143"/>
                </a:moveTo>
                <a:lnTo>
                  <a:pt x="87629" y="6857"/>
                </a:lnTo>
                <a:lnTo>
                  <a:pt x="89214" y="9165"/>
                </a:lnTo>
                <a:lnTo>
                  <a:pt x="91439" y="9143"/>
                </a:lnTo>
                <a:close/>
              </a:path>
              <a:path w="311784" h="264160">
                <a:moveTo>
                  <a:pt x="89214" y="9165"/>
                </a:moveTo>
                <a:lnTo>
                  <a:pt x="87629" y="6857"/>
                </a:lnTo>
                <a:lnTo>
                  <a:pt x="87629" y="9180"/>
                </a:lnTo>
                <a:lnTo>
                  <a:pt x="89214" y="9165"/>
                </a:lnTo>
                <a:close/>
              </a:path>
              <a:path w="311784" h="264160">
                <a:moveTo>
                  <a:pt x="91439" y="12407"/>
                </a:moveTo>
                <a:lnTo>
                  <a:pt x="91439" y="9143"/>
                </a:lnTo>
                <a:lnTo>
                  <a:pt x="89214" y="9165"/>
                </a:lnTo>
                <a:lnTo>
                  <a:pt x="91439" y="12407"/>
                </a:lnTo>
                <a:close/>
              </a:path>
              <a:path w="311784" h="264160">
                <a:moveTo>
                  <a:pt x="225551" y="256031"/>
                </a:moveTo>
                <a:lnTo>
                  <a:pt x="223938" y="253682"/>
                </a:lnTo>
                <a:lnTo>
                  <a:pt x="220979" y="253745"/>
                </a:lnTo>
                <a:lnTo>
                  <a:pt x="225551" y="256031"/>
                </a:lnTo>
                <a:close/>
              </a:path>
              <a:path w="311784" h="264160">
                <a:moveTo>
                  <a:pt x="225551" y="263570"/>
                </a:moveTo>
                <a:lnTo>
                  <a:pt x="225551" y="256031"/>
                </a:lnTo>
                <a:lnTo>
                  <a:pt x="220979" y="253745"/>
                </a:lnTo>
                <a:lnTo>
                  <a:pt x="220979" y="263651"/>
                </a:lnTo>
                <a:lnTo>
                  <a:pt x="225551" y="263570"/>
                </a:lnTo>
                <a:close/>
              </a:path>
              <a:path w="311784" h="264160">
                <a:moveTo>
                  <a:pt x="291845" y="262144"/>
                </a:moveTo>
                <a:lnTo>
                  <a:pt x="291845" y="252221"/>
                </a:lnTo>
                <a:lnTo>
                  <a:pt x="288035" y="255269"/>
                </a:lnTo>
                <a:lnTo>
                  <a:pt x="288035" y="252303"/>
                </a:lnTo>
                <a:lnTo>
                  <a:pt x="223938" y="253682"/>
                </a:lnTo>
                <a:lnTo>
                  <a:pt x="225551" y="256031"/>
                </a:lnTo>
                <a:lnTo>
                  <a:pt x="225551" y="263570"/>
                </a:lnTo>
                <a:lnTo>
                  <a:pt x="288035" y="262226"/>
                </a:lnTo>
                <a:lnTo>
                  <a:pt x="288035" y="255269"/>
                </a:lnTo>
                <a:lnTo>
                  <a:pt x="289496" y="252272"/>
                </a:lnTo>
                <a:lnTo>
                  <a:pt x="289496" y="262194"/>
                </a:lnTo>
                <a:lnTo>
                  <a:pt x="291845" y="262144"/>
                </a:lnTo>
                <a:close/>
              </a:path>
              <a:path w="311784" h="264160">
                <a:moveTo>
                  <a:pt x="262889" y="244601"/>
                </a:moveTo>
                <a:lnTo>
                  <a:pt x="258624" y="238417"/>
                </a:lnTo>
                <a:lnTo>
                  <a:pt x="254507" y="245363"/>
                </a:lnTo>
                <a:lnTo>
                  <a:pt x="262889" y="244601"/>
                </a:lnTo>
                <a:close/>
              </a:path>
              <a:path w="311784" h="264160">
                <a:moveTo>
                  <a:pt x="262889" y="249935"/>
                </a:moveTo>
                <a:lnTo>
                  <a:pt x="262889" y="244601"/>
                </a:lnTo>
                <a:lnTo>
                  <a:pt x="254507" y="245363"/>
                </a:lnTo>
                <a:lnTo>
                  <a:pt x="254507" y="249935"/>
                </a:lnTo>
                <a:lnTo>
                  <a:pt x="256031" y="251459"/>
                </a:lnTo>
                <a:lnTo>
                  <a:pt x="257555" y="252221"/>
                </a:lnTo>
                <a:lnTo>
                  <a:pt x="260603" y="252221"/>
                </a:lnTo>
                <a:lnTo>
                  <a:pt x="262127" y="251459"/>
                </a:lnTo>
                <a:lnTo>
                  <a:pt x="262889" y="249935"/>
                </a:lnTo>
                <a:close/>
              </a:path>
              <a:path w="311784" h="264160">
                <a:moveTo>
                  <a:pt x="311657" y="227837"/>
                </a:moveTo>
                <a:lnTo>
                  <a:pt x="311657" y="226313"/>
                </a:lnTo>
                <a:lnTo>
                  <a:pt x="310133" y="223265"/>
                </a:lnTo>
                <a:lnTo>
                  <a:pt x="308609" y="222503"/>
                </a:lnTo>
                <a:lnTo>
                  <a:pt x="268985" y="222503"/>
                </a:lnTo>
                <a:lnTo>
                  <a:pt x="267461" y="223265"/>
                </a:lnTo>
                <a:lnTo>
                  <a:pt x="266699" y="224789"/>
                </a:lnTo>
                <a:lnTo>
                  <a:pt x="258624" y="238417"/>
                </a:lnTo>
                <a:lnTo>
                  <a:pt x="262889" y="244601"/>
                </a:lnTo>
                <a:lnTo>
                  <a:pt x="262889" y="249935"/>
                </a:lnTo>
                <a:lnTo>
                  <a:pt x="270509" y="237553"/>
                </a:lnTo>
                <a:lnTo>
                  <a:pt x="270509" y="232409"/>
                </a:lnTo>
                <a:lnTo>
                  <a:pt x="275081" y="230123"/>
                </a:lnTo>
                <a:lnTo>
                  <a:pt x="275081" y="232409"/>
                </a:lnTo>
                <a:lnTo>
                  <a:pt x="299172" y="232409"/>
                </a:lnTo>
                <a:lnTo>
                  <a:pt x="302513" y="225551"/>
                </a:lnTo>
                <a:lnTo>
                  <a:pt x="306323" y="232409"/>
                </a:lnTo>
                <a:lnTo>
                  <a:pt x="306323" y="238746"/>
                </a:lnTo>
                <a:lnTo>
                  <a:pt x="310895" y="229361"/>
                </a:lnTo>
                <a:lnTo>
                  <a:pt x="311657" y="227837"/>
                </a:lnTo>
                <a:close/>
              </a:path>
              <a:path w="311784" h="264160">
                <a:moveTo>
                  <a:pt x="275081" y="230123"/>
                </a:moveTo>
                <a:lnTo>
                  <a:pt x="270509" y="232409"/>
                </a:lnTo>
                <a:lnTo>
                  <a:pt x="273675" y="232409"/>
                </a:lnTo>
                <a:lnTo>
                  <a:pt x="275081" y="230123"/>
                </a:lnTo>
                <a:close/>
              </a:path>
              <a:path w="311784" h="264160">
                <a:moveTo>
                  <a:pt x="273675" y="232409"/>
                </a:moveTo>
                <a:lnTo>
                  <a:pt x="270509" y="232409"/>
                </a:lnTo>
                <a:lnTo>
                  <a:pt x="270509" y="237553"/>
                </a:lnTo>
                <a:lnTo>
                  <a:pt x="273675" y="232409"/>
                </a:lnTo>
                <a:close/>
              </a:path>
              <a:path w="311784" h="264160">
                <a:moveTo>
                  <a:pt x="275081" y="232409"/>
                </a:moveTo>
                <a:lnTo>
                  <a:pt x="275081" y="230123"/>
                </a:lnTo>
                <a:lnTo>
                  <a:pt x="273675" y="232409"/>
                </a:lnTo>
                <a:lnTo>
                  <a:pt x="275081" y="232409"/>
                </a:lnTo>
                <a:close/>
              </a:path>
              <a:path w="311784" h="264160">
                <a:moveTo>
                  <a:pt x="291845" y="252221"/>
                </a:moveTo>
                <a:lnTo>
                  <a:pt x="289496" y="252272"/>
                </a:lnTo>
                <a:lnTo>
                  <a:pt x="288035" y="255269"/>
                </a:lnTo>
                <a:lnTo>
                  <a:pt x="291845" y="252221"/>
                </a:lnTo>
                <a:close/>
              </a:path>
              <a:path w="311784" h="264160">
                <a:moveTo>
                  <a:pt x="306323" y="238746"/>
                </a:moveTo>
                <a:lnTo>
                  <a:pt x="306323" y="232409"/>
                </a:lnTo>
                <a:lnTo>
                  <a:pt x="299172" y="232409"/>
                </a:lnTo>
                <a:lnTo>
                  <a:pt x="289496" y="252272"/>
                </a:lnTo>
                <a:lnTo>
                  <a:pt x="291845" y="252221"/>
                </a:lnTo>
                <a:lnTo>
                  <a:pt x="291845" y="262144"/>
                </a:lnTo>
                <a:lnTo>
                  <a:pt x="294131" y="262127"/>
                </a:lnTo>
                <a:lnTo>
                  <a:pt x="295655" y="261365"/>
                </a:lnTo>
                <a:lnTo>
                  <a:pt x="296417" y="259079"/>
                </a:lnTo>
                <a:lnTo>
                  <a:pt x="306323" y="238746"/>
                </a:lnTo>
                <a:close/>
              </a:path>
              <a:path w="311784" h="264160">
                <a:moveTo>
                  <a:pt x="306323" y="232409"/>
                </a:moveTo>
                <a:lnTo>
                  <a:pt x="302513" y="225551"/>
                </a:lnTo>
                <a:lnTo>
                  <a:pt x="299172" y="232409"/>
                </a:lnTo>
                <a:lnTo>
                  <a:pt x="306323" y="2324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5435921" y="1533852"/>
            <a:ext cx="283637" cy="88187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5432577" y="1531029"/>
            <a:ext cx="291170" cy="93479"/>
          </a:xfrm>
          <a:custGeom>
            <a:avLst/>
            <a:gdLst/>
            <a:ahLst/>
            <a:cxnLst/>
            <a:rect l="l" t="t" r="r" b="b"/>
            <a:pathLst>
              <a:path w="398145" h="201929">
                <a:moveTo>
                  <a:pt x="397764" y="197358"/>
                </a:moveTo>
                <a:lnTo>
                  <a:pt x="397764" y="195834"/>
                </a:lnTo>
                <a:lnTo>
                  <a:pt x="396240" y="194310"/>
                </a:lnTo>
                <a:lnTo>
                  <a:pt x="259842" y="2286"/>
                </a:lnTo>
                <a:lnTo>
                  <a:pt x="259080" y="762"/>
                </a:lnTo>
                <a:lnTo>
                  <a:pt x="257556" y="0"/>
                </a:lnTo>
                <a:lnTo>
                  <a:pt x="3048" y="762"/>
                </a:lnTo>
                <a:lnTo>
                  <a:pt x="1524" y="1524"/>
                </a:lnTo>
                <a:lnTo>
                  <a:pt x="0" y="4572"/>
                </a:lnTo>
                <a:lnTo>
                  <a:pt x="0" y="6858"/>
                </a:lnTo>
                <a:lnTo>
                  <a:pt x="762" y="8382"/>
                </a:lnTo>
                <a:lnTo>
                  <a:pt x="4572" y="13974"/>
                </a:lnTo>
                <a:lnTo>
                  <a:pt x="4572" y="9906"/>
                </a:lnTo>
                <a:lnTo>
                  <a:pt x="8382" y="3048"/>
                </a:lnTo>
                <a:lnTo>
                  <a:pt x="13081" y="9906"/>
                </a:lnTo>
                <a:lnTo>
                  <a:pt x="252222" y="9906"/>
                </a:lnTo>
                <a:lnTo>
                  <a:pt x="252222" y="7620"/>
                </a:lnTo>
                <a:lnTo>
                  <a:pt x="256032" y="9906"/>
                </a:lnTo>
                <a:lnTo>
                  <a:pt x="256032" y="12983"/>
                </a:lnTo>
                <a:lnTo>
                  <a:pt x="383207" y="192024"/>
                </a:lnTo>
                <a:lnTo>
                  <a:pt x="392430" y="192024"/>
                </a:lnTo>
                <a:lnTo>
                  <a:pt x="392430" y="201930"/>
                </a:lnTo>
                <a:lnTo>
                  <a:pt x="394716" y="201930"/>
                </a:lnTo>
                <a:lnTo>
                  <a:pt x="396240" y="200406"/>
                </a:lnTo>
                <a:lnTo>
                  <a:pt x="397764" y="197358"/>
                </a:lnTo>
                <a:close/>
              </a:path>
              <a:path w="398145" h="201929">
                <a:moveTo>
                  <a:pt x="13081" y="9906"/>
                </a:moveTo>
                <a:lnTo>
                  <a:pt x="8382" y="3048"/>
                </a:lnTo>
                <a:lnTo>
                  <a:pt x="4572" y="9906"/>
                </a:lnTo>
                <a:lnTo>
                  <a:pt x="13081" y="9906"/>
                </a:lnTo>
                <a:close/>
              </a:path>
              <a:path w="398145" h="201929">
                <a:moveTo>
                  <a:pt x="137879" y="192024"/>
                </a:moveTo>
                <a:lnTo>
                  <a:pt x="13081" y="9906"/>
                </a:lnTo>
                <a:lnTo>
                  <a:pt x="4572" y="9906"/>
                </a:lnTo>
                <a:lnTo>
                  <a:pt x="4572" y="13974"/>
                </a:lnTo>
                <a:lnTo>
                  <a:pt x="131064" y="199644"/>
                </a:lnTo>
                <a:lnTo>
                  <a:pt x="133350" y="201930"/>
                </a:lnTo>
                <a:lnTo>
                  <a:pt x="135636" y="201930"/>
                </a:lnTo>
                <a:lnTo>
                  <a:pt x="135636" y="192024"/>
                </a:lnTo>
                <a:lnTo>
                  <a:pt x="137879" y="192024"/>
                </a:lnTo>
                <a:close/>
              </a:path>
              <a:path w="398145" h="201929">
                <a:moveTo>
                  <a:pt x="139446" y="194310"/>
                </a:moveTo>
                <a:lnTo>
                  <a:pt x="137879" y="192024"/>
                </a:lnTo>
                <a:lnTo>
                  <a:pt x="135636" y="192024"/>
                </a:lnTo>
                <a:lnTo>
                  <a:pt x="139446" y="194310"/>
                </a:lnTo>
                <a:close/>
              </a:path>
              <a:path w="398145" h="201929">
                <a:moveTo>
                  <a:pt x="139446" y="201930"/>
                </a:moveTo>
                <a:lnTo>
                  <a:pt x="139446" y="194310"/>
                </a:lnTo>
                <a:lnTo>
                  <a:pt x="135636" y="192024"/>
                </a:lnTo>
                <a:lnTo>
                  <a:pt x="135636" y="201930"/>
                </a:lnTo>
                <a:lnTo>
                  <a:pt x="139446" y="201930"/>
                </a:lnTo>
                <a:close/>
              </a:path>
              <a:path w="398145" h="201929">
                <a:moveTo>
                  <a:pt x="392430" y="201930"/>
                </a:moveTo>
                <a:lnTo>
                  <a:pt x="392430" y="192024"/>
                </a:lnTo>
                <a:lnTo>
                  <a:pt x="388620" y="199644"/>
                </a:lnTo>
                <a:lnTo>
                  <a:pt x="383207" y="192024"/>
                </a:lnTo>
                <a:lnTo>
                  <a:pt x="137879" y="192024"/>
                </a:lnTo>
                <a:lnTo>
                  <a:pt x="139446" y="194310"/>
                </a:lnTo>
                <a:lnTo>
                  <a:pt x="139446" y="201930"/>
                </a:lnTo>
                <a:lnTo>
                  <a:pt x="392430" y="201930"/>
                </a:lnTo>
                <a:close/>
              </a:path>
              <a:path w="398145" h="201929">
                <a:moveTo>
                  <a:pt x="256032" y="9906"/>
                </a:moveTo>
                <a:lnTo>
                  <a:pt x="252222" y="7620"/>
                </a:lnTo>
                <a:lnTo>
                  <a:pt x="253845" y="9906"/>
                </a:lnTo>
                <a:lnTo>
                  <a:pt x="256032" y="9906"/>
                </a:lnTo>
                <a:close/>
              </a:path>
              <a:path w="398145" h="201929">
                <a:moveTo>
                  <a:pt x="253845" y="9906"/>
                </a:moveTo>
                <a:lnTo>
                  <a:pt x="252222" y="7620"/>
                </a:lnTo>
                <a:lnTo>
                  <a:pt x="252222" y="9906"/>
                </a:lnTo>
                <a:lnTo>
                  <a:pt x="253845" y="9906"/>
                </a:lnTo>
                <a:close/>
              </a:path>
              <a:path w="398145" h="201929">
                <a:moveTo>
                  <a:pt x="256032" y="12983"/>
                </a:moveTo>
                <a:lnTo>
                  <a:pt x="256032" y="9906"/>
                </a:lnTo>
                <a:lnTo>
                  <a:pt x="253845" y="9906"/>
                </a:lnTo>
                <a:lnTo>
                  <a:pt x="256032" y="12983"/>
                </a:lnTo>
                <a:close/>
              </a:path>
              <a:path w="398145" h="201929">
                <a:moveTo>
                  <a:pt x="392430" y="192024"/>
                </a:moveTo>
                <a:lnTo>
                  <a:pt x="383207" y="192024"/>
                </a:lnTo>
                <a:lnTo>
                  <a:pt x="388620" y="199644"/>
                </a:lnTo>
                <a:lnTo>
                  <a:pt x="392430" y="1920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4" name="object 114"/>
          <p:cNvSpPr/>
          <p:nvPr/>
        </p:nvSpPr>
        <p:spPr>
          <a:xfrm>
            <a:off x="5829339" y="1519859"/>
            <a:ext cx="188364" cy="116995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5" name="object 115"/>
          <p:cNvSpPr/>
          <p:nvPr/>
        </p:nvSpPr>
        <p:spPr>
          <a:xfrm>
            <a:off x="5793683" y="1516920"/>
            <a:ext cx="227549" cy="122286"/>
          </a:xfrm>
          <a:custGeom>
            <a:avLst/>
            <a:gdLst/>
            <a:ahLst/>
            <a:cxnLst/>
            <a:rect l="l" t="t" r="r" b="b"/>
            <a:pathLst>
              <a:path w="311150" h="264160">
                <a:moveTo>
                  <a:pt x="258142" y="238822"/>
                </a:moveTo>
                <a:lnTo>
                  <a:pt x="94488" y="1523"/>
                </a:lnTo>
                <a:lnTo>
                  <a:pt x="93726" y="761"/>
                </a:lnTo>
                <a:lnTo>
                  <a:pt x="92202" y="0"/>
                </a:lnTo>
                <a:lnTo>
                  <a:pt x="10668" y="761"/>
                </a:lnTo>
                <a:lnTo>
                  <a:pt x="8382" y="2285"/>
                </a:lnTo>
                <a:lnTo>
                  <a:pt x="7620" y="3809"/>
                </a:lnTo>
                <a:lnTo>
                  <a:pt x="0" y="30479"/>
                </a:lnTo>
                <a:lnTo>
                  <a:pt x="0" y="33527"/>
                </a:lnTo>
                <a:lnTo>
                  <a:pt x="3048" y="36575"/>
                </a:lnTo>
                <a:lnTo>
                  <a:pt x="4572" y="36575"/>
                </a:lnTo>
                <a:lnTo>
                  <a:pt x="4572" y="26669"/>
                </a:lnTo>
                <a:lnTo>
                  <a:pt x="10936" y="26669"/>
                </a:lnTo>
                <a:lnTo>
                  <a:pt x="12192" y="22402"/>
                </a:lnTo>
                <a:lnTo>
                  <a:pt x="12192" y="9905"/>
                </a:lnTo>
                <a:lnTo>
                  <a:pt x="16764" y="6857"/>
                </a:lnTo>
                <a:lnTo>
                  <a:pt x="16764" y="9861"/>
                </a:lnTo>
                <a:lnTo>
                  <a:pt x="41632" y="9620"/>
                </a:lnTo>
                <a:lnTo>
                  <a:pt x="42672" y="4571"/>
                </a:lnTo>
                <a:lnTo>
                  <a:pt x="43434" y="3047"/>
                </a:lnTo>
                <a:lnTo>
                  <a:pt x="44958" y="1523"/>
                </a:lnTo>
                <a:lnTo>
                  <a:pt x="46482" y="761"/>
                </a:lnTo>
                <a:lnTo>
                  <a:pt x="48768" y="761"/>
                </a:lnTo>
                <a:lnTo>
                  <a:pt x="50292" y="1523"/>
                </a:lnTo>
                <a:lnTo>
                  <a:pt x="51816" y="3047"/>
                </a:lnTo>
                <a:lnTo>
                  <a:pt x="56212" y="9478"/>
                </a:lnTo>
                <a:lnTo>
                  <a:pt x="86868" y="9180"/>
                </a:lnTo>
                <a:lnTo>
                  <a:pt x="86868" y="6857"/>
                </a:lnTo>
                <a:lnTo>
                  <a:pt x="90678" y="9143"/>
                </a:lnTo>
                <a:lnTo>
                  <a:pt x="90678" y="12382"/>
                </a:lnTo>
                <a:lnTo>
                  <a:pt x="254508" y="249935"/>
                </a:lnTo>
                <a:lnTo>
                  <a:pt x="254508" y="245363"/>
                </a:lnTo>
                <a:lnTo>
                  <a:pt x="258142" y="238822"/>
                </a:lnTo>
                <a:close/>
              </a:path>
              <a:path w="311150" h="264160">
                <a:moveTo>
                  <a:pt x="10936" y="26669"/>
                </a:moveTo>
                <a:lnTo>
                  <a:pt x="4572" y="26669"/>
                </a:lnTo>
                <a:lnTo>
                  <a:pt x="9144" y="32765"/>
                </a:lnTo>
                <a:lnTo>
                  <a:pt x="10936" y="26669"/>
                </a:lnTo>
                <a:close/>
              </a:path>
              <a:path w="311150" h="264160">
                <a:moveTo>
                  <a:pt x="38122" y="26669"/>
                </a:moveTo>
                <a:lnTo>
                  <a:pt x="10936" y="26669"/>
                </a:lnTo>
                <a:lnTo>
                  <a:pt x="9144" y="32765"/>
                </a:lnTo>
                <a:lnTo>
                  <a:pt x="4572" y="26669"/>
                </a:lnTo>
                <a:lnTo>
                  <a:pt x="4572" y="36575"/>
                </a:lnTo>
                <a:lnTo>
                  <a:pt x="37338" y="36575"/>
                </a:lnTo>
                <a:lnTo>
                  <a:pt x="37338" y="30479"/>
                </a:lnTo>
                <a:lnTo>
                  <a:pt x="38122" y="26669"/>
                </a:lnTo>
                <a:close/>
              </a:path>
              <a:path w="311150" h="264160">
                <a:moveTo>
                  <a:pt x="16764" y="6857"/>
                </a:moveTo>
                <a:lnTo>
                  <a:pt x="12192" y="9905"/>
                </a:lnTo>
                <a:lnTo>
                  <a:pt x="15878" y="9870"/>
                </a:lnTo>
                <a:lnTo>
                  <a:pt x="16764" y="6857"/>
                </a:lnTo>
                <a:close/>
              </a:path>
              <a:path w="311150" h="264160">
                <a:moveTo>
                  <a:pt x="15878" y="9870"/>
                </a:moveTo>
                <a:lnTo>
                  <a:pt x="12192" y="9905"/>
                </a:lnTo>
                <a:lnTo>
                  <a:pt x="12192" y="22402"/>
                </a:lnTo>
                <a:lnTo>
                  <a:pt x="15878" y="9870"/>
                </a:lnTo>
                <a:close/>
              </a:path>
              <a:path w="311150" h="264160">
                <a:moveTo>
                  <a:pt x="16764" y="9861"/>
                </a:moveTo>
                <a:lnTo>
                  <a:pt x="16764" y="6857"/>
                </a:lnTo>
                <a:lnTo>
                  <a:pt x="15878" y="9870"/>
                </a:lnTo>
                <a:lnTo>
                  <a:pt x="16764" y="9861"/>
                </a:lnTo>
                <a:close/>
              </a:path>
              <a:path w="311150" h="264160">
                <a:moveTo>
                  <a:pt x="41910" y="26669"/>
                </a:moveTo>
                <a:lnTo>
                  <a:pt x="38122" y="26669"/>
                </a:lnTo>
                <a:lnTo>
                  <a:pt x="37338" y="30479"/>
                </a:lnTo>
                <a:lnTo>
                  <a:pt x="41910" y="26669"/>
                </a:lnTo>
                <a:close/>
              </a:path>
              <a:path w="311150" h="264160">
                <a:moveTo>
                  <a:pt x="41910" y="36575"/>
                </a:moveTo>
                <a:lnTo>
                  <a:pt x="41910" y="26669"/>
                </a:lnTo>
                <a:lnTo>
                  <a:pt x="37338" y="30479"/>
                </a:lnTo>
                <a:lnTo>
                  <a:pt x="37338" y="36575"/>
                </a:lnTo>
                <a:lnTo>
                  <a:pt x="41910" y="36575"/>
                </a:lnTo>
                <a:close/>
              </a:path>
              <a:path w="311150" h="264160">
                <a:moveTo>
                  <a:pt x="49977" y="17910"/>
                </a:moveTo>
                <a:lnTo>
                  <a:pt x="44266" y="9594"/>
                </a:lnTo>
                <a:lnTo>
                  <a:pt x="41632" y="9620"/>
                </a:lnTo>
                <a:lnTo>
                  <a:pt x="38122" y="26669"/>
                </a:lnTo>
                <a:lnTo>
                  <a:pt x="41910" y="26669"/>
                </a:lnTo>
                <a:lnTo>
                  <a:pt x="41910" y="36575"/>
                </a:lnTo>
                <a:lnTo>
                  <a:pt x="44266" y="36505"/>
                </a:lnTo>
                <a:lnTo>
                  <a:pt x="45720" y="35051"/>
                </a:lnTo>
                <a:lnTo>
                  <a:pt x="46482" y="32765"/>
                </a:lnTo>
                <a:lnTo>
                  <a:pt x="49977" y="17910"/>
                </a:lnTo>
                <a:close/>
              </a:path>
              <a:path w="311150" h="264160">
                <a:moveTo>
                  <a:pt x="56212" y="9478"/>
                </a:moveTo>
                <a:lnTo>
                  <a:pt x="51816" y="3047"/>
                </a:lnTo>
                <a:lnTo>
                  <a:pt x="50292" y="1523"/>
                </a:lnTo>
                <a:lnTo>
                  <a:pt x="48768" y="761"/>
                </a:lnTo>
                <a:lnTo>
                  <a:pt x="46482" y="761"/>
                </a:lnTo>
                <a:lnTo>
                  <a:pt x="44958" y="1523"/>
                </a:lnTo>
                <a:lnTo>
                  <a:pt x="43434" y="3047"/>
                </a:lnTo>
                <a:lnTo>
                  <a:pt x="42672" y="4571"/>
                </a:lnTo>
                <a:lnTo>
                  <a:pt x="41632" y="9620"/>
                </a:lnTo>
                <a:lnTo>
                  <a:pt x="43434" y="9602"/>
                </a:lnTo>
                <a:lnTo>
                  <a:pt x="43434" y="8381"/>
                </a:lnTo>
                <a:lnTo>
                  <a:pt x="52578" y="6857"/>
                </a:lnTo>
                <a:lnTo>
                  <a:pt x="52578" y="9513"/>
                </a:lnTo>
                <a:lnTo>
                  <a:pt x="56212" y="9478"/>
                </a:lnTo>
                <a:close/>
              </a:path>
              <a:path w="311150" h="264160">
                <a:moveTo>
                  <a:pt x="52578" y="6857"/>
                </a:moveTo>
                <a:lnTo>
                  <a:pt x="43434" y="8381"/>
                </a:lnTo>
                <a:lnTo>
                  <a:pt x="44196" y="9491"/>
                </a:lnTo>
                <a:lnTo>
                  <a:pt x="51951" y="9519"/>
                </a:lnTo>
                <a:lnTo>
                  <a:pt x="52578" y="6857"/>
                </a:lnTo>
                <a:close/>
              </a:path>
              <a:path w="311150" h="264160">
                <a:moveTo>
                  <a:pt x="44266" y="9594"/>
                </a:moveTo>
                <a:lnTo>
                  <a:pt x="43434" y="8381"/>
                </a:lnTo>
                <a:lnTo>
                  <a:pt x="43434" y="9602"/>
                </a:lnTo>
                <a:lnTo>
                  <a:pt x="44266" y="9594"/>
                </a:lnTo>
                <a:close/>
              </a:path>
              <a:path w="311150" h="264160">
                <a:moveTo>
                  <a:pt x="51951" y="9519"/>
                </a:moveTo>
                <a:lnTo>
                  <a:pt x="44266" y="9594"/>
                </a:lnTo>
                <a:lnTo>
                  <a:pt x="49977" y="17910"/>
                </a:lnTo>
                <a:lnTo>
                  <a:pt x="51951" y="9519"/>
                </a:lnTo>
                <a:close/>
              </a:path>
              <a:path w="311150" h="264160">
                <a:moveTo>
                  <a:pt x="223194" y="253698"/>
                </a:moveTo>
                <a:lnTo>
                  <a:pt x="56212" y="9478"/>
                </a:lnTo>
                <a:lnTo>
                  <a:pt x="51951" y="9519"/>
                </a:lnTo>
                <a:lnTo>
                  <a:pt x="49977" y="17910"/>
                </a:lnTo>
                <a:lnTo>
                  <a:pt x="217170" y="261365"/>
                </a:lnTo>
                <a:lnTo>
                  <a:pt x="217932" y="262889"/>
                </a:lnTo>
                <a:lnTo>
                  <a:pt x="219456" y="263651"/>
                </a:lnTo>
                <a:lnTo>
                  <a:pt x="220980" y="263651"/>
                </a:lnTo>
                <a:lnTo>
                  <a:pt x="220980" y="253745"/>
                </a:lnTo>
                <a:lnTo>
                  <a:pt x="223194" y="253698"/>
                </a:lnTo>
                <a:close/>
              </a:path>
              <a:path w="311150" h="264160">
                <a:moveTo>
                  <a:pt x="52578" y="9513"/>
                </a:moveTo>
                <a:lnTo>
                  <a:pt x="52578" y="6857"/>
                </a:lnTo>
                <a:lnTo>
                  <a:pt x="51951" y="9519"/>
                </a:lnTo>
                <a:lnTo>
                  <a:pt x="52578" y="9513"/>
                </a:lnTo>
                <a:close/>
              </a:path>
              <a:path w="311150" h="264160">
                <a:moveTo>
                  <a:pt x="90678" y="9143"/>
                </a:moveTo>
                <a:lnTo>
                  <a:pt x="86868" y="6857"/>
                </a:lnTo>
                <a:lnTo>
                  <a:pt x="88459" y="9165"/>
                </a:lnTo>
                <a:lnTo>
                  <a:pt x="90678" y="9143"/>
                </a:lnTo>
                <a:close/>
              </a:path>
              <a:path w="311150" h="264160">
                <a:moveTo>
                  <a:pt x="88459" y="9165"/>
                </a:moveTo>
                <a:lnTo>
                  <a:pt x="86868" y="6857"/>
                </a:lnTo>
                <a:lnTo>
                  <a:pt x="86868" y="9180"/>
                </a:lnTo>
                <a:lnTo>
                  <a:pt x="88459" y="9165"/>
                </a:lnTo>
                <a:close/>
              </a:path>
              <a:path w="311150" h="264160">
                <a:moveTo>
                  <a:pt x="90678" y="12382"/>
                </a:moveTo>
                <a:lnTo>
                  <a:pt x="90678" y="9143"/>
                </a:lnTo>
                <a:lnTo>
                  <a:pt x="88459" y="9165"/>
                </a:lnTo>
                <a:lnTo>
                  <a:pt x="90678" y="12382"/>
                </a:lnTo>
                <a:close/>
              </a:path>
              <a:path w="311150" h="264160">
                <a:moveTo>
                  <a:pt x="224790" y="256031"/>
                </a:moveTo>
                <a:lnTo>
                  <a:pt x="223194" y="253698"/>
                </a:lnTo>
                <a:lnTo>
                  <a:pt x="220980" y="253745"/>
                </a:lnTo>
                <a:lnTo>
                  <a:pt x="224790" y="256031"/>
                </a:lnTo>
                <a:close/>
              </a:path>
              <a:path w="311150" h="264160">
                <a:moveTo>
                  <a:pt x="224790" y="263570"/>
                </a:moveTo>
                <a:lnTo>
                  <a:pt x="224790" y="256031"/>
                </a:lnTo>
                <a:lnTo>
                  <a:pt x="220980" y="253745"/>
                </a:lnTo>
                <a:lnTo>
                  <a:pt x="220980" y="263651"/>
                </a:lnTo>
                <a:lnTo>
                  <a:pt x="224790" y="263570"/>
                </a:lnTo>
                <a:close/>
              </a:path>
              <a:path w="311150" h="264160">
                <a:moveTo>
                  <a:pt x="291846" y="262127"/>
                </a:moveTo>
                <a:lnTo>
                  <a:pt x="291846" y="252221"/>
                </a:lnTo>
                <a:lnTo>
                  <a:pt x="287274" y="255269"/>
                </a:lnTo>
                <a:lnTo>
                  <a:pt x="287274" y="252320"/>
                </a:lnTo>
                <a:lnTo>
                  <a:pt x="223194" y="253698"/>
                </a:lnTo>
                <a:lnTo>
                  <a:pt x="224790" y="256031"/>
                </a:lnTo>
                <a:lnTo>
                  <a:pt x="224790" y="263570"/>
                </a:lnTo>
                <a:lnTo>
                  <a:pt x="287274" y="262226"/>
                </a:lnTo>
                <a:lnTo>
                  <a:pt x="287274" y="255269"/>
                </a:lnTo>
                <a:lnTo>
                  <a:pt x="288726" y="252289"/>
                </a:lnTo>
                <a:lnTo>
                  <a:pt x="288726" y="262195"/>
                </a:lnTo>
                <a:lnTo>
                  <a:pt x="291846" y="262127"/>
                </a:lnTo>
                <a:close/>
              </a:path>
              <a:path w="311150" h="264160">
                <a:moveTo>
                  <a:pt x="262128" y="244601"/>
                </a:moveTo>
                <a:lnTo>
                  <a:pt x="258142" y="238822"/>
                </a:lnTo>
                <a:lnTo>
                  <a:pt x="254508" y="245363"/>
                </a:lnTo>
                <a:lnTo>
                  <a:pt x="262128" y="244601"/>
                </a:lnTo>
                <a:close/>
              </a:path>
              <a:path w="311150" h="264160">
                <a:moveTo>
                  <a:pt x="262128" y="249935"/>
                </a:moveTo>
                <a:lnTo>
                  <a:pt x="262128" y="244601"/>
                </a:lnTo>
                <a:lnTo>
                  <a:pt x="254508" y="245363"/>
                </a:lnTo>
                <a:lnTo>
                  <a:pt x="254508" y="249935"/>
                </a:lnTo>
                <a:lnTo>
                  <a:pt x="255270" y="251459"/>
                </a:lnTo>
                <a:lnTo>
                  <a:pt x="256794" y="252221"/>
                </a:lnTo>
                <a:lnTo>
                  <a:pt x="259842" y="252221"/>
                </a:lnTo>
                <a:lnTo>
                  <a:pt x="261366" y="251459"/>
                </a:lnTo>
                <a:lnTo>
                  <a:pt x="262128" y="249935"/>
                </a:lnTo>
                <a:close/>
              </a:path>
              <a:path w="311150" h="264160">
                <a:moveTo>
                  <a:pt x="310896" y="229361"/>
                </a:moveTo>
                <a:lnTo>
                  <a:pt x="310896" y="226313"/>
                </a:lnTo>
                <a:lnTo>
                  <a:pt x="309372" y="223265"/>
                </a:lnTo>
                <a:lnTo>
                  <a:pt x="307848" y="222503"/>
                </a:lnTo>
                <a:lnTo>
                  <a:pt x="268224" y="222503"/>
                </a:lnTo>
                <a:lnTo>
                  <a:pt x="266700" y="223265"/>
                </a:lnTo>
                <a:lnTo>
                  <a:pt x="265938" y="224789"/>
                </a:lnTo>
                <a:lnTo>
                  <a:pt x="258142" y="238822"/>
                </a:lnTo>
                <a:lnTo>
                  <a:pt x="262128" y="244601"/>
                </a:lnTo>
                <a:lnTo>
                  <a:pt x="262128" y="249935"/>
                </a:lnTo>
                <a:lnTo>
                  <a:pt x="270510" y="236315"/>
                </a:lnTo>
                <a:lnTo>
                  <a:pt x="270510" y="232409"/>
                </a:lnTo>
                <a:lnTo>
                  <a:pt x="274320" y="230123"/>
                </a:lnTo>
                <a:lnTo>
                  <a:pt x="274320" y="232409"/>
                </a:lnTo>
                <a:lnTo>
                  <a:pt x="298410" y="232409"/>
                </a:lnTo>
                <a:lnTo>
                  <a:pt x="301752" y="225551"/>
                </a:lnTo>
                <a:lnTo>
                  <a:pt x="306324" y="232409"/>
                </a:lnTo>
                <a:lnTo>
                  <a:pt x="306324" y="238746"/>
                </a:lnTo>
                <a:lnTo>
                  <a:pt x="310896" y="229361"/>
                </a:lnTo>
                <a:close/>
              </a:path>
              <a:path w="311150" h="264160">
                <a:moveTo>
                  <a:pt x="274320" y="230123"/>
                </a:moveTo>
                <a:lnTo>
                  <a:pt x="270510" y="232409"/>
                </a:lnTo>
                <a:lnTo>
                  <a:pt x="272913" y="232409"/>
                </a:lnTo>
                <a:lnTo>
                  <a:pt x="274320" y="230123"/>
                </a:lnTo>
                <a:close/>
              </a:path>
              <a:path w="311150" h="264160">
                <a:moveTo>
                  <a:pt x="272913" y="232409"/>
                </a:moveTo>
                <a:lnTo>
                  <a:pt x="270510" y="232409"/>
                </a:lnTo>
                <a:lnTo>
                  <a:pt x="270510" y="236315"/>
                </a:lnTo>
                <a:lnTo>
                  <a:pt x="272913" y="232409"/>
                </a:lnTo>
                <a:close/>
              </a:path>
              <a:path w="311150" h="264160">
                <a:moveTo>
                  <a:pt x="274320" y="232409"/>
                </a:moveTo>
                <a:lnTo>
                  <a:pt x="274320" y="230123"/>
                </a:lnTo>
                <a:lnTo>
                  <a:pt x="272913" y="232409"/>
                </a:lnTo>
                <a:lnTo>
                  <a:pt x="274320" y="232409"/>
                </a:lnTo>
                <a:close/>
              </a:path>
              <a:path w="311150" h="264160">
                <a:moveTo>
                  <a:pt x="291846" y="252221"/>
                </a:moveTo>
                <a:lnTo>
                  <a:pt x="288726" y="252289"/>
                </a:lnTo>
                <a:lnTo>
                  <a:pt x="287274" y="255269"/>
                </a:lnTo>
                <a:lnTo>
                  <a:pt x="291846" y="252221"/>
                </a:lnTo>
                <a:close/>
              </a:path>
              <a:path w="311150" h="264160">
                <a:moveTo>
                  <a:pt x="306324" y="238746"/>
                </a:moveTo>
                <a:lnTo>
                  <a:pt x="306324" y="232409"/>
                </a:lnTo>
                <a:lnTo>
                  <a:pt x="298410" y="232409"/>
                </a:lnTo>
                <a:lnTo>
                  <a:pt x="288726" y="252289"/>
                </a:lnTo>
                <a:lnTo>
                  <a:pt x="291846" y="252221"/>
                </a:lnTo>
                <a:lnTo>
                  <a:pt x="291846" y="262127"/>
                </a:lnTo>
                <a:lnTo>
                  <a:pt x="293370" y="262127"/>
                </a:lnTo>
                <a:lnTo>
                  <a:pt x="295656" y="261365"/>
                </a:lnTo>
                <a:lnTo>
                  <a:pt x="296418" y="259079"/>
                </a:lnTo>
                <a:lnTo>
                  <a:pt x="306324" y="238746"/>
                </a:lnTo>
                <a:close/>
              </a:path>
              <a:path w="311150" h="264160">
                <a:moveTo>
                  <a:pt x="306324" y="232409"/>
                </a:moveTo>
                <a:lnTo>
                  <a:pt x="301752" y="225551"/>
                </a:lnTo>
                <a:lnTo>
                  <a:pt x="298410" y="232409"/>
                </a:lnTo>
                <a:lnTo>
                  <a:pt x="306324" y="23240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6" name="object 116"/>
          <p:cNvSpPr/>
          <p:nvPr/>
        </p:nvSpPr>
        <p:spPr>
          <a:xfrm>
            <a:off x="5656597" y="1533852"/>
            <a:ext cx="283637" cy="88187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7" name="object 117"/>
          <p:cNvSpPr/>
          <p:nvPr/>
        </p:nvSpPr>
        <p:spPr>
          <a:xfrm>
            <a:off x="5652696" y="1531030"/>
            <a:ext cx="291170" cy="93185"/>
          </a:xfrm>
          <a:custGeom>
            <a:avLst/>
            <a:gdLst/>
            <a:ahLst/>
            <a:cxnLst/>
            <a:rect l="l" t="t" r="r" b="b"/>
            <a:pathLst>
              <a:path w="398145" h="201295">
                <a:moveTo>
                  <a:pt x="397763" y="197358"/>
                </a:moveTo>
                <a:lnTo>
                  <a:pt x="397763" y="195072"/>
                </a:lnTo>
                <a:lnTo>
                  <a:pt x="397001" y="193548"/>
                </a:lnTo>
                <a:lnTo>
                  <a:pt x="260603" y="2286"/>
                </a:lnTo>
                <a:lnTo>
                  <a:pt x="259841" y="762"/>
                </a:lnTo>
                <a:lnTo>
                  <a:pt x="258317" y="0"/>
                </a:lnTo>
                <a:lnTo>
                  <a:pt x="3047" y="0"/>
                </a:lnTo>
                <a:lnTo>
                  <a:pt x="1523" y="1524"/>
                </a:lnTo>
                <a:lnTo>
                  <a:pt x="0" y="4572"/>
                </a:lnTo>
                <a:lnTo>
                  <a:pt x="0" y="6096"/>
                </a:lnTo>
                <a:lnTo>
                  <a:pt x="1523" y="7620"/>
                </a:lnTo>
                <a:lnTo>
                  <a:pt x="5333" y="13212"/>
                </a:lnTo>
                <a:lnTo>
                  <a:pt x="5333" y="9906"/>
                </a:lnTo>
                <a:lnTo>
                  <a:pt x="9143" y="2286"/>
                </a:lnTo>
                <a:lnTo>
                  <a:pt x="14316" y="9878"/>
                </a:lnTo>
                <a:lnTo>
                  <a:pt x="252983" y="9155"/>
                </a:lnTo>
                <a:lnTo>
                  <a:pt x="252983" y="7620"/>
                </a:lnTo>
                <a:lnTo>
                  <a:pt x="256793" y="9144"/>
                </a:lnTo>
                <a:lnTo>
                  <a:pt x="256793" y="12983"/>
                </a:lnTo>
                <a:lnTo>
                  <a:pt x="383969" y="192024"/>
                </a:lnTo>
                <a:lnTo>
                  <a:pt x="393191" y="192024"/>
                </a:lnTo>
                <a:lnTo>
                  <a:pt x="393191" y="201168"/>
                </a:lnTo>
                <a:lnTo>
                  <a:pt x="394715" y="201168"/>
                </a:lnTo>
                <a:lnTo>
                  <a:pt x="396239" y="200406"/>
                </a:lnTo>
                <a:lnTo>
                  <a:pt x="397763" y="197358"/>
                </a:lnTo>
                <a:close/>
              </a:path>
              <a:path w="398145" h="201295">
                <a:moveTo>
                  <a:pt x="14316" y="9878"/>
                </a:moveTo>
                <a:lnTo>
                  <a:pt x="9143" y="2286"/>
                </a:lnTo>
                <a:lnTo>
                  <a:pt x="5333" y="9906"/>
                </a:lnTo>
                <a:lnTo>
                  <a:pt x="14316" y="9878"/>
                </a:lnTo>
                <a:close/>
              </a:path>
              <a:path w="398145" h="201295">
                <a:moveTo>
                  <a:pt x="138407" y="192024"/>
                </a:moveTo>
                <a:lnTo>
                  <a:pt x="14316" y="9878"/>
                </a:lnTo>
                <a:lnTo>
                  <a:pt x="5333" y="9906"/>
                </a:lnTo>
                <a:lnTo>
                  <a:pt x="5333" y="13212"/>
                </a:lnTo>
                <a:lnTo>
                  <a:pt x="131825" y="198882"/>
                </a:lnTo>
                <a:lnTo>
                  <a:pt x="132587" y="200406"/>
                </a:lnTo>
                <a:lnTo>
                  <a:pt x="134111" y="201168"/>
                </a:lnTo>
                <a:lnTo>
                  <a:pt x="135635" y="201168"/>
                </a:lnTo>
                <a:lnTo>
                  <a:pt x="135635" y="192024"/>
                </a:lnTo>
                <a:lnTo>
                  <a:pt x="138407" y="192024"/>
                </a:lnTo>
                <a:close/>
              </a:path>
              <a:path w="398145" h="201295">
                <a:moveTo>
                  <a:pt x="139445" y="193548"/>
                </a:moveTo>
                <a:lnTo>
                  <a:pt x="138407" y="192024"/>
                </a:lnTo>
                <a:lnTo>
                  <a:pt x="135635" y="192024"/>
                </a:lnTo>
                <a:lnTo>
                  <a:pt x="139445" y="193548"/>
                </a:lnTo>
                <a:close/>
              </a:path>
              <a:path w="398145" h="201295">
                <a:moveTo>
                  <a:pt x="139445" y="201168"/>
                </a:moveTo>
                <a:lnTo>
                  <a:pt x="139445" y="193548"/>
                </a:lnTo>
                <a:lnTo>
                  <a:pt x="135635" y="192024"/>
                </a:lnTo>
                <a:lnTo>
                  <a:pt x="135635" y="201168"/>
                </a:lnTo>
                <a:lnTo>
                  <a:pt x="139445" y="201168"/>
                </a:lnTo>
                <a:close/>
              </a:path>
              <a:path w="398145" h="201295">
                <a:moveTo>
                  <a:pt x="393191" y="201168"/>
                </a:moveTo>
                <a:lnTo>
                  <a:pt x="393191" y="192024"/>
                </a:lnTo>
                <a:lnTo>
                  <a:pt x="389381" y="199644"/>
                </a:lnTo>
                <a:lnTo>
                  <a:pt x="383969" y="192024"/>
                </a:lnTo>
                <a:lnTo>
                  <a:pt x="138407" y="192024"/>
                </a:lnTo>
                <a:lnTo>
                  <a:pt x="139445" y="193548"/>
                </a:lnTo>
                <a:lnTo>
                  <a:pt x="139445" y="201168"/>
                </a:lnTo>
                <a:lnTo>
                  <a:pt x="393191" y="201168"/>
                </a:lnTo>
                <a:close/>
              </a:path>
              <a:path w="398145" h="201295">
                <a:moveTo>
                  <a:pt x="256793" y="9144"/>
                </a:moveTo>
                <a:lnTo>
                  <a:pt x="252983" y="7620"/>
                </a:lnTo>
                <a:lnTo>
                  <a:pt x="254072" y="9152"/>
                </a:lnTo>
                <a:lnTo>
                  <a:pt x="256793" y="9144"/>
                </a:lnTo>
                <a:close/>
              </a:path>
              <a:path w="398145" h="201295">
                <a:moveTo>
                  <a:pt x="254072" y="9152"/>
                </a:moveTo>
                <a:lnTo>
                  <a:pt x="252983" y="7620"/>
                </a:lnTo>
                <a:lnTo>
                  <a:pt x="252983" y="9155"/>
                </a:lnTo>
                <a:lnTo>
                  <a:pt x="254072" y="9152"/>
                </a:lnTo>
                <a:close/>
              </a:path>
              <a:path w="398145" h="201295">
                <a:moveTo>
                  <a:pt x="256793" y="12983"/>
                </a:moveTo>
                <a:lnTo>
                  <a:pt x="256793" y="9144"/>
                </a:lnTo>
                <a:lnTo>
                  <a:pt x="254072" y="9152"/>
                </a:lnTo>
                <a:lnTo>
                  <a:pt x="256793" y="12983"/>
                </a:lnTo>
                <a:close/>
              </a:path>
              <a:path w="398145" h="201295">
                <a:moveTo>
                  <a:pt x="393191" y="192024"/>
                </a:moveTo>
                <a:lnTo>
                  <a:pt x="383969" y="192024"/>
                </a:lnTo>
                <a:lnTo>
                  <a:pt x="389381" y="199644"/>
                </a:lnTo>
                <a:lnTo>
                  <a:pt x="393191" y="19202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8" name="object 118"/>
          <p:cNvSpPr/>
          <p:nvPr/>
        </p:nvSpPr>
        <p:spPr>
          <a:xfrm>
            <a:off x="6316388" y="1532205"/>
            <a:ext cx="208415" cy="88775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19" name="object 119"/>
          <p:cNvSpPr/>
          <p:nvPr/>
        </p:nvSpPr>
        <p:spPr>
          <a:xfrm>
            <a:off x="6311930" y="1528914"/>
            <a:ext cx="216868" cy="94360"/>
          </a:xfrm>
          <a:custGeom>
            <a:avLst/>
            <a:gdLst/>
            <a:ahLst/>
            <a:cxnLst/>
            <a:rect l="l" t="t" r="r" b="b"/>
            <a:pathLst>
              <a:path w="296545" h="203835">
                <a:moveTo>
                  <a:pt x="296418" y="5334"/>
                </a:moveTo>
                <a:lnTo>
                  <a:pt x="295656" y="3810"/>
                </a:lnTo>
                <a:lnTo>
                  <a:pt x="294132" y="2286"/>
                </a:lnTo>
                <a:lnTo>
                  <a:pt x="292608" y="1524"/>
                </a:lnTo>
                <a:lnTo>
                  <a:pt x="3048" y="0"/>
                </a:lnTo>
                <a:lnTo>
                  <a:pt x="1524" y="1524"/>
                </a:lnTo>
                <a:lnTo>
                  <a:pt x="0" y="4572"/>
                </a:lnTo>
                <a:lnTo>
                  <a:pt x="0" y="6096"/>
                </a:lnTo>
                <a:lnTo>
                  <a:pt x="762" y="7620"/>
                </a:lnTo>
                <a:lnTo>
                  <a:pt x="5334" y="14371"/>
                </a:lnTo>
                <a:lnTo>
                  <a:pt x="5334" y="9906"/>
                </a:lnTo>
                <a:lnTo>
                  <a:pt x="9144" y="2286"/>
                </a:lnTo>
                <a:lnTo>
                  <a:pt x="14306" y="9953"/>
                </a:lnTo>
                <a:lnTo>
                  <a:pt x="286470" y="11405"/>
                </a:lnTo>
                <a:lnTo>
                  <a:pt x="286512" y="6096"/>
                </a:lnTo>
                <a:lnTo>
                  <a:pt x="291084" y="11430"/>
                </a:lnTo>
                <a:lnTo>
                  <a:pt x="291084" y="203454"/>
                </a:lnTo>
                <a:lnTo>
                  <a:pt x="292608" y="203454"/>
                </a:lnTo>
                <a:lnTo>
                  <a:pt x="294894" y="201168"/>
                </a:lnTo>
                <a:lnTo>
                  <a:pt x="294894" y="198882"/>
                </a:lnTo>
                <a:lnTo>
                  <a:pt x="296418" y="5334"/>
                </a:lnTo>
                <a:close/>
              </a:path>
              <a:path w="296545" h="203835">
                <a:moveTo>
                  <a:pt x="14306" y="9953"/>
                </a:moveTo>
                <a:lnTo>
                  <a:pt x="9144" y="2286"/>
                </a:lnTo>
                <a:lnTo>
                  <a:pt x="5334" y="9906"/>
                </a:lnTo>
                <a:lnTo>
                  <a:pt x="14306" y="9953"/>
                </a:lnTo>
                <a:close/>
              </a:path>
              <a:path w="296545" h="203835">
                <a:moveTo>
                  <a:pt x="138420" y="194310"/>
                </a:moveTo>
                <a:lnTo>
                  <a:pt x="14306" y="9953"/>
                </a:lnTo>
                <a:lnTo>
                  <a:pt x="5334" y="9906"/>
                </a:lnTo>
                <a:lnTo>
                  <a:pt x="5334" y="14371"/>
                </a:lnTo>
                <a:lnTo>
                  <a:pt x="131826" y="201168"/>
                </a:lnTo>
                <a:lnTo>
                  <a:pt x="132588" y="202692"/>
                </a:lnTo>
                <a:lnTo>
                  <a:pt x="134112" y="203454"/>
                </a:lnTo>
                <a:lnTo>
                  <a:pt x="135636" y="203454"/>
                </a:lnTo>
                <a:lnTo>
                  <a:pt x="135636" y="194310"/>
                </a:lnTo>
                <a:lnTo>
                  <a:pt x="138420" y="194310"/>
                </a:lnTo>
                <a:close/>
              </a:path>
              <a:path w="296545" h="203835">
                <a:moveTo>
                  <a:pt x="139446" y="195834"/>
                </a:moveTo>
                <a:lnTo>
                  <a:pt x="138420" y="194310"/>
                </a:lnTo>
                <a:lnTo>
                  <a:pt x="135636" y="194310"/>
                </a:lnTo>
                <a:lnTo>
                  <a:pt x="139446" y="195834"/>
                </a:lnTo>
                <a:close/>
              </a:path>
              <a:path w="296545" h="203835">
                <a:moveTo>
                  <a:pt x="139446" y="203454"/>
                </a:moveTo>
                <a:lnTo>
                  <a:pt x="139446" y="195834"/>
                </a:lnTo>
                <a:lnTo>
                  <a:pt x="135636" y="194310"/>
                </a:lnTo>
                <a:lnTo>
                  <a:pt x="135636" y="203454"/>
                </a:lnTo>
                <a:lnTo>
                  <a:pt x="139446" y="203454"/>
                </a:lnTo>
                <a:close/>
              </a:path>
              <a:path w="296545" h="203835">
                <a:moveTo>
                  <a:pt x="285024" y="194310"/>
                </a:moveTo>
                <a:lnTo>
                  <a:pt x="138420" y="194310"/>
                </a:lnTo>
                <a:lnTo>
                  <a:pt x="139446" y="195834"/>
                </a:lnTo>
                <a:lnTo>
                  <a:pt x="139446" y="203454"/>
                </a:lnTo>
                <a:lnTo>
                  <a:pt x="284988" y="203454"/>
                </a:lnTo>
                <a:lnTo>
                  <a:pt x="284988" y="198882"/>
                </a:lnTo>
                <a:lnTo>
                  <a:pt x="285024" y="194310"/>
                </a:lnTo>
                <a:close/>
              </a:path>
              <a:path w="296545" h="203835">
                <a:moveTo>
                  <a:pt x="290322" y="194310"/>
                </a:moveTo>
                <a:lnTo>
                  <a:pt x="285024" y="194310"/>
                </a:lnTo>
                <a:lnTo>
                  <a:pt x="284988" y="198882"/>
                </a:lnTo>
                <a:lnTo>
                  <a:pt x="290322" y="194310"/>
                </a:lnTo>
                <a:close/>
              </a:path>
              <a:path w="296545" h="203835">
                <a:moveTo>
                  <a:pt x="290322" y="203454"/>
                </a:moveTo>
                <a:lnTo>
                  <a:pt x="290322" y="194310"/>
                </a:lnTo>
                <a:lnTo>
                  <a:pt x="284988" y="198882"/>
                </a:lnTo>
                <a:lnTo>
                  <a:pt x="284988" y="203454"/>
                </a:lnTo>
                <a:lnTo>
                  <a:pt x="290322" y="203454"/>
                </a:lnTo>
                <a:close/>
              </a:path>
              <a:path w="296545" h="203835">
                <a:moveTo>
                  <a:pt x="291084" y="203454"/>
                </a:moveTo>
                <a:lnTo>
                  <a:pt x="291084" y="11430"/>
                </a:lnTo>
                <a:lnTo>
                  <a:pt x="286470" y="11405"/>
                </a:lnTo>
                <a:lnTo>
                  <a:pt x="285024" y="194310"/>
                </a:lnTo>
                <a:lnTo>
                  <a:pt x="290322" y="194310"/>
                </a:lnTo>
                <a:lnTo>
                  <a:pt x="290322" y="203454"/>
                </a:lnTo>
                <a:lnTo>
                  <a:pt x="291084" y="203454"/>
                </a:lnTo>
                <a:close/>
              </a:path>
              <a:path w="296545" h="203835">
                <a:moveTo>
                  <a:pt x="291084" y="11430"/>
                </a:moveTo>
                <a:lnTo>
                  <a:pt x="286512" y="6096"/>
                </a:lnTo>
                <a:lnTo>
                  <a:pt x="286470" y="11405"/>
                </a:lnTo>
                <a:lnTo>
                  <a:pt x="291084" y="114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5934114" y="1438492"/>
            <a:ext cx="206744" cy="55264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5871135" y="1366179"/>
            <a:ext cx="339382" cy="57616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5713429" y="1190627"/>
            <a:ext cx="669644" cy="334818"/>
          </a:xfrm>
          <a:custGeom>
            <a:avLst/>
            <a:gdLst/>
            <a:ahLst/>
            <a:cxnLst/>
            <a:rect l="l" t="t" r="r" b="b"/>
            <a:pathLst>
              <a:path w="915670" h="723264">
                <a:moveTo>
                  <a:pt x="915162" y="11429"/>
                </a:moveTo>
                <a:lnTo>
                  <a:pt x="915162" y="7619"/>
                </a:lnTo>
                <a:lnTo>
                  <a:pt x="912114" y="1523"/>
                </a:lnTo>
                <a:lnTo>
                  <a:pt x="909066" y="0"/>
                </a:lnTo>
                <a:lnTo>
                  <a:pt x="6096" y="0"/>
                </a:lnTo>
                <a:lnTo>
                  <a:pt x="3048" y="1523"/>
                </a:lnTo>
                <a:lnTo>
                  <a:pt x="0" y="7619"/>
                </a:lnTo>
                <a:lnTo>
                  <a:pt x="0" y="11429"/>
                </a:lnTo>
                <a:lnTo>
                  <a:pt x="1524" y="14478"/>
                </a:lnTo>
                <a:lnTo>
                  <a:pt x="9906" y="29565"/>
                </a:lnTo>
                <a:lnTo>
                  <a:pt x="9906" y="19050"/>
                </a:lnTo>
                <a:lnTo>
                  <a:pt x="18288" y="4571"/>
                </a:lnTo>
                <a:lnTo>
                  <a:pt x="26321" y="19049"/>
                </a:lnTo>
                <a:lnTo>
                  <a:pt x="888026" y="19050"/>
                </a:lnTo>
                <a:lnTo>
                  <a:pt x="896874" y="4571"/>
                </a:lnTo>
                <a:lnTo>
                  <a:pt x="905256" y="19050"/>
                </a:lnTo>
                <a:lnTo>
                  <a:pt x="905256" y="28194"/>
                </a:lnTo>
                <a:lnTo>
                  <a:pt x="913638" y="14478"/>
                </a:lnTo>
                <a:lnTo>
                  <a:pt x="915162" y="11429"/>
                </a:lnTo>
                <a:close/>
              </a:path>
              <a:path w="915670" h="723264">
                <a:moveTo>
                  <a:pt x="26321" y="19050"/>
                </a:moveTo>
                <a:lnTo>
                  <a:pt x="18288" y="4571"/>
                </a:lnTo>
                <a:lnTo>
                  <a:pt x="9906" y="19050"/>
                </a:lnTo>
                <a:lnTo>
                  <a:pt x="26321" y="19050"/>
                </a:lnTo>
                <a:close/>
              </a:path>
              <a:path w="915670" h="723264">
                <a:moveTo>
                  <a:pt x="377952" y="704088"/>
                </a:moveTo>
                <a:lnTo>
                  <a:pt x="377952" y="653034"/>
                </a:lnTo>
                <a:lnTo>
                  <a:pt x="376428" y="649986"/>
                </a:lnTo>
                <a:lnTo>
                  <a:pt x="26321" y="19050"/>
                </a:lnTo>
                <a:lnTo>
                  <a:pt x="9906" y="19050"/>
                </a:lnTo>
                <a:lnTo>
                  <a:pt x="9906" y="29565"/>
                </a:lnTo>
                <a:lnTo>
                  <a:pt x="358902" y="657758"/>
                </a:lnTo>
                <a:lnTo>
                  <a:pt x="358902" y="654558"/>
                </a:lnTo>
                <a:lnTo>
                  <a:pt x="359664" y="659130"/>
                </a:lnTo>
                <a:lnTo>
                  <a:pt x="359664" y="719480"/>
                </a:lnTo>
                <a:lnTo>
                  <a:pt x="362712" y="723138"/>
                </a:lnTo>
                <a:lnTo>
                  <a:pt x="368046" y="723138"/>
                </a:lnTo>
                <a:lnTo>
                  <a:pt x="368046" y="704088"/>
                </a:lnTo>
                <a:lnTo>
                  <a:pt x="377952" y="704088"/>
                </a:lnTo>
                <a:close/>
              </a:path>
              <a:path w="915670" h="723264">
                <a:moveTo>
                  <a:pt x="359664" y="659130"/>
                </a:moveTo>
                <a:lnTo>
                  <a:pt x="358902" y="654558"/>
                </a:lnTo>
                <a:lnTo>
                  <a:pt x="358902" y="657758"/>
                </a:lnTo>
                <a:lnTo>
                  <a:pt x="359664" y="659130"/>
                </a:lnTo>
                <a:close/>
              </a:path>
              <a:path w="915670" h="723264">
                <a:moveTo>
                  <a:pt x="359664" y="719480"/>
                </a:moveTo>
                <a:lnTo>
                  <a:pt x="359664" y="659130"/>
                </a:lnTo>
                <a:lnTo>
                  <a:pt x="358902" y="657758"/>
                </a:lnTo>
                <a:lnTo>
                  <a:pt x="358902" y="718566"/>
                </a:lnTo>
                <a:lnTo>
                  <a:pt x="359664" y="719480"/>
                </a:lnTo>
                <a:close/>
              </a:path>
              <a:path w="915670" h="723264">
                <a:moveTo>
                  <a:pt x="511302" y="704088"/>
                </a:moveTo>
                <a:lnTo>
                  <a:pt x="368046" y="704088"/>
                </a:lnTo>
                <a:lnTo>
                  <a:pt x="377952" y="713232"/>
                </a:lnTo>
                <a:lnTo>
                  <a:pt x="377952" y="723138"/>
                </a:lnTo>
                <a:lnTo>
                  <a:pt x="501396" y="723138"/>
                </a:lnTo>
                <a:lnTo>
                  <a:pt x="501396" y="713232"/>
                </a:lnTo>
                <a:lnTo>
                  <a:pt x="511302" y="704088"/>
                </a:lnTo>
                <a:close/>
              </a:path>
              <a:path w="915670" h="723264">
                <a:moveTo>
                  <a:pt x="377952" y="723138"/>
                </a:moveTo>
                <a:lnTo>
                  <a:pt x="377952" y="713232"/>
                </a:lnTo>
                <a:lnTo>
                  <a:pt x="368046" y="704088"/>
                </a:lnTo>
                <a:lnTo>
                  <a:pt x="368046" y="723138"/>
                </a:lnTo>
                <a:lnTo>
                  <a:pt x="377952" y="723138"/>
                </a:lnTo>
                <a:close/>
              </a:path>
              <a:path w="915670" h="723264">
                <a:moveTo>
                  <a:pt x="905256" y="28194"/>
                </a:moveTo>
                <a:lnTo>
                  <a:pt x="905256" y="19050"/>
                </a:lnTo>
                <a:lnTo>
                  <a:pt x="888026" y="19050"/>
                </a:lnTo>
                <a:lnTo>
                  <a:pt x="502920" y="649224"/>
                </a:lnTo>
                <a:lnTo>
                  <a:pt x="502158" y="650747"/>
                </a:lnTo>
                <a:lnTo>
                  <a:pt x="501396" y="653033"/>
                </a:lnTo>
                <a:lnTo>
                  <a:pt x="501396" y="704088"/>
                </a:lnTo>
                <a:lnTo>
                  <a:pt x="511302" y="704088"/>
                </a:lnTo>
                <a:lnTo>
                  <a:pt x="511302" y="723138"/>
                </a:lnTo>
                <a:lnTo>
                  <a:pt x="516636" y="723138"/>
                </a:lnTo>
                <a:lnTo>
                  <a:pt x="519684" y="719480"/>
                </a:lnTo>
                <a:lnTo>
                  <a:pt x="519684" y="659130"/>
                </a:lnTo>
                <a:lnTo>
                  <a:pt x="520446" y="654558"/>
                </a:lnTo>
                <a:lnTo>
                  <a:pt x="520446" y="657883"/>
                </a:lnTo>
                <a:lnTo>
                  <a:pt x="905256" y="28194"/>
                </a:lnTo>
                <a:close/>
              </a:path>
              <a:path w="915670" h="723264">
                <a:moveTo>
                  <a:pt x="511302" y="723138"/>
                </a:moveTo>
                <a:lnTo>
                  <a:pt x="511302" y="704088"/>
                </a:lnTo>
                <a:lnTo>
                  <a:pt x="501396" y="713232"/>
                </a:lnTo>
                <a:lnTo>
                  <a:pt x="501396" y="723138"/>
                </a:lnTo>
                <a:lnTo>
                  <a:pt x="511302" y="723138"/>
                </a:lnTo>
                <a:close/>
              </a:path>
              <a:path w="915670" h="723264">
                <a:moveTo>
                  <a:pt x="520446" y="657883"/>
                </a:moveTo>
                <a:lnTo>
                  <a:pt x="520446" y="654558"/>
                </a:lnTo>
                <a:lnTo>
                  <a:pt x="519684" y="659130"/>
                </a:lnTo>
                <a:lnTo>
                  <a:pt x="520446" y="657883"/>
                </a:lnTo>
                <a:close/>
              </a:path>
              <a:path w="915670" h="723264">
                <a:moveTo>
                  <a:pt x="520446" y="718566"/>
                </a:moveTo>
                <a:lnTo>
                  <a:pt x="520446" y="657883"/>
                </a:lnTo>
                <a:lnTo>
                  <a:pt x="519684" y="659130"/>
                </a:lnTo>
                <a:lnTo>
                  <a:pt x="519684" y="719480"/>
                </a:lnTo>
                <a:lnTo>
                  <a:pt x="520446" y="718566"/>
                </a:lnTo>
                <a:close/>
              </a:path>
              <a:path w="915670" h="723264">
                <a:moveTo>
                  <a:pt x="905256" y="19050"/>
                </a:moveTo>
                <a:lnTo>
                  <a:pt x="896874" y="4571"/>
                </a:lnTo>
                <a:lnTo>
                  <a:pt x="888026" y="19050"/>
                </a:lnTo>
                <a:lnTo>
                  <a:pt x="905256" y="19050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5720683" y="1154294"/>
            <a:ext cx="654784" cy="40566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5713438" y="1150061"/>
            <a:ext cx="669644" cy="44975"/>
          </a:xfrm>
          <a:custGeom>
            <a:avLst/>
            <a:gdLst/>
            <a:ahLst/>
            <a:cxnLst/>
            <a:rect l="l" t="t" r="r" b="b"/>
            <a:pathLst>
              <a:path w="915670" h="97154">
                <a:moveTo>
                  <a:pt x="915162" y="96774"/>
                </a:moveTo>
                <a:lnTo>
                  <a:pt x="915162" y="3809"/>
                </a:lnTo>
                <a:lnTo>
                  <a:pt x="910590" y="0"/>
                </a:lnTo>
                <a:lnTo>
                  <a:pt x="4571" y="0"/>
                </a:lnTo>
                <a:lnTo>
                  <a:pt x="0" y="3810"/>
                </a:lnTo>
                <a:lnTo>
                  <a:pt x="0" y="96774"/>
                </a:lnTo>
                <a:lnTo>
                  <a:pt x="9906" y="96774"/>
                </a:lnTo>
                <a:lnTo>
                  <a:pt x="9905" y="19050"/>
                </a:lnTo>
                <a:lnTo>
                  <a:pt x="19049" y="9144"/>
                </a:lnTo>
                <a:lnTo>
                  <a:pt x="19049" y="19050"/>
                </a:lnTo>
                <a:lnTo>
                  <a:pt x="896112" y="19050"/>
                </a:lnTo>
                <a:lnTo>
                  <a:pt x="896112" y="9143"/>
                </a:lnTo>
                <a:lnTo>
                  <a:pt x="905256" y="19050"/>
                </a:lnTo>
                <a:lnTo>
                  <a:pt x="905256" y="96774"/>
                </a:lnTo>
                <a:lnTo>
                  <a:pt x="915162" y="96774"/>
                </a:lnTo>
                <a:close/>
              </a:path>
              <a:path w="915670" h="97154">
                <a:moveTo>
                  <a:pt x="19049" y="19050"/>
                </a:moveTo>
                <a:lnTo>
                  <a:pt x="19049" y="9144"/>
                </a:lnTo>
                <a:lnTo>
                  <a:pt x="9905" y="19050"/>
                </a:lnTo>
                <a:lnTo>
                  <a:pt x="19049" y="19050"/>
                </a:lnTo>
                <a:close/>
              </a:path>
              <a:path w="915670" h="97154">
                <a:moveTo>
                  <a:pt x="19050" y="96774"/>
                </a:moveTo>
                <a:lnTo>
                  <a:pt x="19049" y="19050"/>
                </a:lnTo>
                <a:lnTo>
                  <a:pt x="9905" y="19050"/>
                </a:lnTo>
                <a:lnTo>
                  <a:pt x="9906" y="96774"/>
                </a:lnTo>
                <a:lnTo>
                  <a:pt x="19050" y="96774"/>
                </a:lnTo>
                <a:close/>
              </a:path>
              <a:path w="915670" h="97154">
                <a:moveTo>
                  <a:pt x="905256" y="19050"/>
                </a:moveTo>
                <a:lnTo>
                  <a:pt x="896112" y="9143"/>
                </a:lnTo>
                <a:lnTo>
                  <a:pt x="896112" y="19050"/>
                </a:lnTo>
                <a:lnTo>
                  <a:pt x="905256" y="19050"/>
                </a:lnTo>
                <a:close/>
              </a:path>
              <a:path w="915670" h="97154">
                <a:moveTo>
                  <a:pt x="905256" y="96774"/>
                </a:moveTo>
                <a:lnTo>
                  <a:pt x="905256" y="19050"/>
                </a:lnTo>
                <a:lnTo>
                  <a:pt x="896112" y="19050"/>
                </a:lnTo>
                <a:lnTo>
                  <a:pt x="896112" y="96774"/>
                </a:lnTo>
                <a:lnTo>
                  <a:pt x="905256" y="96774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5" name="object 125"/>
          <p:cNvSpPr/>
          <p:nvPr/>
        </p:nvSpPr>
        <p:spPr>
          <a:xfrm>
            <a:off x="4135269" y="1491875"/>
            <a:ext cx="327392" cy="0"/>
          </a:xfrm>
          <a:custGeom>
            <a:avLst/>
            <a:gdLst/>
            <a:ahLst/>
            <a:cxnLst/>
            <a:rect l="l" t="t" r="r" b="b"/>
            <a:pathLst>
              <a:path w="447675">
                <a:moveTo>
                  <a:pt x="0" y="0"/>
                </a:moveTo>
                <a:lnTo>
                  <a:pt x="447294" y="0"/>
                </a:lnTo>
              </a:path>
            </a:pathLst>
          </a:custGeom>
          <a:ln w="365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4131368" y="1481292"/>
            <a:ext cx="335287" cy="21753"/>
          </a:xfrm>
          <a:custGeom>
            <a:avLst/>
            <a:gdLst/>
            <a:ahLst/>
            <a:cxnLst/>
            <a:rect l="l" t="t" r="r" b="b"/>
            <a:pathLst>
              <a:path w="458470" h="46989">
                <a:moveTo>
                  <a:pt x="457962" y="46482"/>
                </a:moveTo>
                <a:lnTo>
                  <a:pt x="457962" y="0"/>
                </a:lnTo>
                <a:lnTo>
                  <a:pt x="0" y="0"/>
                </a:lnTo>
                <a:lnTo>
                  <a:pt x="0" y="46482"/>
                </a:lnTo>
                <a:lnTo>
                  <a:pt x="5334" y="46482"/>
                </a:lnTo>
                <a:lnTo>
                  <a:pt x="5334" y="9144"/>
                </a:lnTo>
                <a:lnTo>
                  <a:pt x="9906" y="4572"/>
                </a:lnTo>
                <a:lnTo>
                  <a:pt x="9906" y="9144"/>
                </a:lnTo>
                <a:lnTo>
                  <a:pt x="448056" y="9144"/>
                </a:lnTo>
                <a:lnTo>
                  <a:pt x="448056" y="4572"/>
                </a:lnTo>
                <a:lnTo>
                  <a:pt x="452628" y="9144"/>
                </a:lnTo>
                <a:lnTo>
                  <a:pt x="452628" y="46482"/>
                </a:lnTo>
                <a:lnTo>
                  <a:pt x="457962" y="46482"/>
                </a:lnTo>
                <a:close/>
              </a:path>
              <a:path w="458470" h="46989">
                <a:moveTo>
                  <a:pt x="9906" y="9144"/>
                </a:moveTo>
                <a:lnTo>
                  <a:pt x="9906" y="4572"/>
                </a:lnTo>
                <a:lnTo>
                  <a:pt x="5334" y="9144"/>
                </a:lnTo>
                <a:lnTo>
                  <a:pt x="9906" y="9144"/>
                </a:lnTo>
                <a:close/>
              </a:path>
              <a:path w="458470" h="46989">
                <a:moveTo>
                  <a:pt x="9906" y="36576"/>
                </a:moveTo>
                <a:lnTo>
                  <a:pt x="9906" y="9144"/>
                </a:lnTo>
                <a:lnTo>
                  <a:pt x="5334" y="9144"/>
                </a:lnTo>
                <a:lnTo>
                  <a:pt x="5334" y="36576"/>
                </a:lnTo>
                <a:lnTo>
                  <a:pt x="9906" y="36576"/>
                </a:lnTo>
                <a:close/>
              </a:path>
              <a:path w="458470" h="46989">
                <a:moveTo>
                  <a:pt x="452628" y="36576"/>
                </a:moveTo>
                <a:lnTo>
                  <a:pt x="5334" y="36576"/>
                </a:lnTo>
                <a:lnTo>
                  <a:pt x="9906" y="41148"/>
                </a:lnTo>
                <a:lnTo>
                  <a:pt x="9906" y="46482"/>
                </a:lnTo>
                <a:lnTo>
                  <a:pt x="448056" y="46482"/>
                </a:lnTo>
                <a:lnTo>
                  <a:pt x="448056" y="41148"/>
                </a:lnTo>
                <a:lnTo>
                  <a:pt x="452628" y="36576"/>
                </a:lnTo>
                <a:close/>
              </a:path>
              <a:path w="458470" h="46989">
                <a:moveTo>
                  <a:pt x="9906" y="46482"/>
                </a:moveTo>
                <a:lnTo>
                  <a:pt x="9906" y="41148"/>
                </a:lnTo>
                <a:lnTo>
                  <a:pt x="5334" y="36576"/>
                </a:lnTo>
                <a:lnTo>
                  <a:pt x="5334" y="46482"/>
                </a:lnTo>
                <a:lnTo>
                  <a:pt x="9906" y="46482"/>
                </a:lnTo>
                <a:close/>
              </a:path>
              <a:path w="458470" h="46989">
                <a:moveTo>
                  <a:pt x="452628" y="9144"/>
                </a:moveTo>
                <a:lnTo>
                  <a:pt x="448056" y="4572"/>
                </a:lnTo>
                <a:lnTo>
                  <a:pt x="448056" y="9144"/>
                </a:lnTo>
                <a:lnTo>
                  <a:pt x="452628" y="9144"/>
                </a:lnTo>
                <a:close/>
              </a:path>
              <a:path w="458470" h="46989">
                <a:moveTo>
                  <a:pt x="452628" y="36576"/>
                </a:moveTo>
                <a:lnTo>
                  <a:pt x="452628" y="9144"/>
                </a:lnTo>
                <a:lnTo>
                  <a:pt x="448056" y="9144"/>
                </a:lnTo>
                <a:lnTo>
                  <a:pt x="448056" y="36576"/>
                </a:lnTo>
                <a:lnTo>
                  <a:pt x="452628" y="36576"/>
                </a:lnTo>
                <a:close/>
              </a:path>
              <a:path w="458470" h="46989">
                <a:moveTo>
                  <a:pt x="452628" y="46482"/>
                </a:moveTo>
                <a:lnTo>
                  <a:pt x="452628" y="36576"/>
                </a:lnTo>
                <a:lnTo>
                  <a:pt x="448056" y="41148"/>
                </a:lnTo>
                <a:lnTo>
                  <a:pt x="448056" y="46482"/>
                </a:lnTo>
                <a:lnTo>
                  <a:pt x="452628" y="4648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3657695" y="1501752"/>
            <a:ext cx="2275491" cy="76429"/>
          </a:xfrm>
          <a:custGeom>
            <a:avLst/>
            <a:gdLst/>
            <a:ahLst/>
            <a:cxnLst/>
            <a:rect l="l" t="t" r="r" b="b"/>
            <a:pathLst>
              <a:path w="3111500" h="165100">
                <a:moveTo>
                  <a:pt x="3111246" y="36576"/>
                </a:moveTo>
                <a:lnTo>
                  <a:pt x="3111246" y="0"/>
                </a:lnTo>
                <a:lnTo>
                  <a:pt x="558546" y="0"/>
                </a:lnTo>
                <a:lnTo>
                  <a:pt x="0" y="164592"/>
                </a:lnTo>
                <a:lnTo>
                  <a:pt x="67056" y="164592"/>
                </a:lnTo>
                <a:lnTo>
                  <a:pt x="558546" y="36576"/>
                </a:lnTo>
                <a:lnTo>
                  <a:pt x="3111246" y="36576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8" name="object 128"/>
          <p:cNvSpPr/>
          <p:nvPr/>
        </p:nvSpPr>
        <p:spPr>
          <a:xfrm>
            <a:off x="3653793" y="1499635"/>
            <a:ext cx="2282921" cy="80545"/>
          </a:xfrm>
          <a:custGeom>
            <a:avLst/>
            <a:gdLst/>
            <a:ahLst/>
            <a:cxnLst/>
            <a:rect l="l" t="t" r="r" b="b"/>
            <a:pathLst>
              <a:path w="3121659" h="173989">
                <a:moveTo>
                  <a:pt x="3121152" y="44195"/>
                </a:moveTo>
                <a:lnTo>
                  <a:pt x="3121152" y="1523"/>
                </a:lnTo>
                <a:lnTo>
                  <a:pt x="3119628" y="0"/>
                </a:lnTo>
                <a:lnTo>
                  <a:pt x="563118" y="0"/>
                </a:lnTo>
                <a:lnTo>
                  <a:pt x="3810" y="164592"/>
                </a:lnTo>
                <a:lnTo>
                  <a:pt x="1524" y="165354"/>
                </a:lnTo>
                <a:lnTo>
                  <a:pt x="0" y="167640"/>
                </a:lnTo>
                <a:lnTo>
                  <a:pt x="0" y="169926"/>
                </a:lnTo>
                <a:lnTo>
                  <a:pt x="762" y="172212"/>
                </a:lnTo>
                <a:lnTo>
                  <a:pt x="3048" y="173736"/>
                </a:lnTo>
                <a:lnTo>
                  <a:pt x="5334" y="173736"/>
                </a:lnTo>
                <a:lnTo>
                  <a:pt x="5334" y="164592"/>
                </a:lnTo>
                <a:lnTo>
                  <a:pt x="37168" y="164592"/>
                </a:lnTo>
                <a:lnTo>
                  <a:pt x="563880" y="9592"/>
                </a:lnTo>
                <a:lnTo>
                  <a:pt x="563880" y="9144"/>
                </a:lnTo>
                <a:lnTo>
                  <a:pt x="3112008" y="9143"/>
                </a:lnTo>
                <a:lnTo>
                  <a:pt x="3112008" y="4571"/>
                </a:lnTo>
                <a:lnTo>
                  <a:pt x="3116580" y="9143"/>
                </a:lnTo>
                <a:lnTo>
                  <a:pt x="3116580" y="45719"/>
                </a:lnTo>
                <a:lnTo>
                  <a:pt x="3119628" y="45719"/>
                </a:lnTo>
                <a:lnTo>
                  <a:pt x="3121152" y="44195"/>
                </a:lnTo>
                <a:close/>
              </a:path>
              <a:path w="3121659" h="173989">
                <a:moveTo>
                  <a:pt x="37168" y="164592"/>
                </a:moveTo>
                <a:lnTo>
                  <a:pt x="5334" y="164592"/>
                </a:lnTo>
                <a:lnTo>
                  <a:pt x="6096" y="173736"/>
                </a:lnTo>
                <a:lnTo>
                  <a:pt x="37168" y="164592"/>
                </a:lnTo>
                <a:close/>
              </a:path>
              <a:path w="3121659" h="173989">
                <a:moveTo>
                  <a:pt x="6096" y="173736"/>
                </a:moveTo>
                <a:lnTo>
                  <a:pt x="5334" y="164592"/>
                </a:lnTo>
                <a:lnTo>
                  <a:pt x="5334" y="173736"/>
                </a:lnTo>
                <a:lnTo>
                  <a:pt x="6096" y="173736"/>
                </a:lnTo>
                <a:close/>
              </a:path>
              <a:path w="3121659" h="173989">
                <a:moveTo>
                  <a:pt x="72390" y="173736"/>
                </a:moveTo>
                <a:lnTo>
                  <a:pt x="72390" y="164592"/>
                </a:lnTo>
                <a:lnTo>
                  <a:pt x="37168" y="164592"/>
                </a:lnTo>
                <a:lnTo>
                  <a:pt x="6096" y="173736"/>
                </a:lnTo>
                <a:lnTo>
                  <a:pt x="72390" y="173736"/>
                </a:lnTo>
                <a:close/>
              </a:path>
              <a:path w="3121659" h="173989">
                <a:moveTo>
                  <a:pt x="3116580" y="36575"/>
                </a:moveTo>
                <a:lnTo>
                  <a:pt x="563118" y="36576"/>
                </a:lnTo>
                <a:lnTo>
                  <a:pt x="70866" y="164592"/>
                </a:lnTo>
                <a:lnTo>
                  <a:pt x="72390" y="164592"/>
                </a:lnTo>
                <a:lnTo>
                  <a:pt x="72390" y="173736"/>
                </a:lnTo>
                <a:lnTo>
                  <a:pt x="73152" y="173736"/>
                </a:lnTo>
                <a:lnTo>
                  <a:pt x="563880" y="46116"/>
                </a:lnTo>
                <a:lnTo>
                  <a:pt x="563880" y="45720"/>
                </a:lnTo>
                <a:lnTo>
                  <a:pt x="3112008" y="45719"/>
                </a:lnTo>
                <a:lnTo>
                  <a:pt x="3112008" y="41147"/>
                </a:lnTo>
                <a:lnTo>
                  <a:pt x="3116580" y="36575"/>
                </a:lnTo>
                <a:close/>
              </a:path>
              <a:path w="3121659" h="173989">
                <a:moveTo>
                  <a:pt x="565403" y="9144"/>
                </a:moveTo>
                <a:lnTo>
                  <a:pt x="563880" y="9144"/>
                </a:lnTo>
                <a:lnTo>
                  <a:pt x="563880" y="9592"/>
                </a:lnTo>
                <a:lnTo>
                  <a:pt x="565403" y="9144"/>
                </a:lnTo>
                <a:close/>
              </a:path>
              <a:path w="3121659" h="173989">
                <a:moveTo>
                  <a:pt x="565403" y="45720"/>
                </a:moveTo>
                <a:lnTo>
                  <a:pt x="563880" y="45720"/>
                </a:lnTo>
                <a:lnTo>
                  <a:pt x="563880" y="46116"/>
                </a:lnTo>
                <a:lnTo>
                  <a:pt x="565403" y="45720"/>
                </a:lnTo>
                <a:close/>
              </a:path>
              <a:path w="3121659" h="173989">
                <a:moveTo>
                  <a:pt x="3116580" y="9143"/>
                </a:moveTo>
                <a:lnTo>
                  <a:pt x="3112008" y="4571"/>
                </a:lnTo>
                <a:lnTo>
                  <a:pt x="3112008" y="9143"/>
                </a:lnTo>
                <a:lnTo>
                  <a:pt x="3116580" y="9143"/>
                </a:lnTo>
                <a:close/>
              </a:path>
              <a:path w="3121659" h="173989">
                <a:moveTo>
                  <a:pt x="3116580" y="36575"/>
                </a:moveTo>
                <a:lnTo>
                  <a:pt x="3116580" y="9143"/>
                </a:lnTo>
                <a:lnTo>
                  <a:pt x="3112008" y="9143"/>
                </a:lnTo>
                <a:lnTo>
                  <a:pt x="3112008" y="36575"/>
                </a:lnTo>
                <a:lnTo>
                  <a:pt x="3116580" y="36575"/>
                </a:lnTo>
                <a:close/>
              </a:path>
              <a:path w="3121659" h="173989">
                <a:moveTo>
                  <a:pt x="3116580" y="45719"/>
                </a:moveTo>
                <a:lnTo>
                  <a:pt x="3116580" y="36575"/>
                </a:lnTo>
                <a:lnTo>
                  <a:pt x="3112008" y="41147"/>
                </a:lnTo>
                <a:lnTo>
                  <a:pt x="3112008" y="45719"/>
                </a:lnTo>
                <a:lnTo>
                  <a:pt x="3116580" y="457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4544857" y="1491698"/>
            <a:ext cx="327392" cy="0"/>
          </a:xfrm>
          <a:custGeom>
            <a:avLst/>
            <a:gdLst/>
            <a:ahLst/>
            <a:cxnLst/>
            <a:rect l="l" t="t" r="r" b="b"/>
            <a:pathLst>
              <a:path w="447675">
                <a:moveTo>
                  <a:pt x="0" y="0"/>
                </a:moveTo>
                <a:lnTo>
                  <a:pt x="447294" y="0"/>
                </a:lnTo>
              </a:path>
            </a:pathLst>
          </a:custGeom>
          <a:ln w="37337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0" name="object 130"/>
          <p:cNvSpPr/>
          <p:nvPr/>
        </p:nvSpPr>
        <p:spPr>
          <a:xfrm>
            <a:off x="4540948" y="1480939"/>
            <a:ext cx="334358" cy="21753"/>
          </a:xfrm>
          <a:custGeom>
            <a:avLst/>
            <a:gdLst/>
            <a:ahLst/>
            <a:cxnLst/>
            <a:rect l="l" t="t" r="r" b="b"/>
            <a:pathLst>
              <a:path w="457200" h="46989">
                <a:moveTo>
                  <a:pt x="457200" y="46482"/>
                </a:moveTo>
                <a:lnTo>
                  <a:pt x="457200" y="0"/>
                </a:lnTo>
                <a:lnTo>
                  <a:pt x="0" y="0"/>
                </a:lnTo>
                <a:lnTo>
                  <a:pt x="0" y="46482"/>
                </a:lnTo>
                <a:lnTo>
                  <a:pt x="5346" y="46482"/>
                </a:lnTo>
                <a:lnTo>
                  <a:pt x="5346" y="9143"/>
                </a:lnTo>
                <a:lnTo>
                  <a:pt x="9906" y="4572"/>
                </a:lnTo>
                <a:lnTo>
                  <a:pt x="9906" y="9143"/>
                </a:lnTo>
                <a:lnTo>
                  <a:pt x="448056" y="9143"/>
                </a:lnTo>
                <a:lnTo>
                  <a:pt x="448056" y="4572"/>
                </a:lnTo>
                <a:lnTo>
                  <a:pt x="452640" y="9143"/>
                </a:lnTo>
                <a:lnTo>
                  <a:pt x="452640" y="46482"/>
                </a:lnTo>
                <a:lnTo>
                  <a:pt x="457200" y="46482"/>
                </a:lnTo>
                <a:close/>
              </a:path>
              <a:path w="457200" h="46989">
                <a:moveTo>
                  <a:pt x="9906" y="9143"/>
                </a:moveTo>
                <a:lnTo>
                  <a:pt x="9906" y="4572"/>
                </a:lnTo>
                <a:lnTo>
                  <a:pt x="5346" y="9143"/>
                </a:lnTo>
                <a:lnTo>
                  <a:pt x="9906" y="9143"/>
                </a:lnTo>
                <a:close/>
              </a:path>
              <a:path w="457200" h="46989">
                <a:moveTo>
                  <a:pt x="9906" y="36575"/>
                </a:moveTo>
                <a:lnTo>
                  <a:pt x="9906" y="9143"/>
                </a:lnTo>
                <a:lnTo>
                  <a:pt x="5346" y="9143"/>
                </a:lnTo>
                <a:lnTo>
                  <a:pt x="5346" y="36575"/>
                </a:lnTo>
                <a:lnTo>
                  <a:pt x="9906" y="36575"/>
                </a:lnTo>
                <a:close/>
              </a:path>
              <a:path w="457200" h="46989">
                <a:moveTo>
                  <a:pt x="452640" y="36575"/>
                </a:moveTo>
                <a:lnTo>
                  <a:pt x="5346" y="36575"/>
                </a:lnTo>
                <a:lnTo>
                  <a:pt x="9906" y="41910"/>
                </a:lnTo>
                <a:lnTo>
                  <a:pt x="9906" y="46482"/>
                </a:lnTo>
                <a:lnTo>
                  <a:pt x="448056" y="46482"/>
                </a:lnTo>
                <a:lnTo>
                  <a:pt x="448056" y="41910"/>
                </a:lnTo>
                <a:lnTo>
                  <a:pt x="452640" y="36575"/>
                </a:lnTo>
                <a:close/>
              </a:path>
              <a:path w="457200" h="46989">
                <a:moveTo>
                  <a:pt x="9906" y="46482"/>
                </a:moveTo>
                <a:lnTo>
                  <a:pt x="9906" y="41910"/>
                </a:lnTo>
                <a:lnTo>
                  <a:pt x="5346" y="36575"/>
                </a:lnTo>
                <a:lnTo>
                  <a:pt x="5346" y="46482"/>
                </a:lnTo>
                <a:lnTo>
                  <a:pt x="9906" y="46482"/>
                </a:lnTo>
                <a:close/>
              </a:path>
              <a:path w="457200" h="46989">
                <a:moveTo>
                  <a:pt x="452640" y="9143"/>
                </a:moveTo>
                <a:lnTo>
                  <a:pt x="448056" y="4572"/>
                </a:lnTo>
                <a:lnTo>
                  <a:pt x="448056" y="9143"/>
                </a:lnTo>
                <a:lnTo>
                  <a:pt x="452640" y="9143"/>
                </a:lnTo>
                <a:close/>
              </a:path>
              <a:path w="457200" h="46989">
                <a:moveTo>
                  <a:pt x="452640" y="36575"/>
                </a:moveTo>
                <a:lnTo>
                  <a:pt x="452640" y="9143"/>
                </a:lnTo>
                <a:lnTo>
                  <a:pt x="448056" y="9143"/>
                </a:lnTo>
                <a:lnTo>
                  <a:pt x="448056" y="36575"/>
                </a:lnTo>
                <a:lnTo>
                  <a:pt x="452640" y="36575"/>
                </a:lnTo>
                <a:close/>
              </a:path>
              <a:path w="457200" h="46989">
                <a:moveTo>
                  <a:pt x="452640" y="46482"/>
                </a:moveTo>
                <a:lnTo>
                  <a:pt x="452640" y="36575"/>
                </a:lnTo>
                <a:lnTo>
                  <a:pt x="448056" y="41910"/>
                </a:lnTo>
                <a:lnTo>
                  <a:pt x="448056" y="46482"/>
                </a:lnTo>
                <a:lnTo>
                  <a:pt x="452640" y="4648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4953879" y="1491345"/>
            <a:ext cx="327856" cy="0"/>
          </a:xfrm>
          <a:custGeom>
            <a:avLst/>
            <a:gdLst/>
            <a:ahLst/>
            <a:cxnLst/>
            <a:rect l="l" t="t" r="r" b="b"/>
            <a:pathLst>
              <a:path w="448309">
                <a:moveTo>
                  <a:pt x="0" y="0"/>
                </a:moveTo>
                <a:lnTo>
                  <a:pt x="448055" y="0"/>
                </a:lnTo>
              </a:path>
            </a:pathLst>
          </a:custGeom>
          <a:ln w="37337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4950536" y="1480586"/>
            <a:ext cx="334358" cy="21753"/>
          </a:xfrm>
          <a:custGeom>
            <a:avLst/>
            <a:gdLst/>
            <a:ahLst/>
            <a:cxnLst/>
            <a:rect l="l" t="t" r="r" b="b"/>
            <a:pathLst>
              <a:path w="457200" h="46989">
                <a:moveTo>
                  <a:pt x="457200" y="46482"/>
                </a:moveTo>
                <a:lnTo>
                  <a:pt x="457200" y="0"/>
                </a:lnTo>
                <a:lnTo>
                  <a:pt x="0" y="0"/>
                </a:lnTo>
                <a:lnTo>
                  <a:pt x="0" y="46482"/>
                </a:lnTo>
                <a:lnTo>
                  <a:pt x="4572" y="46482"/>
                </a:lnTo>
                <a:lnTo>
                  <a:pt x="4572" y="9905"/>
                </a:lnTo>
                <a:lnTo>
                  <a:pt x="9918" y="4572"/>
                </a:lnTo>
                <a:lnTo>
                  <a:pt x="9918" y="9905"/>
                </a:lnTo>
                <a:lnTo>
                  <a:pt x="448068" y="9905"/>
                </a:lnTo>
                <a:lnTo>
                  <a:pt x="448068" y="4572"/>
                </a:lnTo>
                <a:lnTo>
                  <a:pt x="452640" y="9905"/>
                </a:lnTo>
                <a:lnTo>
                  <a:pt x="452640" y="46482"/>
                </a:lnTo>
                <a:lnTo>
                  <a:pt x="457200" y="46482"/>
                </a:lnTo>
                <a:close/>
              </a:path>
              <a:path w="457200" h="46989">
                <a:moveTo>
                  <a:pt x="9918" y="9905"/>
                </a:moveTo>
                <a:lnTo>
                  <a:pt x="9918" y="4572"/>
                </a:lnTo>
                <a:lnTo>
                  <a:pt x="4572" y="9905"/>
                </a:lnTo>
                <a:lnTo>
                  <a:pt x="9918" y="9905"/>
                </a:lnTo>
                <a:close/>
              </a:path>
              <a:path w="457200" h="46989">
                <a:moveTo>
                  <a:pt x="9918" y="36575"/>
                </a:moveTo>
                <a:lnTo>
                  <a:pt x="9918" y="9905"/>
                </a:lnTo>
                <a:lnTo>
                  <a:pt x="4572" y="9905"/>
                </a:lnTo>
                <a:lnTo>
                  <a:pt x="4572" y="36575"/>
                </a:lnTo>
                <a:lnTo>
                  <a:pt x="9918" y="36575"/>
                </a:lnTo>
                <a:close/>
              </a:path>
              <a:path w="457200" h="46989">
                <a:moveTo>
                  <a:pt x="452640" y="36575"/>
                </a:moveTo>
                <a:lnTo>
                  <a:pt x="4572" y="36575"/>
                </a:lnTo>
                <a:lnTo>
                  <a:pt x="9918" y="41910"/>
                </a:lnTo>
                <a:lnTo>
                  <a:pt x="9918" y="46482"/>
                </a:lnTo>
                <a:lnTo>
                  <a:pt x="448068" y="46482"/>
                </a:lnTo>
                <a:lnTo>
                  <a:pt x="448068" y="41910"/>
                </a:lnTo>
                <a:lnTo>
                  <a:pt x="452640" y="36575"/>
                </a:lnTo>
                <a:close/>
              </a:path>
              <a:path w="457200" h="46989">
                <a:moveTo>
                  <a:pt x="9918" y="46482"/>
                </a:moveTo>
                <a:lnTo>
                  <a:pt x="9918" y="41910"/>
                </a:lnTo>
                <a:lnTo>
                  <a:pt x="4572" y="36575"/>
                </a:lnTo>
                <a:lnTo>
                  <a:pt x="4572" y="46482"/>
                </a:lnTo>
                <a:lnTo>
                  <a:pt x="9918" y="46482"/>
                </a:lnTo>
                <a:close/>
              </a:path>
              <a:path w="457200" h="46989">
                <a:moveTo>
                  <a:pt x="452640" y="9905"/>
                </a:moveTo>
                <a:lnTo>
                  <a:pt x="448068" y="4572"/>
                </a:lnTo>
                <a:lnTo>
                  <a:pt x="448068" y="9905"/>
                </a:lnTo>
                <a:lnTo>
                  <a:pt x="452640" y="9905"/>
                </a:lnTo>
                <a:close/>
              </a:path>
              <a:path w="457200" h="46989">
                <a:moveTo>
                  <a:pt x="452640" y="36575"/>
                </a:moveTo>
                <a:lnTo>
                  <a:pt x="452640" y="9905"/>
                </a:lnTo>
                <a:lnTo>
                  <a:pt x="448068" y="9905"/>
                </a:lnTo>
                <a:lnTo>
                  <a:pt x="448068" y="36575"/>
                </a:lnTo>
                <a:lnTo>
                  <a:pt x="452640" y="36575"/>
                </a:lnTo>
                <a:close/>
              </a:path>
              <a:path w="457200" h="46989">
                <a:moveTo>
                  <a:pt x="452640" y="46482"/>
                </a:moveTo>
                <a:lnTo>
                  <a:pt x="452640" y="36575"/>
                </a:lnTo>
                <a:lnTo>
                  <a:pt x="448068" y="41910"/>
                </a:lnTo>
                <a:lnTo>
                  <a:pt x="448068" y="46482"/>
                </a:lnTo>
                <a:lnTo>
                  <a:pt x="452640" y="4648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5360690" y="1491345"/>
            <a:ext cx="327856" cy="0"/>
          </a:xfrm>
          <a:custGeom>
            <a:avLst/>
            <a:gdLst/>
            <a:ahLst/>
            <a:cxnLst/>
            <a:rect l="l" t="t" r="r" b="b"/>
            <a:pathLst>
              <a:path w="448309">
                <a:moveTo>
                  <a:pt x="0" y="0"/>
                </a:moveTo>
                <a:lnTo>
                  <a:pt x="448055" y="0"/>
                </a:lnTo>
              </a:path>
            </a:pathLst>
          </a:custGeom>
          <a:ln w="37337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5357337" y="1480586"/>
            <a:ext cx="334358" cy="21753"/>
          </a:xfrm>
          <a:custGeom>
            <a:avLst/>
            <a:gdLst/>
            <a:ahLst/>
            <a:cxnLst/>
            <a:rect l="l" t="t" r="r" b="b"/>
            <a:pathLst>
              <a:path w="457200" h="46989">
                <a:moveTo>
                  <a:pt x="457200" y="46482"/>
                </a:moveTo>
                <a:lnTo>
                  <a:pt x="457200" y="0"/>
                </a:lnTo>
                <a:lnTo>
                  <a:pt x="0" y="0"/>
                </a:lnTo>
                <a:lnTo>
                  <a:pt x="0" y="46482"/>
                </a:lnTo>
                <a:lnTo>
                  <a:pt x="4584" y="46482"/>
                </a:lnTo>
                <a:lnTo>
                  <a:pt x="4584" y="9905"/>
                </a:lnTo>
                <a:lnTo>
                  <a:pt x="9156" y="4572"/>
                </a:lnTo>
                <a:lnTo>
                  <a:pt x="9156" y="9905"/>
                </a:lnTo>
                <a:lnTo>
                  <a:pt x="447306" y="9905"/>
                </a:lnTo>
                <a:lnTo>
                  <a:pt x="447306" y="4572"/>
                </a:lnTo>
                <a:lnTo>
                  <a:pt x="452640" y="9905"/>
                </a:lnTo>
                <a:lnTo>
                  <a:pt x="452640" y="46482"/>
                </a:lnTo>
                <a:lnTo>
                  <a:pt x="457200" y="46482"/>
                </a:lnTo>
                <a:close/>
              </a:path>
              <a:path w="457200" h="46989">
                <a:moveTo>
                  <a:pt x="9156" y="9905"/>
                </a:moveTo>
                <a:lnTo>
                  <a:pt x="9156" y="4572"/>
                </a:lnTo>
                <a:lnTo>
                  <a:pt x="4584" y="9905"/>
                </a:lnTo>
                <a:lnTo>
                  <a:pt x="9156" y="9905"/>
                </a:lnTo>
                <a:close/>
              </a:path>
              <a:path w="457200" h="46989">
                <a:moveTo>
                  <a:pt x="9156" y="36575"/>
                </a:moveTo>
                <a:lnTo>
                  <a:pt x="9156" y="9905"/>
                </a:lnTo>
                <a:lnTo>
                  <a:pt x="4584" y="9905"/>
                </a:lnTo>
                <a:lnTo>
                  <a:pt x="4584" y="36575"/>
                </a:lnTo>
                <a:lnTo>
                  <a:pt x="9156" y="36575"/>
                </a:lnTo>
                <a:close/>
              </a:path>
              <a:path w="457200" h="46989">
                <a:moveTo>
                  <a:pt x="452640" y="36575"/>
                </a:moveTo>
                <a:lnTo>
                  <a:pt x="4584" y="36575"/>
                </a:lnTo>
                <a:lnTo>
                  <a:pt x="9156" y="41910"/>
                </a:lnTo>
                <a:lnTo>
                  <a:pt x="9156" y="46482"/>
                </a:lnTo>
                <a:lnTo>
                  <a:pt x="447306" y="46482"/>
                </a:lnTo>
                <a:lnTo>
                  <a:pt x="447306" y="41910"/>
                </a:lnTo>
                <a:lnTo>
                  <a:pt x="452640" y="36575"/>
                </a:lnTo>
                <a:close/>
              </a:path>
              <a:path w="457200" h="46989">
                <a:moveTo>
                  <a:pt x="9156" y="46482"/>
                </a:moveTo>
                <a:lnTo>
                  <a:pt x="9156" y="41910"/>
                </a:lnTo>
                <a:lnTo>
                  <a:pt x="4584" y="36575"/>
                </a:lnTo>
                <a:lnTo>
                  <a:pt x="4584" y="46482"/>
                </a:lnTo>
                <a:lnTo>
                  <a:pt x="9156" y="46482"/>
                </a:lnTo>
                <a:close/>
              </a:path>
              <a:path w="457200" h="46989">
                <a:moveTo>
                  <a:pt x="452640" y="9905"/>
                </a:moveTo>
                <a:lnTo>
                  <a:pt x="447306" y="4572"/>
                </a:lnTo>
                <a:lnTo>
                  <a:pt x="447306" y="9905"/>
                </a:lnTo>
                <a:lnTo>
                  <a:pt x="452640" y="9905"/>
                </a:lnTo>
                <a:close/>
              </a:path>
              <a:path w="457200" h="46989">
                <a:moveTo>
                  <a:pt x="452640" y="36575"/>
                </a:moveTo>
                <a:lnTo>
                  <a:pt x="452640" y="9905"/>
                </a:lnTo>
                <a:lnTo>
                  <a:pt x="447306" y="9905"/>
                </a:lnTo>
                <a:lnTo>
                  <a:pt x="447306" y="36575"/>
                </a:lnTo>
                <a:lnTo>
                  <a:pt x="452640" y="36575"/>
                </a:lnTo>
                <a:close/>
              </a:path>
              <a:path w="457200" h="46989">
                <a:moveTo>
                  <a:pt x="452640" y="46482"/>
                </a:moveTo>
                <a:lnTo>
                  <a:pt x="452640" y="36575"/>
                </a:lnTo>
                <a:lnTo>
                  <a:pt x="447306" y="41910"/>
                </a:lnTo>
                <a:lnTo>
                  <a:pt x="447306" y="46482"/>
                </a:lnTo>
                <a:lnTo>
                  <a:pt x="452640" y="4648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4135269" y="1654139"/>
            <a:ext cx="327392" cy="0"/>
          </a:xfrm>
          <a:custGeom>
            <a:avLst/>
            <a:gdLst/>
            <a:ahLst/>
            <a:cxnLst/>
            <a:rect l="l" t="t" r="r" b="b"/>
            <a:pathLst>
              <a:path w="447675">
                <a:moveTo>
                  <a:pt x="0" y="0"/>
                </a:moveTo>
                <a:lnTo>
                  <a:pt x="447294" y="0"/>
                </a:lnTo>
              </a:path>
            </a:pathLst>
          </a:custGeom>
          <a:ln w="2895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4131368" y="1645320"/>
            <a:ext cx="335287" cy="18226"/>
          </a:xfrm>
          <a:custGeom>
            <a:avLst/>
            <a:gdLst/>
            <a:ahLst/>
            <a:cxnLst/>
            <a:rect l="l" t="t" r="r" b="b"/>
            <a:pathLst>
              <a:path w="458470" h="39370">
                <a:moveTo>
                  <a:pt x="457962" y="38862"/>
                </a:moveTo>
                <a:lnTo>
                  <a:pt x="457962" y="0"/>
                </a:lnTo>
                <a:lnTo>
                  <a:pt x="0" y="0"/>
                </a:lnTo>
                <a:lnTo>
                  <a:pt x="0" y="38862"/>
                </a:lnTo>
                <a:lnTo>
                  <a:pt x="5334" y="38862"/>
                </a:lnTo>
                <a:lnTo>
                  <a:pt x="5334" y="9906"/>
                </a:lnTo>
                <a:lnTo>
                  <a:pt x="9906" y="4572"/>
                </a:lnTo>
                <a:lnTo>
                  <a:pt x="9906" y="9906"/>
                </a:lnTo>
                <a:lnTo>
                  <a:pt x="448056" y="9906"/>
                </a:lnTo>
                <a:lnTo>
                  <a:pt x="448056" y="4572"/>
                </a:lnTo>
                <a:lnTo>
                  <a:pt x="452628" y="9906"/>
                </a:lnTo>
                <a:lnTo>
                  <a:pt x="452628" y="38862"/>
                </a:lnTo>
                <a:lnTo>
                  <a:pt x="457962" y="38862"/>
                </a:lnTo>
                <a:close/>
              </a:path>
              <a:path w="458470" h="39370">
                <a:moveTo>
                  <a:pt x="9906" y="9906"/>
                </a:moveTo>
                <a:lnTo>
                  <a:pt x="9906" y="4572"/>
                </a:lnTo>
                <a:lnTo>
                  <a:pt x="5334" y="9906"/>
                </a:lnTo>
                <a:lnTo>
                  <a:pt x="9906" y="9906"/>
                </a:lnTo>
                <a:close/>
              </a:path>
              <a:path w="458470" h="39370">
                <a:moveTo>
                  <a:pt x="9906" y="28956"/>
                </a:moveTo>
                <a:lnTo>
                  <a:pt x="9906" y="9906"/>
                </a:lnTo>
                <a:lnTo>
                  <a:pt x="5334" y="9906"/>
                </a:lnTo>
                <a:lnTo>
                  <a:pt x="5334" y="28956"/>
                </a:lnTo>
                <a:lnTo>
                  <a:pt x="9906" y="28956"/>
                </a:lnTo>
                <a:close/>
              </a:path>
              <a:path w="458470" h="39370">
                <a:moveTo>
                  <a:pt x="452628" y="28956"/>
                </a:moveTo>
                <a:lnTo>
                  <a:pt x="5334" y="28956"/>
                </a:lnTo>
                <a:lnTo>
                  <a:pt x="9906" y="33528"/>
                </a:lnTo>
                <a:lnTo>
                  <a:pt x="9906" y="38862"/>
                </a:lnTo>
                <a:lnTo>
                  <a:pt x="448056" y="38862"/>
                </a:lnTo>
                <a:lnTo>
                  <a:pt x="448056" y="33528"/>
                </a:lnTo>
                <a:lnTo>
                  <a:pt x="452628" y="28956"/>
                </a:lnTo>
                <a:close/>
              </a:path>
              <a:path w="458470" h="39370">
                <a:moveTo>
                  <a:pt x="9906" y="38862"/>
                </a:moveTo>
                <a:lnTo>
                  <a:pt x="9906" y="33528"/>
                </a:lnTo>
                <a:lnTo>
                  <a:pt x="5334" y="28956"/>
                </a:lnTo>
                <a:lnTo>
                  <a:pt x="5334" y="38862"/>
                </a:lnTo>
                <a:lnTo>
                  <a:pt x="9906" y="38862"/>
                </a:lnTo>
                <a:close/>
              </a:path>
              <a:path w="458470" h="39370">
                <a:moveTo>
                  <a:pt x="452628" y="9906"/>
                </a:moveTo>
                <a:lnTo>
                  <a:pt x="448056" y="4572"/>
                </a:lnTo>
                <a:lnTo>
                  <a:pt x="448056" y="9906"/>
                </a:lnTo>
                <a:lnTo>
                  <a:pt x="452628" y="9906"/>
                </a:lnTo>
                <a:close/>
              </a:path>
              <a:path w="458470" h="39370">
                <a:moveTo>
                  <a:pt x="452628" y="28956"/>
                </a:moveTo>
                <a:lnTo>
                  <a:pt x="452628" y="9906"/>
                </a:lnTo>
                <a:lnTo>
                  <a:pt x="448056" y="9906"/>
                </a:lnTo>
                <a:lnTo>
                  <a:pt x="448056" y="28956"/>
                </a:lnTo>
                <a:lnTo>
                  <a:pt x="452628" y="28956"/>
                </a:lnTo>
                <a:close/>
              </a:path>
              <a:path w="458470" h="39370">
                <a:moveTo>
                  <a:pt x="452628" y="38862"/>
                </a:moveTo>
                <a:lnTo>
                  <a:pt x="452628" y="28956"/>
                </a:lnTo>
                <a:lnTo>
                  <a:pt x="448056" y="33528"/>
                </a:lnTo>
                <a:lnTo>
                  <a:pt x="448056" y="38862"/>
                </a:lnTo>
                <a:lnTo>
                  <a:pt x="452628" y="3886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3657695" y="1586764"/>
            <a:ext cx="2275491" cy="59967"/>
          </a:xfrm>
          <a:custGeom>
            <a:avLst/>
            <a:gdLst/>
            <a:ahLst/>
            <a:cxnLst/>
            <a:rect l="l" t="t" r="r" b="b"/>
            <a:pathLst>
              <a:path w="3111500" h="129539">
                <a:moveTo>
                  <a:pt x="3111246" y="129539"/>
                </a:moveTo>
                <a:lnTo>
                  <a:pt x="3111246" y="100583"/>
                </a:lnTo>
                <a:lnTo>
                  <a:pt x="558546" y="100583"/>
                </a:lnTo>
                <a:lnTo>
                  <a:pt x="67056" y="0"/>
                </a:lnTo>
                <a:lnTo>
                  <a:pt x="0" y="0"/>
                </a:lnTo>
                <a:lnTo>
                  <a:pt x="558546" y="129539"/>
                </a:lnTo>
                <a:lnTo>
                  <a:pt x="3111246" y="129539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3653793" y="1584647"/>
            <a:ext cx="2282921" cy="64377"/>
          </a:xfrm>
          <a:custGeom>
            <a:avLst/>
            <a:gdLst/>
            <a:ahLst/>
            <a:cxnLst/>
            <a:rect l="l" t="t" r="r" b="b"/>
            <a:pathLst>
              <a:path w="3121659" h="139064">
                <a:moveTo>
                  <a:pt x="6096" y="0"/>
                </a:moveTo>
                <a:lnTo>
                  <a:pt x="2286" y="0"/>
                </a:lnTo>
                <a:lnTo>
                  <a:pt x="762" y="2286"/>
                </a:lnTo>
                <a:lnTo>
                  <a:pt x="0" y="4572"/>
                </a:lnTo>
                <a:lnTo>
                  <a:pt x="0" y="6858"/>
                </a:lnTo>
                <a:lnTo>
                  <a:pt x="1524" y="9144"/>
                </a:lnTo>
                <a:lnTo>
                  <a:pt x="3810" y="9906"/>
                </a:lnTo>
                <a:lnTo>
                  <a:pt x="5334" y="10256"/>
                </a:lnTo>
                <a:lnTo>
                  <a:pt x="5334" y="9906"/>
                </a:lnTo>
                <a:lnTo>
                  <a:pt x="6096" y="0"/>
                </a:lnTo>
                <a:close/>
              </a:path>
              <a:path w="3121659" h="139064">
                <a:moveTo>
                  <a:pt x="48866" y="9905"/>
                </a:moveTo>
                <a:lnTo>
                  <a:pt x="6096" y="0"/>
                </a:lnTo>
                <a:lnTo>
                  <a:pt x="5334" y="9906"/>
                </a:lnTo>
                <a:lnTo>
                  <a:pt x="48866" y="9905"/>
                </a:lnTo>
                <a:close/>
              </a:path>
              <a:path w="3121659" h="139064">
                <a:moveTo>
                  <a:pt x="565404" y="129539"/>
                </a:moveTo>
                <a:lnTo>
                  <a:pt x="48866" y="9905"/>
                </a:lnTo>
                <a:lnTo>
                  <a:pt x="5334" y="9906"/>
                </a:lnTo>
                <a:lnTo>
                  <a:pt x="5334" y="10256"/>
                </a:lnTo>
                <a:lnTo>
                  <a:pt x="563118" y="138683"/>
                </a:lnTo>
                <a:lnTo>
                  <a:pt x="563880" y="138683"/>
                </a:lnTo>
                <a:lnTo>
                  <a:pt x="563880" y="129539"/>
                </a:lnTo>
                <a:lnTo>
                  <a:pt x="565404" y="129539"/>
                </a:lnTo>
                <a:close/>
              </a:path>
              <a:path w="3121659" h="139064">
                <a:moveTo>
                  <a:pt x="565404" y="100583"/>
                </a:moveTo>
                <a:lnTo>
                  <a:pt x="73152" y="0"/>
                </a:lnTo>
                <a:lnTo>
                  <a:pt x="6096" y="0"/>
                </a:lnTo>
                <a:lnTo>
                  <a:pt x="48866" y="9905"/>
                </a:lnTo>
                <a:lnTo>
                  <a:pt x="72390" y="9905"/>
                </a:lnTo>
                <a:lnTo>
                  <a:pt x="72390" y="10215"/>
                </a:lnTo>
                <a:lnTo>
                  <a:pt x="563118" y="109727"/>
                </a:lnTo>
                <a:lnTo>
                  <a:pt x="563880" y="109727"/>
                </a:lnTo>
                <a:lnTo>
                  <a:pt x="563880" y="100583"/>
                </a:lnTo>
                <a:lnTo>
                  <a:pt x="565404" y="100583"/>
                </a:lnTo>
                <a:close/>
              </a:path>
              <a:path w="3121659" h="139064">
                <a:moveTo>
                  <a:pt x="72390" y="10215"/>
                </a:moveTo>
                <a:lnTo>
                  <a:pt x="72390" y="9905"/>
                </a:lnTo>
                <a:lnTo>
                  <a:pt x="70866" y="9905"/>
                </a:lnTo>
                <a:lnTo>
                  <a:pt x="72390" y="10215"/>
                </a:lnTo>
                <a:close/>
              </a:path>
              <a:path w="3121659" h="139064">
                <a:moveTo>
                  <a:pt x="3121152" y="136397"/>
                </a:moveTo>
                <a:lnTo>
                  <a:pt x="3121152" y="102107"/>
                </a:lnTo>
                <a:lnTo>
                  <a:pt x="3119628" y="100583"/>
                </a:lnTo>
                <a:lnTo>
                  <a:pt x="563880" y="100583"/>
                </a:lnTo>
                <a:lnTo>
                  <a:pt x="563880" y="109727"/>
                </a:lnTo>
                <a:lnTo>
                  <a:pt x="3112008" y="109727"/>
                </a:lnTo>
                <a:lnTo>
                  <a:pt x="3112008" y="105155"/>
                </a:lnTo>
                <a:lnTo>
                  <a:pt x="3116580" y="109727"/>
                </a:lnTo>
                <a:lnTo>
                  <a:pt x="3116580" y="138683"/>
                </a:lnTo>
                <a:lnTo>
                  <a:pt x="3119628" y="138683"/>
                </a:lnTo>
                <a:lnTo>
                  <a:pt x="3121152" y="136397"/>
                </a:lnTo>
                <a:close/>
              </a:path>
              <a:path w="3121659" h="139064">
                <a:moveTo>
                  <a:pt x="3116580" y="129539"/>
                </a:moveTo>
                <a:lnTo>
                  <a:pt x="563880" y="129539"/>
                </a:lnTo>
                <a:lnTo>
                  <a:pt x="563880" y="138683"/>
                </a:lnTo>
                <a:lnTo>
                  <a:pt x="3112007" y="138683"/>
                </a:lnTo>
                <a:lnTo>
                  <a:pt x="3112008" y="134111"/>
                </a:lnTo>
                <a:lnTo>
                  <a:pt x="3116580" y="129539"/>
                </a:lnTo>
                <a:close/>
              </a:path>
              <a:path w="3121659" h="139064">
                <a:moveTo>
                  <a:pt x="3116580" y="109727"/>
                </a:moveTo>
                <a:lnTo>
                  <a:pt x="3112008" y="105155"/>
                </a:lnTo>
                <a:lnTo>
                  <a:pt x="3112008" y="109727"/>
                </a:lnTo>
                <a:lnTo>
                  <a:pt x="3116580" y="109727"/>
                </a:lnTo>
                <a:close/>
              </a:path>
              <a:path w="3121659" h="139064">
                <a:moveTo>
                  <a:pt x="3116580" y="129539"/>
                </a:moveTo>
                <a:lnTo>
                  <a:pt x="3116580" y="109727"/>
                </a:lnTo>
                <a:lnTo>
                  <a:pt x="3112008" y="109727"/>
                </a:lnTo>
                <a:lnTo>
                  <a:pt x="3112008" y="129539"/>
                </a:lnTo>
                <a:lnTo>
                  <a:pt x="3116580" y="129539"/>
                </a:lnTo>
                <a:close/>
              </a:path>
              <a:path w="3121659" h="139064">
                <a:moveTo>
                  <a:pt x="3116580" y="138683"/>
                </a:moveTo>
                <a:lnTo>
                  <a:pt x="3116580" y="129539"/>
                </a:lnTo>
                <a:lnTo>
                  <a:pt x="3112008" y="134111"/>
                </a:lnTo>
                <a:lnTo>
                  <a:pt x="3112007" y="138683"/>
                </a:lnTo>
                <a:lnTo>
                  <a:pt x="3116580" y="13868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4544857" y="1654491"/>
            <a:ext cx="327392" cy="0"/>
          </a:xfrm>
          <a:custGeom>
            <a:avLst/>
            <a:gdLst/>
            <a:ahLst/>
            <a:cxnLst/>
            <a:rect l="l" t="t" r="r" b="b"/>
            <a:pathLst>
              <a:path w="447675">
                <a:moveTo>
                  <a:pt x="0" y="0"/>
                </a:moveTo>
                <a:lnTo>
                  <a:pt x="447294" y="0"/>
                </a:lnTo>
              </a:path>
            </a:pathLst>
          </a:custGeom>
          <a:ln w="2895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4540948" y="1645672"/>
            <a:ext cx="334358" cy="17638"/>
          </a:xfrm>
          <a:custGeom>
            <a:avLst/>
            <a:gdLst/>
            <a:ahLst/>
            <a:cxnLst/>
            <a:rect l="l" t="t" r="r" b="b"/>
            <a:pathLst>
              <a:path w="457200" h="38100">
                <a:moveTo>
                  <a:pt x="457200" y="38100"/>
                </a:moveTo>
                <a:lnTo>
                  <a:pt x="457200" y="0"/>
                </a:lnTo>
                <a:lnTo>
                  <a:pt x="0" y="0"/>
                </a:lnTo>
                <a:lnTo>
                  <a:pt x="0" y="38100"/>
                </a:lnTo>
                <a:lnTo>
                  <a:pt x="5346" y="38100"/>
                </a:lnTo>
                <a:lnTo>
                  <a:pt x="5346" y="9144"/>
                </a:lnTo>
                <a:lnTo>
                  <a:pt x="9906" y="4572"/>
                </a:lnTo>
                <a:lnTo>
                  <a:pt x="9906" y="9144"/>
                </a:lnTo>
                <a:lnTo>
                  <a:pt x="448056" y="9144"/>
                </a:lnTo>
                <a:lnTo>
                  <a:pt x="448056" y="4572"/>
                </a:lnTo>
                <a:lnTo>
                  <a:pt x="452640" y="9144"/>
                </a:lnTo>
                <a:lnTo>
                  <a:pt x="452640" y="38100"/>
                </a:lnTo>
                <a:lnTo>
                  <a:pt x="457200" y="38100"/>
                </a:lnTo>
                <a:close/>
              </a:path>
              <a:path w="457200" h="38100">
                <a:moveTo>
                  <a:pt x="9906" y="9144"/>
                </a:moveTo>
                <a:lnTo>
                  <a:pt x="9906" y="4572"/>
                </a:lnTo>
                <a:lnTo>
                  <a:pt x="5346" y="9144"/>
                </a:lnTo>
                <a:lnTo>
                  <a:pt x="9906" y="9144"/>
                </a:lnTo>
                <a:close/>
              </a:path>
              <a:path w="457200" h="38100">
                <a:moveTo>
                  <a:pt x="9906" y="28956"/>
                </a:moveTo>
                <a:lnTo>
                  <a:pt x="9906" y="9144"/>
                </a:lnTo>
                <a:lnTo>
                  <a:pt x="5346" y="9144"/>
                </a:lnTo>
                <a:lnTo>
                  <a:pt x="5346" y="28956"/>
                </a:lnTo>
                <a:lnTo>
                  <a:pt x="9906" y="28956"/>
                </a:lnTo>
                <a:close/>
              </a:path>
              <a:path w="457200" h="38100">
                <a:moveTo>
                  <a:pt x="452640" y="28956"/>
                </a:moveTo>
                <a:lnTo>
                  <a:pt x="5346" y="28956"/>
                </a:lnTo>
                <a:lnTo>
                  <a:pt x="9906" y="33528"/>
                </a:lnTo>
                <a:lnTo>
                  <a:pt x="9906" y="38100"/>
                </a:lnTo>
                <a:lnTo>
                  <a:pt x="448056" y="38100"/>
                </a:lnTo>
                <a:lnTo>
                  <a:pt x="448056" y="33528"/>
                </a:lnTo>
                <a:lnTo>
                  <a:pt x="452640" y="28956"/>
                </a:lnTo>
                <a:close/>
              </a:path>
              <a:path w="457200" h="38100">
                <a:moveTo>
                  <a:pt x="9906" y="38100"/>
                </a:moveTo>
                <a:lnTo>
                  <a:pt x="9906" y="33528"/>
                </a:lnTo>
                <a:lnTo>
                  <a:pt x="5346" y="28956"/>
                </a:lnTo>
                <a:lnTo>
                  <a:pt x="5346" y="38100"/>
                </a:lnTo>
                <a:lnTo>
                  <a:pt x="9906" y="38100"/>
                </a:lnTo>
                <a:close/>
              </a:path>
              <a:path w="457200" h="38100">
                <a:moveTo>
                  <a:pt x="452640" y="9144"/>
                </a:moveTo>
                <a:lnTo>
                  <a:pt x="448056" y="4572"/>
                </a:lnTo>
                <a:lnTo>
                  <a:pt x="448056" y="9144"/>
                </a:lnTo>
                <a:lnTo>
                  <a:pt x="452640" y="9144"/>
                </a:lnTo>
                <a:close/>
              </a:path>
              <a:path w="457200" h="38100">
                <a:moveTo>
                  <a:pt x="452640" y="28956"/>
                </a:moveTo>
                <a:lnTo>
                  <a:pt x="452640" y="9144"/>
                </a:lnTo>
                <a:lnTo>
                  <a:pt x="448056" y="9144"/>
                </a:lnTo>
                <a:lnTo>
                  <a:pt x="448056" y="28956"/>
                </a:lnTo>
                <a:lnTo>
                  <a:pt x="452640" y="28956"/>
                </a:lnTo>
                <a:close/>
              </a:path>
              <a:path w="457200" h="38100">
                <a:moveTo>
                  <a:pt x="452640" y="38100"/>
                </a:moveTo>
                <a:lnTo>
                  <a:pt x="452640" y="28956"/>
                </a:lnTo>
                <a:lnTo>
                  <a:pt x="448056" y="33528"/>
                </a:lnTo>
                <a:lnTo>
                  <a:pt x="448056" y="38100"/>
                </a:lnTo>
                <a:lnTo>
                  <a:pt x="452640" y="38100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4953879" y="1654845"/>
            <a:ext cx="327856" cy="0"/>
          </a:xfrm>
          <a:custGeom>
            <a:avLst/>
            <a:gdLst/>
            <a:ahLst/>
            <a:cxnLst/>
            <a:rect l="l" t="t" r="r" b="b"/>
            <a:pathLst>
              <a:path w="448309">
                <a:moveTo>
                  <a:pt x="0" y="0"/>
                </a:moveTo>
                <a:lnTo>
                  <a:pt x="448055" y="0"/>
                </a:lnTo>
              </a:path>
            </a:pathLst>
          </a:custGeom>
          <a:ln w="2895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4950536" y="1646026"/>
            <a:ext cx="334358" cy="17638"/>
          </a:xfrm>
          <a:custGeom>
            <a:avLst/>
            <a:gdLst/>
            <a:ahLst/>
            <a:cxnLst/>
            <a:rect l="l" t="t" r="r" b="b"/>
            <a:pathLst>
              <a:path w="457200" h="38100">
                <a:moveTo>
                  <a:pt x="457200" y="38100"/>
                </a:moveTo>
                <a:lnTo>
                  <a:pt x="457200" y="0"/>
                </a:lnTo>
                <a:lnTo>
                  <a:pt x="0" y="0"/>
                </a:lnTo>
                <a:lnTo>
                  <a:pt x="0" y="38100"/>
                </a:lnTo>
                <a:lnTo>
                  <a:pt x="4572" y="38100"/>
                </a:lnTo>
                <a:lnTo>
                  <a:pt x="4572" y="9144"/>
                </a:lnTo>
                <a:lnTo>
                  <a:pt x="9918" y="4572"/>
                </a:lnTo>
                <a:lnTo>
                  <a:pt x="9918" y="9144"/>
                </a:lnTo>
                <a:lnTo>
                  <a:pt x="448068" y="9144"/>
                </a:lnTo>
                <a:lnTo>
                  <a:pt x="448068" y="4572"/>
                </a:lnTo>
                <a:lnTo>
                  <a:pt x="452640" y="9144"/>
                </a:lnTo>
                <a:lnTo>
                  <a:pt x="452640" y="38100"/>
                </a:lnTo>
                <a:lnTo>
                  <a:pt x="457200" y="38100"/>
                </a:lnTo>
                <a:close/>
              </a:path>
              <a:path w="457200" h="38100">
                <a:moveTo>
                  <a:pt x="9918" y="9144"/>
                </a:moveTo>
                <a:lnTo>
                  <a:pt x="9918" y="4572"/>
                </a:lnTo>
                <a:lnTo>
                  <a:pt x="4572" y="9144"/>
                </a:lnTo>
                <a:lnTo>
                  <a:pt x="9918" y="9144"/>
                </a:lnTo>
                <a:close/>
              </a:path>
              <a:path w="457200" h="38100">
                <a:moveTo>
                  <a:pt x="9918" y="28194"/>
                </a:moveTo>
                <a:lnTo>
                  <a:pt x="9918" y="9144"/>
                </a:lnTo>
                <a:lnTo>
                  <a:pt x="4572" y="9144"/>
                </a:lnTo>
                <a:lnTo>
                  <a:pt x="4572" y="28194"/>
                </a:lnTo>
                <a:lnTo>
                  <a:pt x="9918" y="28194"/>
                </a:lnTo>
                <a:close/>
              </a:path>
              <a:path w="457200" h="38100">
                <a:moveTo>
                  <a:pt x="452640" y="28194"/>
                </a:moveTo>
                <a:lnTo>
                  <a:pt x="4572" y="28194"/>
                </a:lnTo>
                <a:lnTo>
                  <a:pt x="9918" y="33527"/>
                </a:lnTo>
                <a:lnTo>
                  <a:pt x="9918" y="38100"/>
                </a:lnTo>
                <a:lnTo>
                  <a:pt x="448068" y="38100"/>
                </a:lnTo>
                <a:lnTo>
                  <a:pt x="448068" y="33527"/>
                </a:lnTo>
                <a:lnTo>
                  <a:pt x="452640" y="28194"/>
                </a:lnTo>
                <a:close/>
              </a:path>
              <a:path w="457200" h="38100">
                <a:moveTo>
                  <a:pt x="9918" y="38100"/>
                </a:moveTo>
                <a:lnTo>
                  <a:pt x="9918" y="33527"/>
                </a:lnTo>
                <a:lnTo>
                  <a:pt x="4572" y="28194"/>
                </a:lnTo>
                <a:lnTo>
                  <a:pt x="4572" y="38100"/>
                </a:lnTo>
                <a:lnTo>
                  <a:pt x="9918" y="38100"/>
                </a:lnTo>
                <a:close/>
              </a:path>
              <a:path w="457200" h="38100">
                <a:moveTo>
                  <a:pt x="452640" y="9144"/>
                </a:moveTo>
                <a:lnTo>
                  <a:pt x="448068" y="4572"/>
                </a:lnTo>
                <a:lnTo>
                  <a:pt x="448068" y="9144"/>
                </a:lnTo>
                <a:lnTo>
                  <a:pt x="452640" y="9144"/>
                </a:lnTo>
                <a:close/>
              </a:path>
              <a:path w="457200" h="38100">
                <a:moveTo>
                  <a:pt x="452640" y="28194"/>
                </a:moveTo>
                <a:lnTo>
                  <a:pt x="452640" y="9144"/>
                </a:lnTo>
                <a:lnTo>
                  <a:pt x="448068" y="9144"/>
                </a:lnTo>
                <a:lnTo>
                  <a:pt x="448068" y="28194"/>
                </a:lnTo>
                <a:lnTo>
                  <a:pt x="452640" y="28194"/>
                </a:lnTo>
                <a:close/>
              </a:path>
              <a:path w="457200" h="38100">
                <a:moveTo>
                  <a:pt x="452640" y="38100"/>
                </a:moveTo>
                <a:lnTo>
                  <a:pt x="452640" y="28194"/>
                </a:lnTo>
                <a:lnTo>
                  <a:pt x="448068" y="33527"/>
                </a:lnTo>
                <a:lnTo>
                  <a:pt x="448068" y="38100"/>
                </a:lnTo>
                <a:lnTo>
                  <a:pt x="452640" y="38100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5360690" y="1654845"/>
            <a:ext cx="327856" cy="0"/>
          </a:xfrm>
          <a:custGeom>
            <a:avLst/>
            <a:gdLst/>
            <a:ahLst/>
            <a:cxnLst/>
            <a:rect l="l" t="t" r="r" b="b"/>
            <a:pathLst>
              <a:path w="448309">
                <a:moveTo>
                  <a:pt x="0" y="0"/>
                </a:moveTo>
                <a:lnTo>
                  <a:pt x="448055" y="0"/>
                </a:lnTo>
              </a:path>
            </a:pathLst>
          </a:custGeom>
          <a:ln w="2895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5357337" y="1646026"/>
            <a:ext cx="334358" cy="17638"/>
          </a:xfrm>
          <a:custGeom>
            <a:avLst/>
            <a:gdLst/>
            <a:ahLst/>
            <a:cxnLst/>
            <a:rect l="l" t="t" r="r" b="b"/>
            <a:pathLst>
              <a:path w="457200" h="38100">
                <a:moveTo>
                  <a:pt x="457200" y="38100"/>
                </a:moveTo>
                <a:lnTo>
                  <a:pt x="457200" y="0"/>
                </a:lnTo>
                <a:lnTo>
                  <a:pt x="0" y="0"/>
                </a:lnTo>
                <a:lnTo>
                  <a:pt x="0" y="38100"/>
                </a:lnTo>
                <a:lnTo>
                  <a:pt x="4584" y="38100"/>
                </a:lnTo>
                <a:lnTo>
                  <a:pt x="4584" y="9144"/>
                </a:lnTo>
                <a:lnTo>
                  <a:pt x="9156" y="4572"/>
                </a:lnTo>
                <a:lnTo>
                  <a:pt x="9156" y="9144"/>
                </a:lnTo>
                <a:lnTo>
                  <a:pt x="447306" y="9144"/>
                </a:lnTo>
                <a:lnTo>
                  <a:pt x="447306" y="4572"/>
                </a:lnTo>
                <a:lnTo>
                  <a:pt x="452640" y="9144"/>
                </a:lnTo>
                <a:lnTo>
                  <a:pt x="452640" y="38100"/>
                </a:lnTo>
                <a:lnTo>
                  <a:pt x="457200" y="38100"/>
                </a:lnTo>
                <a:close/>
              </a:path>
              <a:path w="457200" h="38100">
                <a:moveTo>
                  <a:pt x="9156" y="9144"/>
                </a:moveTo>
                <a:lnTo>
                  <a:pt x="9156" y="4572"/>
                </a:lnTo>
                <a:lnTo>
                  <a:pt x="4584" y="9144"/>
                </a:lnTo>
                <a:lnTo>
                  <a:pt x="9156" y="9144"/>
                </a:lnTo>
                <a:close/>
              </a:path>
              <a:path w="457200" h="38100">
                <a:moveTo>
                  <a:pt x="9156" y="28194"/>
                </a:moveTo>
                <a:lnTo>
                  <a:pt x="9156" y="9144"/>
                </a:lnTo>
                <a:lnTo>
                  <a:pt x="4584" y="9144"/>
                </a:lnTo>
                <a:lnTo>
                  <a:pt x="4584" y="28194"/>
                </a:lnTo>
                <a:lnTo>
                  <a:pt x="9156" y="28194"/>
                </a:lnTo>
                <a:close/>
              </a:path>
              <a:path w="457200" h="38100">
                <a:moveTo>
                  <a:pt x="452640" y="28194"/>
                </a:moveTo>
                <a:lnTo>
                  <a:pt x="4584" y="28194"/>
                </a:lnTo>
                <a:lnTo>
                  <a:pt x="9156" y="33527"/>
                </a:lnTo>
                <a:lnTo>
                  <a:pt x="9156" y="38100"/>
                </a:lnTo>
                <a:lnTo>
                  <a:pt x="447306" y="38100"/>
                </a:lnTo>
                <a:lnTo>
                  <a:pt x="447306" y="33527"/>
                </a:lnTo>
                <a:lnTo>
                  <a:pt x="452640" y="28194"/>
                </a:lnTo>
                <a:close/>
              </a:path>
              <a:path w="457200" h="38100">
                <a:moveTo>
                  <a:pt x="9156" y="38100"/>
                </a:moveTo>
                <a:lnTo>
                  <a:pt x="9156" y="33527"/>
                </a:lnTo>
                <a:lnTo>
                  <a:pt x="4584" y="28194"/>
                </a:lnTo>
                <a:lnTo>
                  <a:pt x="4584" y="38100"/>
                </a:lnTo>
                <a:lnTo>
                  <a:pt x="9156" y="38100"/>
                </a:lnTo>
                <a:close/>
              </a:path>
              <a:path w="457200" h="38100">
                <a:moveTo>
                  <a:pt x="452640" y="9144"/>
                </a:moveTo>
                <a:lnTo>
                  <a:pt x="447306" y="4572"/>
                </a:lnTo>
                <a:lnTo>
                  <a:pt x="447306" y="9144"/>
                </a:lnTo>
                <a:lnTo>
                  <a:pt x="452640" y="9144"/>
                </a:lnTo>
                <a:close/>
              </a:path>
              <a:path w="457200" h="38100">
                <a:moveTo>
                  <a:pt x="452640" y="28194"/>
                </a:moveTo>
                <a:lnTo>
                  <a:pt x="452640" y="9144"/>
                </a:lnTo>
                <a:lnTo>
                  <a:pt x="447306" y="9144"/>
                </a:lnTo>
                <a:lnTo>
                  <a:pt x="447306" y="28194"/>
                </a:lnTo>
                <a:lnTo>
                  <a:pt x="452640" y="28194"/>
                </a:lnTo>
                <a:close/>
              </a:path>
              <a:path w="457200" h="38100">
                <a:moveTo>
                  <a:pt x="452640" y="38100"/>
                </a:moveTo>
                <a:lnTo>
                  <a:pt x="452640" y="28194"/>
                </a:lnTo>
                <a:lnTo>
                  <a:pt x="447306" y="33527"/>
                </a:lnTo>
                <a:lnTo>
                  <a:pt x="447306" y="38100"/>
                </a:lnTo>
                <a:lnTo>
                  <a:pt x="452640" y="38100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6117453" y="1511452"/>
            <a:ext cx="258199" cy="0"/>
          </a:xfrm>
          <a:custGeom>
            <a:avLst/>
            <a:gdLst/>
            <a:ahLst/>
            <a:cxnLst/>
            <a:rect l="l" t="t" r="r" b="b"/>
            <a:pathLst>
              <a:path w="353059">
                <a:moveTo>
                  <a:pt x="0" y="0"/>
                </a:moveTo>
                <a:lnTo>
                  <a:pt x="352805" y="0"/>
                </a:lnTo>
              </a:path>
            </a:pathLst>
          </a:custGeom>
          <a:ln w="3276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6114110" y="1501399"/>
            <a:ext cx="264700" cy="19989"/>
          </a:xfrm>
          <a:custGeom>
            <a:avLst/>
            <a:gdLst/>
            <a:ahLst/>
            <a:cxnLst/>
            <a:rect l="l" t="t" r="r" b="b"/>
            <a:pathLst>
              <a:path w="361950" h="43179">
                <a:moveTo>
                  <a:pt x="361950" y="42672"/>
                </a:moveTo>
                <a:lnTo>
                  <a:pt x="361950" y="0"/>
                </a:lnTo>
                <a:lnTo>
                  <a:pt x="0" y="0"/>
                </a:lnTo>
                <a:lnTo>
                  <a:pt x="0" y="42672"/>
                </a:lnTo>
                <a:lnTo>
                  <a:pt x="4571" y="42672"/>
                </a:lnTo>
                <a:lnTo>
                  <a:pt x="4571" y="9906"/>
                </a:lnTo>
                <a:lnTo>
                  <a:pt x="9131" y="5334"/>
                </a:lnTo>
                <a:lnTo>
                  <a:pt x="9131" y="9906"/>
                </a:lnTo>
                <a:lnTo>
                  <a:pt x="352793" y="9906"/>
                </a:lnTo>
                <a:lnTo>
                  <a:pt x="352793" y="5334"/>
                </a:lnTo>
                <a:lnTo>
                  <a:pt x="357377" y="9906"/>
                </a:lnTo>
                <a:lnTo>
                  <a:pt x="357377" y="42672"/>
                </a:lnTo>
                <a:lnTo>
                  <a:pt x="361950" y="42672"/>
                </a:lnTo>
                <a:close/>
              </a:path>
              <a:path w="361950" h="43179">
                <a:moveTo>
                  <a:pt x="9131" y="9906"/>
                </a:moveTo>
                <a:lnTo>
                  <a:pt x="9131" y="5334"/>
                </a:lnTo>
                <a:lnTo>
                  <a:pt x="4571" y="9906"/>
                </a:lnTo>
                <a:lnTo>
                  <a:pt x="9131" y="9906"/>
                </a:lnTo>
                <a:close/>
              </a:path>
              <a:path w="361950" h="43179">
                <a:moveTo>
                  <a:pt x="9131" y="33528"/>
                </a:moveTo>
                <a:lnTo>
                  <a:pt x="9131" y="9906"/>
                </a:lnTo>
                <a:lnTo>
                  <a:pt x="4571" y="9906"/>
                </a:lnTo>
                <a:lnTo>
                  <a:pt x="4571" y="33528"/>
                </a:lnTo>
                <a:lnTo>
                  <a:pt x="9131" y="33528"/>
                </a:lnTo>
                <a:close/>
              </a:path>
              <a:path w="361950" h="43179">
                <a:moveTo>
                  <a:pt x="357377" y="33528"/>
                </a:moveTo>
                <a:lnTo>
                  <a:pt x="4571" y="33528"/>
                </a:lnTo>
                <a:lnTo>
                  <a:pt x="9131" y="38100"/>
                </a:lnTo>
                <a:lnTo>
                  <a:pt x="9131" y="42672"/>
                </a:lnTo>
                <a:lnTo>
                  <a:pt x="352793" y="42672"/>
                </a:lnTo>
                <a:lnTo>
                  <a:pt x="352793" y="38100"/>
                </a:lnTo>
                <a:lnTo>
                  <a:pt x="357377" y="33528"/>
                </a:lnTo>
                <a:close/>
              </a:path>
              <a:path w="361950" h="43179">
                <a:moveTo>
                  <a:pt x="9131" y="42672"/>
                </a:moveTo>
                <a:lnTo>
                  <a:pt x="9131" y="38100"/>
                </a:lnTo>
                <a:lnTo>
                  <a:pt x="4571" y="33528"/>
                </a:lnTo>
                <a:lnTo>
                  <a:pt x="4571" y="42672"/>
                </a:lnTo>
                <a:lnTo>
                  <a:pt x="9131" y="42672"/>
                </a:lnTo>
                <a:close/>
              </a:path>
              <a:path w="361950" h="43179">
                <a:moveTo>
                  <a:pt x="357377" y="9906"/>
                </a:moveTo>
                <a:lnTo>
                  <a:pt x="352793" y="5334"/>
                </a:lnTo>
                <a:lnTo>
                  <a:pt x="352793" y="9906"/>
                </a:lnTo>
                <a:lnTo>
                  <a:pt x="357377" y="9906"/>
                </a:lnTo>
                <a:close/>
              </a:path>
              <a:path w="361950" h="43179">
                <a:moveTo>
                  <a:pt x="357377" y="33528"/>
                </a:moveTo>
                <a:lnTo>
                  <a:pt x="357377" y="9906"/>
                </a:lnTo>
                <a:lnTo>
                  <a:pt x="352793" y="9906"/>
                </a:lnTo>
                <a:lnTo>
                  <a:pt x="352793" y="33528"/>
                </a:lnTo>
                <a:lnTo>
                  <a:pt x="357377" y="33528"/>
                </a:lnTo>
                <a:close/>
              </a:path>
              <a:path w="361950" h="43179">
                <a:moveTo>
                  <a:pt x="357377" y="42672"/>
                </a:moveTo>
                <a:lnTo>
                  <a:pt x="357377" y="33528"/>
                </a:lnTo>
                <a:lnTo>
                  <a:pt x="352793" y="38100"/>
                </a:lnTo>
                <a:lnTo>
                  <a:pt x="352793" y="42672"/>
                </a:lnTo>
                <a:lnTo>
                  <a:pt x="357377" y="426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5932999" y="1638794"/>
            <a:ext cx="442560" cy="0"/>
          </a:xfrm>
          <a:custGeom>
            <a:avLst/>
            <a:gdLst/>
            <a:ahLst/>
            <a:cxnLst/>
            <a:rect l="l" t="t" r="r" b="b"/>
            <a:pathLst>
              <a:path w="605154">
                <a:moveTo>
                  <a:pt x="0" y="0"/>
                </a:moveTo>
                <a:lnTo>
                  <a:pt x="605027" y="0"/>
                </a:lnTo>
              </a:path>
            </a:pathLst>
          </a:custGeom>
          <a:ln w="34289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5929657" y="1628742"/>
            <a:ext cx="449525" cy="20283"/>
          </a:xfrm>
          <a:custGeom>
            <a:avLst/>
            <a:gdLst/>
            <a:ahLst/>
            <a:cxnLst/>
            <a:rect l="l" t="t" r="r" b="b"/>
            <a:pathLst>
              <a:path w="614679" h="43814">
                <a:moveTo>
                  <a:pt x="614172" y="43434"/>
                </a:moveTo>
                <a:lnTo>
                  <a:pt x="614172" y="0"/>
                </a:lnTo>
                <a:lnTo>
                  <a:pt x="0" y="0"/>
                </a:lnTo>
                <a:lnTo>
                  <a:pt x="0" y="43434"/>
                </a:lnTo>
                <a:lnTo>
                  <a:pt x="4572" y="43434"/>
                </a:lnTo>
                <a:lnTo>
                  <a:pt x="4572" y="9144"/>
                </a:lnTo>
                <a:lnTo>
                  <a:pt x="9143" y="4572"/>
                </a:lnTo>
                <a:lnTo>
                  <a:pt x="9143" y="9144"/>
                </a:lnTo>
                <a:lnTo>
                  <a:pt x="605015" y="9144"/>
                </a:lnTo>
                <a:lnTo>
                  <a:pt x="605015" y="4572"/>
                </a:lnTo>
                <a:lnTo>
                  <a:pt x="609600" y="9144"/>
                </a:lnTo>
                <a:lnTo>
                  <a:pt x="609600" y="43434"/>
                </a:lnTo>
                <a:lnTo>
                  <a:pt x="614172" y="43434"/>
                </a:lnTo>
                <a:close/>
              </a:path>
              <a:path w="614679" h="43814">
                <a:moveTo>
                  <a:pt x="9143" y="9144"/>
                </a:moveTo>
                <a:lnTo>
                  <a:pt x="9143" y="4572"/>
                </a:lnTo>
                <a:lnTo>
                  <a:pt x="4572" y="9144"/>
                </a:lnTo>
                <a:lnTo>
                  <a:pt x="9143" y="9144"/>
                </a:lnTo>
                <a:close/>
              </a:path>
              <a:path w="614679" h="43814">
                <a:moveTo>
                  <a:pt x="9143" y="34289"/>
                </a:moveTo>
                <a:lnTo>
                  <a:pt x="9143" y="9144"/>
                </a:lnTo>
                <a:lnTo>
                  <a:pt x="4572" y="9144"/>
                </a:lnTo>
                <a:lnTo>
                  <a:pt x="4572" y="34289"/>
                </a:lnTo>
                <a:lnTo>
                  <a:pt x="9143" y="34289"/>
                </a:lnTo>
                <a:close/>
              </a:path>
              <a:path w="614679" h="43814">
                <a:moveTo>
                  <a:pt x="609600" y="34289"/>
                </a:moveTo>
                <a:lnTo>
                  <a:pt x="4572" y="34289"/>
                </a:lnTo>
                <a:lnTo>
                  <a:pt x="9143" y="38862"/>
                </a:lnTo>
                <a:lnTo>
                  <a:pt x="9143" y="43434"/>
                </a:lnTo>
                <a:lnTo>
                  <a:pt x="605015" y="43434"/>
                </a:lnTo>
                <a:lnTo>
                  <a:pt x="605015" y="38862"/>
                </a:lnTo>
                <a:lnTo>
                  <a:pt x="609600" y="34289"/>
                </a:lnTo>
                <a:close/>
              </a:path>
              <a:path w="614679" h="43814">
                <a:moveTo>
                  <a:pt x="9143" y="43434"/>
                </a:moveTo>
                <a:lnTo>
                  <a:pt x="9143" y="38862"/>
                </a:lnTo>
                <a:lnTo>
                  <a:pt x="4572" y="34289"/>
                </a:lnTo>
                <a:lnTo>
                  <a:pt x="4572" y="43434"/>
                </a:lnTo>
                <a:lnTo>
                  <a:pt x="9143" y="43434"/>
                </a:lnTo>
                <a:close/>
              </a:path>
              <a:path w="614679" h="43814">
                <a:moveTo>
                  <a:pt x="609600" y="9144"/>
                </a:moveTo>
                <a:lnTo>
                  <a:pt x="605015" y="4572"/>
                </a:lnTo>
                <a:lnTo>
                  <a:pt x="605015" y="9144"/>
                </a:lnTo>
                <a:lnTo>
                  <a:pt x="609600" y="9144"/>
                </a:lnTo>
                <a:close/>
              </a:path>
              <a:path w="614679" h="43814">
                <a:moveTo>
                  <a:pt x="609600" y="34289"/>
                </a:moveTo>
                <a:lnTo>
                  <a:pt x="609600" y="9144"/>
                </a:lnTo>
                <a:lnTo>
                  <a:pt x="605015" y="9144"/>
                </a:lnTo>
                <a:lnTo>
                  <a:pt x="605015" y="34289"/>
                </a:lnTo>
                <a:lnTo>
                  <a:pt x="609600" y="34289"/>
                </a:lnTo>
                <a:close/>
              </a:path>
              <a:path w="614679" h="43814">
                <a:moveTo>
                  <a:pt x="609600" y="43434"/>
                </a:moveTo>
                <a:lnTo>
                  <a:pt x="609600" y="34289"/>
                </a:lnTo>
                <a:lnTo>
                  <a:pt x="605015" y="38862"/>
                </a:lnTo>
                <a:lnTo>
                  <a:pt x="605015" y="43434"/>
                </a:lnTo>
                <a:lnTo>
                  <a:pt x="609600" y="434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6457932" y="1373351"/>
            <a:ext cx="185290" cy="145215"/>
          </a:xfrm>
          <a:custGeom>
            <a:avLst/>
            <a:gdLst/>
            <a:ahLst/>
            <a:cxnLst/>
            <a:rect l="l" t="t" r="r" b="b"/>
            <a:pathLst>
              <a:path w="253365" h="313689">
                <a:moveTo>
                  <a:pt x="252984" y="208787"/>
                </a:moveTo>
                <a:lnTo>
                  <a:pt x="224790" y="208787"/>
                </a:lnTo>
                <a:lnTo>
                  <a:pt x="220778" y="153370"/>
                </a:lnTo>
                <a:lnTo>
                  <a:pt x="209465" y="103519"/>
                </a:lnTo>
                <a:lnTo>
                  <a:pt x="191928" y="61245"/>
                </a:lnTo>
                <a:lnTo>
                  <a:pt x="169248" y="28560"/>
                </a:lnTo>
                <a:lnTo>
                  <a:pt x="142504" y="7475"/>
                </a:lnTo>
                <a:lnTo>
                  <a:pt x="112776" y="0"/>
                </a:lnTo>
                <a:lnTo>
                  <a:pt x="82726" y="7475"/>
                </a:lnTo>
                <a:lnTo>
                  <a:pt x="32956" y="61245"/>
                </a:lnTo>
                <a:lnTo>
                  <a:pt x="15352" y="103519"/>
                </a:lnTo>
                <a:lnTo>
                  <a:pt x="4014" y="153370"/>
                </a:lnTo>
                <a:lnTo>
                  <a:pt x="0" y="208787"/>
                </a:lnTo>
                <a:lnTo>
                  <a:pt x="56388" y="208787"/>
                </a:lnTo>
                <a:lnTo>
                  <a:pt x="60805" y="168044"/>
                </a:lnTo>
                <a:lnTo>
                  <a:pt x="72866" y="134873"/>
                </a:lnTo>
                <a:lnTo>
                  <a:pt x="90785" y="112561"/>
                </a:lnTo>
                <a:lnTo>
                  <a:pt x="112776" y="104393"/>
                </a:lnTo>
                <a:lnTo>
                  <a:pt x="134445" y="112561"/>
                </a:lnTo>
                <a:lnTo>
                  <a:pt x="152400" y="134873"/>
                </a:lnTo>
                <a:lnTo>
                  <a:pt x="164639" y="168044"/>
                </a:lnTo>
                <a:lnTo>
                  <a:pt x="169164" y="208787"/>
                </a:lnTo>
                <a:lnTo>
                  <a:pt x="169164" y="261700"/>
                </a:lnTo>
                <a:lnTo>
                  <a:pt x="196596" y="313181"/>
                </a:lnTo>
                <a:lnTo>
                  <a:pt x="252984" y="208787"/>
                </a:lnTo>
                <a:close/>
              </a:path>
              <a:path w="253365" h="313689">
                <a:moveTo>
                  <a:pt x="169164" y="261700"/>
                </a:moveTo>
                <a:lnTo>
                  <a:pt x="169164" y="208787"/>
                </a:lnTo>
                <a:lnTo>
                  <a:pt x="140970" y="208787"/>
                </a:lnTo>
                <a:lnTo>
                  <a:pt x="169164" y="2617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0" name="object 150"/>
          <p:cNvSpPr/>
          <p:nvPr/>
        </p:nvSpPr>
        <p:spPr>
          <a:xfrm>
            <a:off x="6454032" y="1371819"/>
            <a:ext cx="195042" cy="151388"/>
          </a:xfrm>
          <a:custGeom>
            <a:avLst/>
            <a:gdLst/>
            <a:ahLst/>
            <a:cxnLst/>
            <a:rect l="l" t="t" r="r" b="b"/>
            <a:pathLst>
              <a:path w="266700" h="327025">
                <a:moveTo>
                  <a:pt x="235458" y="207524"/>
                </a:moveTo>
                <a:lnTo>
                  <a:pt x="235458" y="201428"/>
                </a:lnTo>
                <a:lnTo>
                  <a:pt x="230243" y="151078"/>
                </a:lnTo>
                <a:lnTo>
                  <a:pt x="220526" y="107920"/>
                </a:lnTo>
                <a:lnTo>
                  <a:pt x="207000" y="71952"/>
                </a:lnTo>
                <a:lnTo>
                  <a:pt x="171306" y="21593"/>
                </a:lnTo>
                <a:lnTo>
                  <a:pt x="128778" y="22"/>
                </a:lnTo>
                <a:lnTo>
                  <a:pt x="106586" y="0"/>
                </a:lnTo>
                <a:lnTo>
                  <a:pt x="84814" y="7189"/>
                </a:lnTo>
                <a:lnTo>
                  <a:pt x="45142" y="43152"/>
                </a:lnTo>
                <a:lnTo>
                  <a:pt x="15270" y="107897"/>
                </a:lnTo>
                <a:lnTo>
                  <a:pt x="5748" y="151064"/>
                </a:lnTo>
                <a:lnTo>
                  <a:pt x="762" y="201428"/>
                </a:lnTo>
                <a:lnTo>
                  <a:pt x="0" y="216668"/>
                </a:lnTo>
                <a:lnTo>
                  <a:pt x="5334" y="216668"/>
                </a:lnTo>
                <a:lnTo>
                  <a:pt x="5334" y="207524"/>
                </a:lnTo>
                <a:lnTo>
                  <a:pt x="9906" y="207524"/>
                </a:lnTo>
                <a:lnTo>
                  <a:pt x="9906" y="201428"/>
                </a:lnTo>
                <a:lnTo>
                  <a:pt x="12192" y="170186"/>
                </a:lnTo>
                <a:lnTo>
                  <a:pt x="12192" y="170948"/>
                </a:lnTo>
                <a:lnTo>
                  <a:pt x="14478" y="150374"/>
                </a:lnTo>
                <a:lnTo>
                  <a:pt x="14478" y="151136"/>
                </a:lnTo>
                <a:lnTo>
                  <a:pt x="18288" y="132086"/>
                </a:lnTo>
                <a:lnTo>
                  <a:pt x="22860" y="116410"/>
                </a:lnTo>
                <a:lnTo>
                  <a:pt x="22860" y="113798"/>
                </a:lnTo>
                <a:lnTo>
                  <a:pt x="32004" y="88652"/>
                </a:lnTo>
                <a:lnTo>
                  <a:pt x="35052" y="81032"/>
                </a:lnTo>
                <a:lnTo>
                  <a:pt x="38862" y="73412"/>
                </a:lnTo>
                <a:lnTo>
                  <a:pt x="38862" y="74174"/>
                </a:lnTo>
                <a:lnTo>
                  <a:pt x="41910" y="68078"/>
                </a:lnTo>
                <a:lnTo>
                  <a:pt x="41910" y="66554"/>
                </a:lnTo>
                <a:lnTo>
                  <a:pt x="45720" y="60839"/>
                </a:lnTo>
                <a:lnTo>
                  <a:pt x="45720" y="59696"/>
                </a:lnTo>
                <a:lnTo>
                  <a:pt x="50292" y="53600"/>
                </a:lnTo>
                <a:lnTo>
                  <a:pt x="54102" y="47504"/>
                </a:lnTo>
                <a:lnTo>
                  <a:pt x="62484" y="37725"/>
                </a:lnTo>
                <a:lnTo>
                  <a:pt x="62484" y="36836"/>
                </a:lnTo>
                <a:lnTo>
                  <a:pt x="72390" y="26930"/>
                </a:lnTo>
                <a:lnTo>
                  <a:pt x="76962" y="23120"/>
                </a:lnTo>
                <a:lnTo>
                  <a:pt x="76962" y="23882"/>
                </a:lnTo>
                <a:lnTo>
                  <a:pt x="81534" y="20072"/>
                </a:lnTo>
                <a:lnTo>
                  <a:pt x="91440" y="14411"/>
                </a:lnTo>
                <a:lnTo>
                  <a:pt x="91440" y="13976"/>
                </a:lnTo>
                <a:lnTo>
                  <a:pt x="96774" y="11690"/>
                </a:lnTo>
                <a:lnTo>
                  <a:pt x="101346" y="10383"/>
                </a:lnTo>
                <a:lnTo>
                  <a:pt x="101346" y="10166"/>
                </a:lnTo>
                <a:lnTo>
                  <a:pt x="107442" y="8642"/>
                </a:lnTo>
                <a:lnTo>
                  <a:pt x="107442" y="9213"/>
                </a:lnTo>
                <a:lnTo>
                  <a:pt x="112776" y="7880"/>
                </a:lnTo>
                <a:lnTo>
                  <a:pt x="112776" y="8547"/>
                </a:lnTo>
                <a:lnTo>
                  <a:pt x="117348" y="7975"/>
                </a:lnTo>
                <a:lnTo>
                  <a:pt x="123444" y="8642"/>
                </a:lnTo>
                <a:lnTo>
                  <a:pt x="128016" y="9309"/>
                </a:lnTo>
                <a:lnTo>
                  <a:pt x="128016" y="8642"/>
                </a:lnTo>
                <a:lnTo>
                  <a:pt x="134112" y="10166"/>
                </a:lnTo>
                <a:lnTo>
                  <a:pt x="134112" y="10383"/>
                </a:lnTo>
                <a:lnTo>
                  <a:pt x="138684" y="11690"/>
                </a:lnTo>
                <a:lnTo>
                  <a:pt x="144018" y="13976"/>
                </a:lnTo>
                <a:lnTo>
                  <a:pt x="149352" y="17024"/>
                </a:lnTo>
                <a:lnTo>
                  <a:pt x="149352" y="17459"/>
                </a:lnTo>
                <a:lnTo>
                  <a:pt x="153924" y="20072"/>
                </a:lnTo>
                <a:lnTo>
                  <a:pt x="158496" y="23882"/>
                </a:lnTo>
                <a:lnTo>
                  <a:pt x="158496" y="23120"/>
                </a:lnTo>
                <a:lnTo>
                  <a:pt x="163068" y="27039"/>
                </a:lnTo>
                <a:lnTo>
                  <a:pt x="168402" y="32264"/>
                </a:lnTo>
                <a:lnTo>
                  <a:pt x="168402" y="31502"/>
                </a:lnTo>
                <a:lnTo>
                  <a:pt x="172974" y="36836"/>
                </a:lnTo>
                <a:lnTo>
                  <a:pt x="172974" y="37725"/>
                </a:lnTo>
                <a:lnTo>
                  <a:pt x="181356" y="47504"/>
                </a:lnTo>
                <a:lnTo>
                  <a:pt x="185166" y="53600"/>
                </a:lnTo>
                <a:lnTo>
                  <a:pt x="189738" y="59696"/>
                </a:lnTo>
                <a:lnTo>
                  <a:pt x="193548" y="66554"/>
                </a:lnTo>
                <a:lnTo>
                  <a:pt x="196596" y="74174"/>
                </a:lnTo>
                <a:lnTo>
                  <a:pt x="196596" y="73412"/>
                </a:lnTo>
                <a:lnTo>
                  <a:pt x="200406" y="81032"/>
                </a:lnTo>
                <a:lnTo>
                  <a:pt x="203454" y="88652"/>
                </a:lnTo>
                <a:lnTo>
                  <a:pt x="212598" y="113798"/>
                </a:lnTo>
                <a:lnTo>
                  <a:pt x="217170" y="132086"/>
                </a:lnTo>
                <a:lnTo>
                  <a:pt x="217170" y="131324"/>
                </a:lnTo>
                <a:lnTo>
                  <a:pt x="220980" y="151136"/>
                </a:lnTo>
                <a:lnTo>
                  <a:pt x="220980" y="150374"/>
                </a:lnTo>
                <a:lnTo>
                  <a:pt x="223266" y="170948"/>
                </a:lnTo>
                <a:lnTo>
                  <a:pt x="223266" y="170186"/>
                </a:lnTo>
                <a:lnTo>
                  <a:pt x="225552" y="201428"/>
                </a:lnTo>
                <a:lnTo>
                  <a:pt x="225552" y="216668"/>
                </a:lnTo>
                <a:lnTo>
                  <a:pt x="230124" y="216668"/>
                </a:lnTo>
                <a:lnTo>
                  <a:pt x="230124" y="207524"/>
                </a:lnTo>
                <a:lnTo>
                  <a:pt x="235458" y="207524"/>
                </a:lnTo>
                <a:close/>
              </a:path>
              <a:path w="266700" h="327025">
                <a:moveTo>
                  <a:pt x="56714" y="207524"/>
                </a:moveTo>
                <a:lnTo>
                  <a:pt x="5334" y="207524"/>
                </a:lnTo>
                <a:lnTo>
                  <a:pt x="9906" y="212096"/>
                </a:lnTo>
                <a:lnTo>
                  <a:pt x="9906" y="216668"/>
                </a:lnTo>
                <a:lnTo>
                  <a:pt x="56388" y="216668"/>
                </a:lnTo>
                <a:lnTo>
                  <a:pt x="56388" y="212096"/>
                </a:lnTo>
                <a:lnTo>
                  <a:pt x="56714" y="207524"/>
                </a:lnTo>
                <a:close/>
              </a:path>
              <a:path w="266700" h="327025">
                <a:moveTo>
                  <a:pt x="9906" y="216668"/>
                </a:moveTo>
                <a:lnTo>
                  <a:pt x="9906" y="212096"/>
                </a:lnTo>
                <a:lnTo>
                  <a:pt x="5334" y="207524"/>
                </a:lnTo>
                <a:lnTo>
                  <a:pt x="5334" y="216668"/>
                </a:lnTo>
                <a:lnTo>
                  <a:pt x="9906" y="216668"/>
                </a:lnTo>
                <a:close/>
              </a:path>
              <a:path w="266700" h="327025">
                <a:moveTo>
                  <a:pt x="23622" y="113798"/>
                </a:moveTo>
                <a:lnTo>
                  <a:pt x="22860" y="113798"/>
                </a:lnTo>
                <a:lnTo>
                  <a:pt x="22860" y="116410"/>
                </a:lnTo>
                <a:lnTo>
                  <a:pt x="23622" y="113798"/>
                </a:lnTo>
                <a:close/>
              </a:path>
              <a:path w="266700" h="327025">
                <a:moveTo>
                  <a:pt x="42672" y="66554"/>
                </a:moveTo>
                <a:lnTo>
                  <a:pt x="41910" y="66554"/>
                </a:lnTo>
                <a:lnTo>
                  <a:pt x="41910" y="68078"/>
                </a:lnTo>
                <a:lnTo>
                  <a:pt x="42672" y="66554"/>
                </a:lnTo>
                <a:close/>
              </a:path>
              <a:path w="266700" h="327025">
                <a:moveTo>
                  <a:pt x="46482" y="59696"/>
                </a:moveTo>
                <a:lnTo>
                  <a:pt x="45720" y="59696"/>
                </a:lnTo>
                <a:lnTo>
                  <a:pt x="45720" y="60839"/>
                </a:lnTo>
                <a:lnTo>
                  <a:pt x="46482" y="59696"/>
                </a:lnTo>
                <a:close/>
              </a:path>
              <a:path w="266700" h="327025">
                <a:moveTo>
                  <a:pt x="61722" y="207524"/>
                </a:moveTo>
                <a:lnTo>
                  <a:pt x="56714" y="207524"/>
                </a:lnTo>
                <a:lnTo>
                  <a:pt x="56388" y="212096"/>
                </a:lnTo>
                <a:lnTo>
                  <a:pt x="61722" y="207524"/>
                </a:lnTo>
                <a:close/>
              </a:path>
              <a:path w="266700" h="327025">
                <a:moveTo>
                  <a:pt x="61722" y="216668"/>
                </a:moveTo>
                <a:lnTo>
                  <a:pt x="61722" y="207524"/>
                </a:lnTo>
                <a:lnTo>
                  <a:pt x="56388" y="212096"/>
                </a:lnTo>
                <a:lnTo>
                  <a:pt x="56388" y="216668"/>
                </a:lnTo>
                <a:lnTo>
                  <a:pt x="61722" y="216668"/>
                </a:lnTo>
                <a:close/>
              </a:path>
              <a:path w="266700" h="327025">
                <a:moveTo>
                  <a:pt x="179070" y="216668"/>
                </a:moveTo>
                <a:lnTo>
                  <a:pt x="169377" y="153255"/>
                </a:lnTo>
                <a:lnTo>
                  <a:pt x="129790" y="105032"/>
                </a:lnTo>
                <a:lnTo>
                  <a:pt x="105807" y="105007"/>
                </a:lnTo>
                <a:lnTo>
                  <a:pt x="83482" y="121056"/>
                </a:lnTo>
                <a:lnTo>
                  <a:pt x="66150" y="153192"/>
                </a:lnTo>
                <a:lnTo>
                  <a:pt x="57150" y="201428"/>
                </a:lnTo>
                <a:lnTo>
                  <a:pt x="56714" y="207524"/>
                </a:lnTo>
                <a:lnTo>
                  <a:pt x="61722" y="207524"/>
                </a:lnTo>
                <a:lnTo>
                  <a:pt x="61722" y="216668"/>
                </a:lnTo>
                <a:lnTo>
                  <a:pt x="66294" y="216668"/>
                </a:lnTo>
                <a:lnTo>
                  <a:pt x="66294" y="201428"/>
                </a:lnTo>
                <a:lnTo>
                  <a:pt x="67056" y="191522"/>
                </a:lnTo>
                <a:lnTo>
                  <a:pt x="68580" y="181616"/>
                </a:lnTo>
                <a:lnTo>
                  <a:pt x="70104" y="175520"/>
                </a:lnTo>
                <a:lnTo>
                  <a:pt x="70104" y="172472"/>
                </a:lnTo>
                <a:lnTo>
                  <a:pt x="72390" y="165614"/>
                </a:lnTo>
                <a:lnTo>
                  <a:pt x="72390" y="164090"/>
                </a:lnTo>
                <a:lnTo>
                  <a:pt x="75438" y="154946"/>
                </a:lnTo>
                <a:lnTo>
                  <a:pt x="75438" y="155708"/>
                </a:lnTo>
                <a:lnTo>
                  <a:pt x="78486" y="147326"/>
                </a:lnTo>
                <a:lnTo>
                  <a:pt x="78486" y="148088"/>
                </a:lnTo>
                <a:lnTo>
                  <a:pt x="82296" y="140468"/>
                </a:lnTo>
                <a:lnTo>
                  <a:pt x="86106" y="133610"/>
                </a:lnTo>
                <a:lnTo>
                  <a:pt x="86106" y="134372"/>
                </a:lnTo>
                <a:lnTo>
                  <a:pt x="89916" y="128276"/>
                </a:lnTo>
                <a:lnTo>
                  <a:pt x="99060" y="119132"/>
                </a:lnTo>
                <a:lnTo>
                  <a:pt x="99060" y="119349"/>
                </a:lnTo>
                <a:lnTo>
                  <a:pt x="103632" y="116084"/>
                </a:lnTo>
                <a:lnTo>
                  <a:pt x="103632" y="116410"/>
                </a:lnTo>
                <a:lnTo>
                  <a:pt x="108204" y="113798"/>
                </a:lnTo>
                <a:lnTo>
                  <a:pt x="108204" y="114369"/>
                </a:lnTo>
                <a:lnTo>
                  <a:pt x="112776" y="113226"/>
                </a:lnTo>
                <a:lnTo>
                  <a:pt x="112776" y="113036"/>
                </a:lnTo>
                <a:lnTo>
                  <a:pt x="117348" y="112383"/>
                </a:lnTo>
                <a:lnTo>
                  <a:pt x="123444" y="113036"/>
                </a:lnTo>
                <a:lnTo>
                  <a:pt x="123444" y="113417"/>
                </a:lnTo>
                <a:lnTo>
                  <a:pt x="127254" y="114369"/>
                </a:lnTo>
                <a:lnTo>
                  <a:pt x="127254" y="113798"/>
                </a:lnTo>
                <a:lnTo>
                  <a:pt x="131826" y="116410"/>
                </a:lnTo>
                <a:lnTo>
                  <a:pt x="131826" y="116084"/>
                </a:lnTo>
                <a:lnTo>
                  <a:pt x="136398" y="119349"/>
                </a:lnTo>
                <a:lnTo>
                  <a:pt x="136398" y="119132"/>
                </a:lnTo>
                <a:lnTo>
                  <a:pt x="141732" y="123704"/>
                </a:lnTo>
                <a:lnTo>
                  <a:pt x="141732" y="124466"/>
                </a:lnTo>
                <a:lnTo>
                  <a:pt x="145542" y="128276"/>
                </a:lnTo>
                <a:lnTo>
                  <a:pt x="150114" y="134372"/>
                </a:lnTo>
                <a:lnTo>
                  <a:pt x="150114" y="134981"/>
                </a:lnTo>
                <a:lnTo>
                  <a:pt x="153162" y="140468"/>
                </a:lnTo>
                <a:lnTo>
                  <a:pt x="156972" y="148088"/>
                </a:lnTo>
                <a:lnTo>
                  <a:pt x="156972" y="147326"/>
                </a:lnTo>
                <a:lnTo>
                  <a:pt x="160020" y="155708"/>
                </a:lnTo>
                <a:lnTo>
                  <a:pt x="160020" y="154946"/>
                </a:lnTo>
                <a:lnTo>
                  <a:pt x="163068" y="164090"/>
                </a:lnTo>
                <a:lnTo>
                  <a:pt x="163068" y="163328"/>
                </a:lnTo>
                <a:lnTo>
                  <a:pt x="165354" y="172472"/>
                </a:lnTo>
                <a:lnTo>
                  <a:pt x="166878" y="181616"/>
                </a:lnTo>
                <a:lnTo>
                  <a:pt x="168402" y="191522"/>
                </a:lnTo>
                <a:lnTo>
                  <a:pt x="169164" y="201428"/>
                </a:lnTo>
                <a:lnTo>
                  <a:pt x="169164" y="207524"/>
                </a:lnTo>
                <a:lnTo>
                  <a:pt x="174498" y="207524"/>
                </a:lnTo>
                <a:lnTo>
                  <a:pt x="174498" y="216668"/>
                </a:lnTo>
                <a:lnTo>
                  <a:pt x="179070" y="216668"/>
                </a:lnTo>
                <a:close/>
              </a:path>
              <a:path w="266700" h="327025">
                <a:moveTo>
                  <a:pt x="63246" y="36836"/>
                </a:moveTo>
                <a:lnTo>
                  <a:pt x="62484" y="36836"/>
                </a:lnTo>
                <a:lnTo>
                  <a:pt x="62484" y="37725"/>
                </a:lnTo>
                <a:lnTo>
                  <a:pt x="63246" y="36836"/>
                </a:lnTo>
                <a:close/>
              </a:path>
              <a:path w="266700" h="327025">
                <a:moveTo>
                  <a:pt x="70866" y="172472"/>
                </a:moveTo>
                <a:lnTo>
                  <a:pt x="70104" y="172472"/>
                </a:lnTo>
                <a:lnTo>
                  <a:pt x="70104" y="175520"/>
                </a:lnTo>
                <a:lnTo>
                  <a:pt x="70866" y="172472"/>
                </a:lnTo>
                <a:close/>
              </a:path>
              <a:path w="266700" h="327025">
                <a:moveTo>
                  <a:pt x="72390" y="27039"/>
                </a:moveTo>
                <a:lnTo>
                  <a:pt x="71628" y="27692"/>
                </a:lnTo>
                <a:lnTo>
                  <a:pt x="72390" y="27039"/>
                </a:lnTo>
                <a:close/>
              </a:path>
              <a:path w="266700" h="327025">
                <a:moveTo>
                  <a:pt x="73152" y="163328"/>
                </a:moveTo>
                <a:lnTo>
                  <a:pt x="72390" y="164090"/>
                </a:lnTo>
                <a:lnTo>
                  <a:pt x="72390" y="165614"/>
                </a:lnTo>
                <a:lnTo>
                  <a:pt x="73152" y="163328"/>
                </a:lnTo>
                <a:close/>
              </a:path>
              <a:path w="266700" h="327025">
                <a:moveTo>
                  <a:pt x="92202" y="13976"/>
                </a:moveTo>
                <a:lnTo>
                  <a:pt x="91440" y="13976"/>
                </a:lnTo>
                <a:lnTo>
                  <a:pt x="91440" y="14411"/>
                </a:lnTo>
                <a:lnTo>
                  <a:pt x="92202" y="13976"/>
                </a:lnTo>
                <a:close/>
              </a:path>
              <a:path w="266700" h="327025">
                <a:moveTo>
                  <a:pt x="99060" y="119349"/>
                </a:moveTo>
                <a:lnTo>
                  <a:pt x="99060" y="119132"/>
                </a:lnTo>
                <a:lnTo>
                  <a:pt x="98298" y="119894"/>
                </a:lnTo>
                <a:lnTo>
                  <a:pt x="99060" y="119349"/>
                </a:lnTo>
                <a:close/>
              </a:path>
              <a:path w="266700" h="327025">
                <a:moveTo>
                  <a:pt x="102108" y="10166"/>
                </a:moveTo>
                <a:lnTo>
                  <a:pt x="101346" y="10166"/>
                </a:lnTo>
                <a:lnTo>
                  <a:pt x="101346" y="10383"/>
                </a:lnTo>
                <a:lnTo>
                  <a:pt x="102108" y="10166"/>
                </a:lnTo>
                <a:close/>
              </a:path>
              <a:path w="266700" h="327025">
                <a:moveTo>
                  <a:pt x="103632" y="116410"/>
                </a:moveTo>
                <a:lnTo>
                  <a:pt x="103632" y="116084"/>
                </a:lnTo>
                <a:lnTo>
                  <a:pt x="102870" y="116846"/>
                </a:lnTo>
                <a:lnTo>
                  <a:pt x="103632" y="116410"/>
                </a:lnTo>
                <a:close/>
              </a:path>
              <a:path w="266700" h="327025">
                <a:moveTo>
                  <a:pt x="107442" y="9213"/>
                </a:moveTo>
                <a:lnTo>
                  <a:pt x="107442" y="8642"/>
                </a:lnTo>
                <a:lnTo>
                  <a:pt x="106680" y="9404"/>
                </a:lnTo>
                <a:lnTo>
                  <a:pt x="107442" y="9213"/>
                </a:lnTo>
                <a:close/>
              </a:path>
              <a:path w="266700" h="327025">
                <a:moveTo>
                  <a:pt x="108204" y="114369"/>
                </a:moveTo>
                <a:lnTo>
                  <a:pt x="108204" y="113798"/>
                </a:lnTo>
                <a:lnTo>
                  <a:pt x="107442" y="114560"/>
                </a:lnTo>
                <a:lnTo>
                  <a:pt x="108204" y="114369"/>
                </a:lnTo>
                <a:close/>
              </a:path>
              <a:path w="266700" h="327025">
                <a:moveTo>
                  <a:pt x="112776" y="8547"/>
                </a:moveTo>
                <a:lnTo>
                  <a:pt x="112776" y="7880"/>
                </a:lnTo>
                <a:lnTo>
                  <a:pt x="112014" y="8642"/>
                </a:lnTo>
                <a:lnTo>
                  <a:pt x="112776" y="8547"/>
                </a:lnTo>
                <a:close/>
              </a:path>
              <a:path w="266700" h="327025">
                <a:moveTo>
                  <a:pt x="113538" y="113036"/>
                </a:moveTo>
                <a:lnTo>
                  <a:pt x="112776" y="113036"/>
                </a:lnTo>
                <a:lnTo>
                  <a:pt x="112776" y="113226"/>
                </a:lnTo>
                <a:lnTo>
                  <a:pt x="113538" y="113036"/>
                </a:lnTo>
                <a:close/>
              </a:path>
              <a:path w="266700" h="327025">
                <a:moveTo>
                  <a:pt x="117729" y="7927"/>
                </a:moveTo>
                <a:lnTo>
                  <a:pt x="117348" y="7880"/>
                </a:lnTo>
                <a:lnTo>
                  <a:pt x="117729" y="7927"/>
                </a:lnTo>
                <a:close/>
              </a:path>
              <a:path w="266700" h="327025">
                <a:moveTo>
                  <a:pt x="117754" y="112325"/>
                </a:moveTo>
                <a:lnTo>
                  <a:pt x="117348" y="112274"/>
                </a:lnTo>
                <a:lnTo>
                  <a:pt x="117754" y="112325"/>
                </a:lnTo>
                <a:close/>
              </a:path>
              <a:path w="266700" h="327025">
                <a:moveTo>
                  <a:pt x="118110" y="7975"/>
                </a:moveTo>
                <a:lnTo>
                  <a:pt x="117729" y="7927"/>
                </a:lnTo>
                <a:lnTo>
                  <a:pt x="118110" y="7975"/>
                </a:lnTo>
                <a:close/>
              </a:path>
              <a:path w="266700" h="327025">
                <a:moveTo>
                  <a:pt x="118110" y="112369"/>
                </a:moveTo>
                <a:lnTo>
                  <a:pt x="117754" y="112325"/>
                </a:lnTo>
                <a:lnTo>
                  <a:pt x="118110" y="112369"/>
                </a:lnTo>
                <a:close/>
              </a:path>
              <a:path w="266700" h="327025">
                <a:moveTo>
                  <a:pt x="123444" y="113417"/>
                </a:moveTo>
                <a:lnTo>
                  <a:pt x="123444" y="113036"/>
                </a:lnTo>
                <a:lnTo>
                  <a:pt x="121920" y="113036"/>
                </a:lnTo>
                <a:lnTo>
                  <a:pt x="123444" y="113417"/>
                </a:lnTo>
                <a:close/>
              </a:path>
              <a:path w="266700" h="327025">
                <a:moveTo>
                  <a:pt x="123444" y="8737"/>
                </a:moveTo>
                <a:lnTo>
                  <a:pt x="122682" y="8642"/>
                </a:lnTo>
                <a:lnTo>
                  <a:pt x="123444" y="8737"/>
                </a:lnTo>
                <a:close/>
              </a:path>
              <a:path w="266700" h="327025">
                <a:moveTo>
                  <a:pt x="128016" y="114560"/>
                </a:moveTo>
                <a:lnTo>
                  <a:pt x="127254" y="113798"/>
                </a:lnTo>
                <a:lnTo>
                  <a:pt x="127254" y="114369"/>
                </a:lnTo>
                <a:lnTo>
                  <a:pt x="128016" y="114560"/>
                </a:lnTo>
                <a:close/>
              </a:path>
              <a:path w="266700" h="327025">
                <a:moveTo>
                  <a:pt x="128778" y="9404"/>
                </a:moveTo>
                <a:lnTo>
                  <a:pt x="128016" y="8642"/>
                </a:lnTo>
                <a:lnTo>
                  <a:pt x="128016" y="9309"/>
                </a:lnTo>
                <a:lnTo>
                  <a:pt x="128778" y="9404"/>
                </a:lnTo>
                <a:close/>
              </a:path>
              <a:path w="266700" h="327025">
                <a:moveTo>
                  <a:pt x="132588" y="116846"/>
                </a:moveTo>
                <a:lnTo>
                  <a:pt x="131826" y="116084"/>
                </a:lnTo>
                <a:lnTo>
                  <a:pt x="131826" y="116410"/>
                </a:lnTo>
                <a:lnTo>
                  <a:pt x="132588" y="116846"/>
                </a:lnTo>
                <a:close/>
              </a:path>
              <a:path w="266700" h="327025">
                <a:moveTo>
                  <a:pt x="134112" y="10383"/>
                </a:moveTo>
                <a:lnTo>
                  <a:pt x="134112" y="10166"/>
                </a:lnTo>
                <a:lnTo>
                  <a:pt x="133350" y="10166"/>
                </a:lnTo>
                <a:lnTo>
                  <a:pt x="134112" y="10383"/>
                </a:lnTo>
                <a:close/>
              </a:path>
              <a:path w="266700" h="327025">
                <a:moveTo>
                  <a:pt x="137160" y="119894"/>
                </a:moveTo>
                <a:lnTo>
                  <a:pt x="136398" y="119132"/>
                </a:lnTo>
                <a:lnTo>
                  <a:pt x="136398" y="119349"/>
                </a:lnTo>
                <a:lnTo>
                  <a:pt x="137160" y="119894"/>
                </a:lnTo>
                <a:close/>
              </a:path>
              <a:path w="266700" h="327025">
                <a:moveTo>
                  <a:pt x="174498" y="207524"/>
                </a:moveTo>
                <a:lnTo>
                  <a:pt x="137922" y="207524"/>
                </a:lnTo>
                <a:lnTo>
                  <a:pt x="146304" y="222907"/>
                </a:lnTo>
                <a:lnTo>
                  <a:pt x="146304" y="216668"/>
                </a:lnTo>
                <a:lnTo>
                  <a:pt x="150114" y="209810"/>
                </a:lnTo>
                <a:lnTo>
                  <a:pt x="153818" y="216668"/>
                </a:lnTo>
                <a:lnTo>
                  <a:pt x="169164" y="216668"/>
                </a:lnTo>
                <a:lnTo>
                  <a:pt x="169164" y="212096"/>
                </a:lnTo>
                <a:lnTo>
                  <a:pt x="174498" y="207524"/>
                </a:lnTo>
                <a:close/>
              </a:path>
              <a:path w="266700" h="327025">
                <a:moveTo>
                  <a:pt x="141732" y="124466"/>
                </a:moveTo>
                <a:lnTo>
                  <a:pt x="141732" y="123704"/>
                </a:lnTo>
                <a:lnTo>
                  <a:pt x="140970" y="123704"/>
                </a:lnTo>
                <a:lnTo>
                  <a:pt x="141732" y="124466"/>
                </a:lnTo>
                <a:close/>
              </a:path>
              <a:path w="266700" h="327025">
                <a:moveTo>
                  <a:pt x="153818" y="216668"/>
                </a:moveTo>
                <a:lnTo>
                  <a:pt x="150114" y="209810"/>
                </a:lnTo>
                <a:lnTo>
                  <a:pt x="146304" y="216668"/>
                </a:lnTo>
                <a:lnTo>
                  <a:pt x="153818" y="216668"/>
                </a:lnTo>
                <a:close/>
              </a:path>
              <a:path w="266700" h="327025">
                <a:moveTo>
                  <a:pt x="202311" y="306445"/>
                </a:moveTo>
                <a:lnTo>
                  <a:pt x="153818" y="216668"/>
                </a:lnTo>
                <a:lnTo>
                  <a:pt x="146304" y="216668"/>
                </a:lnTo>
                <a:lnTo>
                  <a:pt x="146304" y="222907"/>
                </a:lnTo>
                <a:lnTo>
                  <a:pt x="198120" y="318005"/>
                </a:lnTo>
                <a:lnTo>
                  <a:pt x="198120" y="314204"/>
                </a:lnTo>
                <a:lnTo>
                  <a:pt x="202311" y="306445"/>
                </a:lnTo>
                <a:close/>
              </a:path>
              <a:path w="266700" h="327025">
                <a:moveTo>
                  <a:pt x="149352" y="17459"/>
                </a:moveTo>
                <a:lnTo>
                  <a:pt x="149352" y="17024"/>
                </a:lnTo>
                <a:lnTo>
                  <a:pt x="148590" y="17024"/>
                </a:lnTo>
                <a:lnTo>
                  <a:pt x="149352" y="17459"/>
                </a:lnTo>
                <a:close/>
              </a:path>
              <a:path w="266700" h="327025">
                <a:moveTo>
                  <a:pt x="150114" y="134981"/>
                </a:moveTo>
                <a:lnTo>
                  <a:pt x="150114" y="134372"/>
                </a:lnTo>
                <a:lnTo>
                  <a:pt x="149352" y="133610"/>
                </a:lnTo>
                <a:lnTo>
                  <a:pt x="150114" y="134981"/>
                </a:lnTo>
                <a:close/>
              </a:path>
              <a:path w="266700" h="327025">
                <a:moveTo>
                  <a:pt x="163830" y="27692"/>
                </a:moveTo>
                <a:lnTo>
                  <a:pt x="163068" y="26930"/>
                </a:lnTo>
                <a:lnTo>
                  <a:pt x="163830" y="27692"/>
                </a:lnTo>
                <a:close/>
              </a:path>
              <a:path w="266700" h="327025">
                <a:moveTo>
                  <a:pt x="174498" y="216668"/>
                </a:moveTo>
                <a:lnTo>
                  <a:pt x="174498" y="207524"/>
                </a:lnTo>
                <a:lnTo>
                  <a:pt x="169164" y="212096"/>
                </a:lnTo>
                <a:lnTo>
                  <a:pt x="169164" y="216668"/>
                </a:lnTo>
                <a:lnTo>
                  <a:pt x="174498" y="216668"/>
                </a:lnTo>
                <a:close/>
              </a:path>
              <a:path w="266700" h="327025">
                <a:moveTo>
                  <a:pt x="172974" y="37725"/>
                </a:moveTo>
                <a:lnTo>
                  <a:pt x="172974" y="36836"/>
                </a:lnTo>
                <a:lnTo>
                  <a:pt x="172212" y="36836"/>
                </a:lnTo>
                <a:lnTo>
                  <a:pt x="172974" y="37725"/>
                </a:lnTo>
                <a:close/>
              </a:path>
              <a:path w="266700" h="327025">
                <a:moveTo>
                  <a:pt x="206502" y="314204"/>
                </a:moveTo>
                <a:lnTo>
                  <a:pt x="202311" y="306445"/>
                </a:lnTo>
                <a:lnTo>
                  <a:pt x="198120" y="314204"/>
                </a:lnTo>
                <a:lnTo>
                  <a:pt x="206502" y="314204"/>
                </a:lnTo>
                <a:close/>
              </a:path>
              <a:path w="266700" h="327025">
                <a:moveTo>
                  <a:pt x="206502" y="319320"/>
                </a:moveTo>
                <a:lnTo>
                  <a:pt x="206502" y="314204"/>
                </a:lnTo>
                <a:lnTo>
                  <a:pt x="198120" y="314204"/>
                </a:lnTo>
                <a:lnTo>
                  <a:pt x="198120" y="318005"/>
                </a:lnTo>
                <a:lnTo>
                  <a:pt x="202692" y="326396"/>
                </a:lnTo>
                <a:lnTo>
                  <a:pt x="206502" y="319320"/>
                </a:lnTo>
                <a:close/>
              </a:path>
              <a:path w="266700" h="327025">
                <a:moveTo>
                  <a:pt x="258318" y="223090"/>
                </a:moveTo>
                <a:lnTo>
                  <a:pt x="258318" y="216668"/>
                </a:lnTo>
                <a:lnTo>
                  <a:pt x="250803" y="216668"/>
                </a:lnTo>
                <a:lnTo>
                  <a:pt x="202311" y="306445"/>
                </a:lnTo>
                <a:lnTo>
                  <a:pt x="206502" y="314204"/>
                </a:lnTo>
                <a:lnTo>
                  <a:pt x="206502" y="319320"/>
                </a:lnTo>
                <a:lnTo>
                  <a:pt x="258318" y="223090"/>
                </a:lnTo>
                <a:close/>
              </a:path>
              <a:path w="266700" h="327025">
                <a:moveTo>
                  <a:pt x="266700" y="207524"/>
                </a:moveTo>
                <a:lnTo>
                  <a:pt x="230124" y="207524"/>
                </a:lnTo>
                <a:lnTo>
                  <a:pt x="235458" y="212096"/>
                </a:lnTo>
                <a:lnTo>
                  <a:pt x="235458" y="216668"/>
                </a:lnTo>
                <a:lnTo>
                  <a:pt x="250803" y="216668"/>
                </a:lnTo>
                <a:lnTo>
                  <a:pt x="254508" y="209810"/>
                </a:lnTo>
                <a:lnTo>
                  <a:pt x="258318" y="216668"/>
                </a:lnTo>
                <a:lnTo>
                  <a:pt x="258318" y="223090"/>
                </a:lnTo>
                <a:lnTo>
                  <a:pt x="266700" y="207524"/>
                </a:lnTo>
                <a:close/>
              </a:path>
              <a:path w="266700" h="327025">
                <a:moveTo>
                  <a:pt x="235458" y="216668"/>
                </a:moveTo>
                <a:lnTo>
                  <a:pt x="235458" y="212096"/>
                </a:lnTo>
                <a:lnTo>
                  <a:pt x="230124" y="207524"/>
                </a:lnTo>
                <a:lnTo>
                  <a:pt x="230124" y="216668"/>
                </a:lnTo>
                <a:lnTo>
                  <a:pt x="235458" y="216668"/>
                </a:lnTo>
                <a:close/>
              </a:path>
              <a:path w="266700" h="327025">
                <a:moveTo>
                  <a:pt x="258318" y="216668"/>
                </a:moveTo>
                <a:lnTo>
                  <a:pt x="254508" y="209810"/>
                </a:lnTo>
                <a:lnTo>
                  <a:pt x="250803" y="216668"/>
                </a:lnTo>
                <a:lnTo>
                  <a:pt x="258318" y="21666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1" name="object 151"/>
          <p:cNvSpPr/>
          <p:nvPr/>
        </p:nvSpPr>
        <p:spPr>
          <a:xfrm>
            <a:off x="6437314" y="1695059"/>
            <a:ext cx="185290" cy="145215"/>
          </a:xfrm>
          <a:custGeom>
            <a:avLst/>
            <a:gdLst/>
            <a:ahLst/>
            <a:cxnLst/>
            <a:rect l="l" t="t" r="r" b="b"/>
            <a:pathLst>
              <a:path w="253365" h="313689">
                <a:moveTo>
                  <a:pt x="112775" y="104394"/>
                </a:moveTo>
                <a:lnTo>
                  <a:pt x="56387" y="0"/>
                </a:lnTo>
                <a:lnTo>
                  <a:pt x="0" y="104394"/>
                </a:lnTo>
                <a:lnTo>
                  <a:pt x="28193" y="104394"/>
                </a:lnTo>
                <a:lnTo>
                  <a:pt x="32208" y="159811"/>
                </a:lnTo>
                <a:lnTo>
                  <a:pt x="43546" y="209662"/>
                </a:lnTo>
                <a:lnTo>
                  <a:pt x="61150" y="251936"/>
                </a:lnTo>
                <a:lnTo>
                  <a:pt x="83961" y="284621"/>
                </a:lnTo>
                <a:lnTo>
                  <a:pt x="84581" y="285106"/>
                </a:lnTo>
                <a:lnTo>
                  <a:pt x="84581" y="104394"/>
                </a:lnTo>
                <a:lnTo>
                  <a:pt x="112775" y="104394"/>
                </a:lnTo>
                <a:close/>
              </a:path>
              <a:path w="253365" h="313689">
                <a:moveTo>
                  <a:pt x="252983" y="104394"/>
                </a:moveTo>
                <a:lnTo>
                  <a:pt x="197357" y="104394"/>
                </a:lnTo>
                <a:lnTo>
                  <a:pt x="192833" y="145137"/>
                </a:lnTo>
                <a:lnTo>
                  <a:pt x="180593" y="178308"/>
                </a:lnTo>
                <a:lnTo>
                  <a:pt x="162639" y="200620"/>
                </a:lnTo>
                <a:lnTo>
                  <a:pt x="140969" y="208788"/>
                </a:lnTo>
                <a:lnTo>
                  <a:pt x="118979" y="200620"/>
                </a:lnTo>
                <a:lnTo>
                  <a:pt x="101060" y="178308"/>
                </a:lnTo>
                <a:lnTo>
                  <a:pt x="88999" y="145137"/>
                </a:lnTo>
                <a:lnTo>
                  <a:pt x="84581" y="104394"/>
                </a:lnTo>
                <a:lnTo>
                  <a:pt x="84581" y="285106"/>
                </a:lnTo>
                <a:lnTo>
                  <a:pt x="110920" y="305706"/>
                </a:lnTo>
                <a:lnTo>
                  <a:pt x="140969" y="313182"/>
                </a:lnTo>
                <a:lnTo>
                  <a:pt x="170698" y="305706"/>
                </a:lnTo>
                <a:lnTo>
                  <a:pt x="197442" y="284621"/>
                </a:lnTo>
                <a:lnTo>
                  <a:pt x="220122" y="251936"/>
                </a:lnTo>
                <a:lnTo>
                  <a:pt x="237659" y="209662"/>
                </a:lnTo>
                <a:lnTo>
                  <a:pt x="248972" y="159811"/>
                </a:lnTo>
                <a:lnTo>
                  <a:pt x="252983" y="1043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6431183" y="1690473"/>
            <a:ext cx="195042" cy="151388"/>
          </a:xfrm>
          <a:custGeom>
            <a:avLst/>
            <a:gdLst/>
            <a:ahLst/>
            <a:cxnLst/>
            <a:rect l="l" t="t" r="r" b="b"/>
            <a:pathLst>
              <a:path w="266700" h="327025">
                <a:moveTo>
                  <a:pt x="128778" y="118872"/>
                </a:moveTo>
                <a:lnTo>
                  <a:pt x="64770" y="0"/>
                </a:lnTo>
                <a:lnTo>
                  <a:pt x="0" y="118872"/>
                </a:lnTo>
                <a:lnTo>
                  <a:pt x="8382" y="118872"/>
                </a:lnTo>
                <a:lnTo>
                  <a:pt x="8382" y="109728"/>
                </a:lnTo>
                <a:lnTo>
                  <a:pt x="15896" y="109728"/>
                </a:lnTo>
                <a:lnTo>
                  <a:pt x="60198" y="27710"/>
                </a:lnTo>
                <a:lnTo>
                  <a:pt x="60198" y="12192"/>
                </a:lnTo>
                <a:lnTo>
                  <a:pt x="68580" y="12192"/>
                </a:lnTo>
                <a:lnTo>
                  <a:pt x="68580" y="27710"/>
                </a:lnTo>
                <a:lnTo>
                  <a:pt x="112881" y="109728"/>
                </a:lnTo>
                <a:lnTo>
                  <a:pt x="121158" y="109728"/>
                </a:lnTo>
                <a:lnTo>
                  <a:pt x="121158" y="118872"/>
                </a:lnTo>
                <a:lnTo>
                  <a:pt x="128778" y="118872"/>
                </a:lnTo>
                <a:close/>
              </a:path>
              <a:path w="266700" h="327025">
                <a:moveTo>
                  <a:pt x="15896" y="109728"/>
                </a:moveTo>
                <a:lnTo>
                  <a:pt x="8382" y="109728"/>
                </a:lnTo>
                <a:lnTo>
                  <a:pt x="12192" y="116586"/>
                </a:lnTo>
                <a:lnTo>
                  <a:pt x="15896" y="109728"/>
                </a:lnTo>
                <a:close/>
              </a:path>
              <a:path w="266700" h="327025">
                <a:moveTo>
                  <a:pt x="54864" y="212598"/>
                </a:moveTo>
                <a:lnTo>
                  <a:pt x="49530" y="194310"/>
                </a:lnTo>
                <a:lnTo>
                  <a:pt x="45720" y="175260"/>
                </a:lnTo>
                <a:lnTo>
                  <a:pt x="45720" y="176022"/>
                </a:lnTo>
                <a:lnTo>
                  <a:pt x="43434" y="155448"/>
                </a:lnTo>
                <a:lnTo>
                  <a:pt x="43434" y="156210"/>
                </a:lnTo>
                <a:lnTo>
                  <a:pt x="41910" y="134874"/>
                </a:lnTo>
                <a:lnTo>
                  <a:pt x="41910" y="135636"/>
                </a:lnTo>
                <a:lnTo>
                  <a:pt x="41148" y="124968"/>
                </a:lnTo>
                <a:lnTo>
                  <a:pt x="41148" y="109728"/>
                </a:lnTo>
                <a:lnTo>
                  <a:pt x="15896" y="109728"/>
                </a:lnTo>
                <a:lnTo>
                  <a:pt x="12192" y="116586"/>
                </a:lnTo>
                <a:lnTo>
                  <a:pt x="8382" y="109728"/>
                </a:lnTo>
                <a:lnTo>
                  <a:pt x="8382" y="118872"/>
                </a:lnTo>
                <a:lnTo>
                  <a:pt x="31242" y="118872"/>
                </a:lnTo>
                <a:lnTo>
                  <a:pt x="31242" y="114300"/>
                </a:lnTo>
                <a:lnTo>
                  <a:pt x="36576" y="118872"/>
                </a:lnTo>
                <a:lnTo>
                  <a:pt x="36576" y="170594"/>
                </a:lnTo>
                <a:lnTo>
                  <a:pt x="37051" y="175344"/>
                </a:lnTo>
                <a:lnTo>
                  <a:pt x="46609" y="218522"/>
                </a:lnTo>
                <a:lnTo>
                  <a:pt x="54102" y="238678"/>
                </a:lnTo>
                <a:lnTo>
                  <a:pt x="54102" y="212598"/>
                </a:lnTo>
                <a:lnTo>
                  <a:pt x="54864" y="212598"/>
                </a:lnTo>
                <a:close/>
              </a:path>
              <a:path w="266700" h="327025">
                <a:moveTo>
                  <a:pt x="36576" y="118872"/>
                </a:moveTo>
                <a:lnTo>
                  <a:pt x="31242" y="114300"/>
                </a:lnTo>
                <a:lnTo>
                  <a:pt x="31568" y="118872"/>
                </a:lnTo>
                <a:lnTo>
                  <a:pt x="36576" y="118872"/>
                </a:lnTo>
                <a:close/>
              </a:path>
              <a:path w="266700" h="327025">
                <a:moveTo>
                  <a:pt x="31568" y="118872"/>
                </a:moveTo>
                <a:lnTo>
                  <a:pt x="31242" y="114300"/>
                </a:lnTo>
                <a:lnTo>
                  <a:pt x="31242" y="118872"/>
                </a:lnTo>
                <a:lnTo>
                  <a:pt x="31568" y="118872"/>
                </a:lnTo>
                <a:close/>
              </a:path>
              <a:path w="266700" h="327025">
                <a:moveTo>
                  <a:pt x="36576" y="170594"/>
                </a:moveTo>
                <a:lnTo>
                  <a:pt x="36576" y="118872"/>
                </a:lnTo>
                <a:lnTo>
                  <a:pt x="31568" y="118872"/>
                </a:lnTo>
                <a:lnTo>
                  <a:pt x="32004" y="124968"/>
                </a:lnTo>
                <a:lnTo>
                  <a:pt x="36576" y="170594"/>
                </a:lnTo>
                <a:close/>
              </a:path>
              <a:path w="266700" h="327025">
                <a:moveTo>
                  <a:pt x="73914" y="259842"/>
                </a:moveTo>
                <a:lnTo>
                  <a:pt x="70104" y="252222"/>
                </a:lnTo>
                <a:lnTo>
                  <a:pt x="70104" y="252984"/>
                </a:lnTo>
                <a:lnTo>
                  <a:pt x="66294" y="245364"/>
                </a:lnTo>
                <a:lnTo>
                  <a:pt x="63246" y="236982"/>
                </a:lnTo>
                <a:lnTo>
                  <a:pt x="63246" y="237744"/>
                </a:lnTo>
                <a:lnTo>
                  <a:pt x="54102" y="212598"/>
                </a:lnTo>
                <a:lnTo>
                  <a:pt x="54102" y="238678"/>
                </a:lnTo>
                <a:lnTo>
                  <a:pt x="59984" y="254503"/>
                </a:lnTo>
                <a:lnTo>
                  <a:pt x="73152" y="277469"/>
                </a:lnTo>
                <a:lnTo>
                  <a:pt x="73152" y="259842"/>
                </a:lnTo>
                <a:lnTo>
                  <a:pt x="73914" y="259842"/>
                </a:lnTo>
                <a:close/>
              </a:path>
              <a:path w="266700" h="327025">
                <a:moveTo>
                  <a:pt x="68580" y="12192"/>
                </a:moveTo>
                <a:lnTo>
                  <a:pt x="60198" y="12192"/>
                </a:lnTo>
                <a:lnTo>
                  <a:pt x="64389" y="19951"/>
                </a:lnTo>
                <a:lnTo>
                  <a:pt x="68580" y="12192"/>
                </a:lnTo>
                <a:close/>
              </a:path>
              <a:path w="266700" h="327025">
                <a:moveTo>
                  <a:pt x="64389" y="19951"/>
                </a:moveTo>
                <a:lnTo>
                  <a:pt x="60198" y="12192"/>
                </a:lnTo>
                <a:lnTo>
                  <a:pt x="60198" y="27710"/>
                </a:lnTo>
                <a:lnTo>
                  <a:pt x="64389" y="19951"/>
                </a:lnTo>
                <a:close/>
              </a:path>
              <a:path w="266700" h="327025">
                <a:moveTo>
                  <a:pt x="68580" y="27710"/>
                </a:moveTo>
                <a:lnTo>
                  <a:pt x="68580" y="12192"/>
                </a:lnTo>
                <a:lnTo>
                  <a:pt x="64389" y="19951"/>
                </a:lnTo>
                <a:lnTo>
                  <a:pt x="68580" y="27710"/>
                </a:lnTo>
                <a:close/>
              </a:path>
              <a:path w="266700" h="327025">
                <a:moveTo>
                  <a:pt x="77724" y="266700"/>
                </a:moveTo>
                <a:lnTo>
                  <a:pt x="73152" y="259842"/>
                </a:lnTo>
                <a:lnTo>
                  <a:pt x="73152" y="277469"/>
                </a:lnTo>
                <a:lnTo>
                  <a:pt x="76486" y="283286"/>
                </a:lnTo>
                <a:lnTo>
                  <a:pt x="76962" y="283828"/>
                </a:lnTo>
                <a:lnTo>
                  <a:pt x="76962" y="265938"/>
                </a:lnTo>
                <a:lnTo>
                  <a:pt x="77724" y="266700"/>
                </a:lnTo>
                <a:close/>
              </a:path>
              <a:path w="266700" h="327025">
                <a:moveTo>
                  <a:pt x="94488" y="289560"/>
                </a:moveTo>
                <a:lnTo>
                  <a:pt x="85344" y="278892"/>
                </a:lnTo>
                <a:lnTo>
                  <a:pt x="81534" y="272796"/>
                </a:lnTo>
                <a:lnTo>
                  <a:pt x="76962" y="265938"/>
                </a:lnTo>
                <a:lnTo>
                  <a:pt x="76962" y="283828"/>
                </a:lnTo>
                <a:lnTo>
                  <a:pt x="93726" y="302936"/>
                </a:lnTo>
                <a:lnTo>
                  <a:pt x="93726" y="289560"/>
                </a:lnTo>
                <a:lnTo>
                  <a:pt x="94488" y="289560"/>
                </a:lnTo>
                <a:close/>
              </a:path>
              <a:path w="266700" h="327025">
                <a:moveTo>
                  <a:pt x="121158" y="118872"/>
                </a:moveTo>
                <a:lnTo>
                  <a:pt x="121158" y="109728"/>
                </a:lnTo>
                <a:lnTo>
                  <a:pt x="116586" y="116586"/>
                </a:lnTo>
                <a:lnTo>
                  <a:pt x="112881" y="109728"/>
                </a:lnTo>
                <a:lnTo>
                  <a:pt x="87630" y="109728"/>
                </a:lnTo>
                <a:lnTo>
                  <a:pt x="88392" y="124968"/>
                </a:lnTo>
                <a:lnTo>
                  <a:pt x="92964" y="149641"/>
                </a:lnTo>
                <a:lnTo>
                  <a:pt x="92964" y="118872"/>
                </a:lnTo>
                <a:lnTo>
                  <a:pt x="97536" y="114300"/>
                </a:lnTo>
                <a:lnTo>
                  <a:pt x="97536" y="118872"/>
                </a:lnTo>
                <a:lnTo>
                  <a:pt x="121158" y="118872"/>
                </a:lnTo>
                <a:close/>
              </a:path>
              <a:path w="266700" h="327025">
                <a:moveTo>
                  <a:pt x="97536" y="118872"/>
                </a:moveTo>
                <a:lnTo>
                  <a:pt x="97536" y="114300"/>
                </a:lnTo>
                <a:lnTo>
                  <a:pt x="92964" y="118872"/>
                </a:lnTo>
                <a:lnTo>
                  <a:pt x="97536" y="118872"/>
                </a:lnTo>
                <a:close/>
              </a:path>
              <a:path w="266700" h="327025">
                <a:moveTo>
                  <a:pt x="102108" y="153924"/>
                </a:moveTo>
                <a:lnTo>
                  <a:pt x="99822" y="144018"/>
                </a:lnTo>
                <a:lnTo>
                  <a:pt x="99822" y="144780"/>
                </a:lnTo>
                <a:lnTo>
                  <a:pt x="98298" y="134874"/>
                </a:lnTo>
                <a:lnTo>
                  <a:pt x="97536" y="124206"/>
                </a:lnTo>
                <a:lnTo>
                  <a:pt x="97536" y="118872"/>
                </a:lnTo>
                <a:lnTo>
                  <a:pt x="92964" y="118872"/>
                </a:lnTo>
                <a:lnTo>
                  <a:pt x="92964" y="149641"/>
                </a:lnTo>
                <a:lnTo>
                  <a:pt x="97300" y="173045"/>
                </a:lnTo>
                <a:lnTo>
                  <a:pt x="101346" y="180525"/>
                </a:lnTo>
                <a:lnTo>
                  <a:pt x="101346" y="153924"/>
                </a:lnTo>
                <a:lnTo>
                  <a:pt x="102108" y="153924"/>
                </a:lnTo>
                <a:close/>
              </a:path>
              <a:path w="266700" h="327025">
                <a:moveTo>
                  <a:pt x="99060" y="307402"/>
                </a:moveTo>
                <a:lnTo>
                  <a:pt x="99060" y="294894"/>
                </a:lnTo>
                <a:lnTo>
                  <a:pt x="93726" y="289560"/>
                </a:lnTo>
                <a:lnTo>
                  <a:pt x="93726" y="302936"/>
                </a:lnTo>
                <a:lnTo>
                  <a:pt x="95424" y="304873"/>
                </a:lnTo>
                <a:lnTo>
                  <a:pt x="99060" y="307402"/>
                </a:lnTo>
                <a:close/>
              </a:path>
              <a:path w="266700" h="327025">
                <a:moveTo>
                  <a:pt x="103632" y="298704"/>
                </a:moveTo>
                <a:lnTo>
                  <a:pt x="98298" y="294132"/>
                </a:lnTo>
                <a:lnTo>
                  <a:pt x="99060" y="294894"/>
                </a:lnTo>
                <a:lnTo>
                  <a:pt x="99060" y="307402"/>
                </a:lnTo>
                <a:lnTo>
                  <a:pt x="102870" y="310053"/>
                </a:lnTo>
                <a:lnTo>
                  <a:pt x="102870" y="298704"/>
                </a:lnTo>
                <a:lnTo>
                  <a:pt x="103632" y="298704"/>
                </a:lnTo>
                <a:close/>
              </a:path>
              <a:path w="266700" h="327025">
                <a:moveTo>
                  <a:pt x="104394" y="163068"/>
                </a:moveTo>
                <a:lnTo>
                  <a:pt x="101346" y="153924"/>
                </a:lnTo>
                <a:lnTo>
                  <a:pt x="101346" y="180525"/>
                </a:lnTo>
                <a:lnTo>
                  <a:pt x="103632" y="184752"/>
                </a:lnTo>
                <a:lnTo>
                  <a:pt x="103632" y="162306"/>
                </a:lnTo>
                <a:lnTo>
                  <a:pt x="104394" y="163068"/>
                </a:lnTo>
                <a:close/>
              </a:path>
              <a:path w="266700" h="327025">
                <a:moveTo>
                  <a:pt x="118110" y="309372"/>
                </a:moveTo>
                <a:lnTo>
                  <a:pt x="112776" y="306324"/>
                </a:lnTo>
                <a:lnTo>
                  <a:pt x="108204" y="302514"/>
                </a:lnTo>
                <a:lnTo>
                  <a:pt x="108204" y="303276"/>
                </a:lnTo>
                <a:lnTo>
                  <a:pt x="102870" y="298704"/>
                </a:lnTo>
                <a:lnTo>
                  <a:pt x="102870" y="310053"/>
                </a:lnTo>
                <a:lnTo>
                  <a:pt x="116107" y="319263"/>
                </a:lnTo>
                <a:lnTo>
                  <a:pt x="117348" y="319673"/>
                </a:lnTo>
                <a:lnTo>
                  <a:pt x="117348" y="309372"/>
                </a:lnTo>
                <a:lnTo>
                  <a:pt x="118110" y="309372"/>
                </a:lnTo>
                <a:close/>
              </a:path>
              <a:path w="266700" h="327025">
                <a:moveTo>
                  <a:pt x="130302" y="206502"/>
                </a:moveTo>
                <a:lnTo>
                  <a:pt x="125730" y="202692"/>
                </a:lnTo>
                <a:lnTo>
                  <a:pt x="121158" y="197358"/>
                </a:lnTo>
                <a:lnTo>
                  <a:pt x="121158" y="198120"/>
                </a:lnTo>
                <a:lnTo>
                  <a:pt x="113538" y="185928"/>
                </a:lnTo>
                <a:lnTo>
                  <a:pt x="109728" y="178308"/>
                </a:lnTo>
                <a:lnTo>
                  <a:pt x="109728" y="179070"/>
                </a:lnTo>
                <a:lnTo>
                  <a:pt x="106680" y="170688"/>
                </a:lnTo>
                <a:lnTo>
                  <a:pt x="106680" y="171450"/>
                </a:lnTo>
                <a:lnTo>
                  <a:pt x="103632" y="162306"/>
                </a:lnTo>
                <a:lnTo>
                  <a:pt x="103632" y="184752"/>
                </a:lnTo>
                <a:lnTo>
                  <a:pt x="114627" y="205083"/>
                </a:lnTo>
                <a:lnTo>
                  <a:pt x="129540" y="215752"/>
                </a:lnTo>
                <a:lnTo>
                  <a:pt x="129540" y="206502"/>
                </a:lnTo>
                <a:lnTo>
                  <a:pt x="130302" y="206502"/>
                </a:lnTo>
                <a:close/>
              </a:path>
              <a:path w="266700" h="327025">
                <a:moveTo>
                  <a:pt x="121158" y="109728"/>
                </a:moveTo>
                <a:lnTo>
                  <a:pt x="112881" y="109728"/>
                </a:lnTo>
                <a:lnTo>
                  <a:pt x="116586" y="116586"/>
                </a:lnTo>
                <a:lnTo>
                  <a:pt x="121158" y="109728"/>
                </a:lnTo>
                <a:close/>
              </a:path>
              <a:path w="266700" h="327025">
                <a:moveTo>
                  <a:pt x="123444" y="312420"/>
                </a:moveTo>
                <a:lnTo>
                  <a:pt x="117348" y="309372"/>
                </a:lnTo>
                <a:lnTo>
                  <a:pt x="117348" y="319673"/>
                </a:lnTo>
                <a:lnTo>
                  <a:pt x="122682" y="321439"/>
                </a:lnTo>
                <a:lnTo>
                  <a:pt x="122682" y="312420"/>
                </a:lnTo>
                <a:lnTo>
                  <a:pt x="123444" y="312420"/>
                </a:lnTo>
                <a:close/>
              </a:path>
              <a:path w="266700" h="327025">
                <a:moveTo>
                  <a:pt x="133350" y="316230"/>
                </a:moveTo>
                <a:lnTo>
                  <a:pt x="128016" y="313944"/>
                </a:lnTo>
                <a:lnTo>
                  <a:pt x="128016" y="314706"/>
                </a:lnTo>
                <a:lnTo>
                  <a:pt x="122682" y="312420"/>
                </a:lnTo>
                <a:lnTo>
                  <a:pt x="122682" y="321439"/>
                </a:lnTo>
                <a:lnTo>
                  <a:pt x="132588" y="324717"/>
                </a:lnTo>
                <a:lnTo>
                  <a:pt x="132588" y="316230"/>
                </a:lnTo>
                <a:lnTo>
                  <a:pt x="133350" y="316230"/>
                </a:lnTo>
                <a:close/>
              </a:path>
              <a:path w="266700" h="327025">
                <a:moveTo>
                  <a:pt x="134874" y="219568"/>
                </a:moveTo>
                <a:lnTo>
                  <a:pt x="134874" y="210312"/>
                </a:lnTo>
                <a:lnTo>
                  <a:pt x="129540" y="206502"/>
                </a:lnTo>
                <a:lnTo>
                  <a:pt x="129540" y="215752"/>
                </a:lnTo>
                <a:lnTo>
                  <a:pt x="134874" y="219568"/>
                </a:lnTo>
                <a:close/>
              </a:path>
              <a:path w="266700" h="327025">
                <a:moveTo>
                  <a:pt x="149352" y="326455"/>
                </a:moveTo>
                <a:lnTo>
                  <a:pt x="149352" y="318516"/>
                </a:lnTo>
                <a:lnTo>
                  <a:pt x="148590" y="318516"/>
                </a:lnTo>
                <a:lnTo>
                  <a:pt x="143256" y="317754"/>
                </a:lnTo>
                <a:lnTo>
                  <a:pt x="137922" y="316992"/>
                </a:lnTo>
                <a:lnTo>
                  <a:pt x="132588" y="316230"/>
                </a:lnTo>
                <a:lnTo>
                  <a:pt x="132588" y="324717"/>
                </a:lnTo>
                <a:lnTo>
                  <a:pt x="137843" y="326456"/>
                </a:lnTo>
                <a:lnTo>
                  <a:pt x="149352" y="326455"/>
                </a:lnTo>
                <a:close/>
              </a:path>
              <a:path w="266700" h="327025">
                <a:moveTo>
                  <a:pt x="139446" y="221089"/>
                </a:moveTo>
                <a:lnTo>
                  <a:pt x="139446" y="212598"/>
                </a:lnTo>
                <a:lnTo>
                  <a:pt x="134112" y="209550"/>
                </a:lnTo>
                <a:lnTo>
                  <a:pt x="134874" y="210312"/>
                </a:lnTo>
                <a:lnTo>
                  <a:pt x="134874" y="219568"/>
                </a:lnTo>
                <a:lnTo>
                  <a:pt x="137001" y="221090"/>
                </a:lnTo>
                <a:lnTo>
                  <a:pt x="139446" y="221089"/>
                </a:lnTo>
                <a:close/>
              </a:path>
              <a:path w="266700" h="327025">
                <a:moveTo>
                  <a:pt x="138684" y="316992"/>
                </a:moveTo>
                <a:lnTo>
                  <a:pt x="137922" y="316896"/>
                </a:lnTo>
                <a:lnTo>
                  <a:pt x="138684" y="316992"/>
                </a:lnTo>
                <a:close/>
              </a:path>
              <a:path w="266700" h="327025">
                <a:moveTo>
                  <a:pt x="144780" y="213360"/>
                </a:moveTo>
                <a:lnTo>
                  <a:pt x="138684" y="211836"/>
                </a:lnTo>
                <a:lnTo>
                  <a:pt x="139446" y="212598"/>
                </a:lnTo>
                <a:lnTo>
                  <a:pt x="139446" y="221089"/>
                </a:lnTo>
                <a:lnTo>
                  <a:pt x="144018" y="221085"/>
                </a:lnTo>
                <a:lnTo>
                  <a:pt x="144018" y="213360"/>
                </a:lnTo>
                <a:lnTo>
                  <a:pt x="144780" y="213360"/>
                </a:lnTo>
                <a:close/>
              </a:path>
              <a:path w="266700" h="327025">
                <a:moveTo>
                  <a:pt x="144018" y="317754"/>
                </a:moveTo>
                <a:lnTo>
                  <a:pt x="143256" y="317658"/>
                </a:lnTo>
                <a:lnTo>
                  <a:pt x="144018" y="317754"/>
                </a:lnTo>
                <a:close/>
              </a:path>
              <a:path w="266700" h="327025">
                <a:moveTo>
                  <a:pt x="149352" y="221082"/>
                </a:moveTo>
                <a:lnTo>
                  <a:pt x="149352" y="214122"/>
                </a:lnTo>
                <a:lnTo>
                  <a:pt x="148590" y="214122"/>
                </a:lnTo>
                <a:lnTo>
                  <a:pt x="144018" y="213360"/>
                </a:lnTo>
                <a:lnTo>
                  <a:pt x="144018" y="221085"/>
                </a:lnTo>
                <a:lnTo>
                  <a:pt x="149352" y="221082"/>
                </a:lnTo>
                <a:close/>
              </a:path>
              <a:path w="266700" h="327025">
                <a:moveTo>
                  <a:pt x="148996" y="214071"/>
                </a:moveTo>
                <a:lnTo>
                  <a:pt x="148590" y="214013"/>
                </a:lnTo>
                <a:lnTo>
                  <a:pt x="148996" y="214071"/>
                </a:lnTo>
                <a:close/>
              </a:path>
              <a:path w="266700" h="327025">
                <a:moveTo>
                  <a:pt x="148971" y="318468"/>
                </a:moveTo>
                <a:lnTo>
                  <a:pt x="148590" y="318420"/>
                </a:lnTo>
                <a:lnTo>
                  <a:pt x="148971" y="318468"/>
                </a:lnTo>
                <a:close/>
              </a:path>
              <a:path w="266700" h="327025">
                <a:moveTo>
                  <a:pt x="154686" y="326455"/>
                </a:moveTo>
                <a:lnTo>
                  <a:pt x="154686" y="317754"/>
                </a:lnTo>
                <a:lnTo>
                  <a:pt x="148971" y="318468"/>
                </a:lnTo>
                <a:lnTo>
                  <a:pt x="149352" y="318516"/>
                </a:lnTo>
                <a:lnTo>
                  <a:pt x="149352" y="326455"/>
                </a:lnTo>
                <a:lnTo>
                  <a:pt x="154686" y="326455"/>
                </a:lnTo>
                <a:close/>
              </a:path>
              <a:path w="266700" h="327025">
                <a:moveTo>
                  <a:pt x="154686" y="221078"/>
                </a:moveTo>
                <a:lnTo>
                  <a:pt x="154686" y="213360"/>
                </a:lnTo>
                <a:lnTo>
                  <a:pt x="148996" y="214071"/>
                </a:lnTo>
                <a:lnTo>
                  <a:pt x="149352" y="214122"/>
                </a:lnTo>
                <a:lnTo>
                  <a:pt x="149352" y="221082"/>
                </a:lnTo>
                <a:lnTo>
                  <a:pt x="154686" y="221078"/>
                </a:lnTo>
                <a:close/>
              </a:path>
              <a:path w="266700" h="327025">
                <a:moveTo>
                  <a:pt x="159258" y="211836"/>
                </a:moveTo>
                <a:lnTo>
                  <a:pt x="153162" y="213360"/>
                </a:lnTo>
                <a:lnTo>
                  <a:pt x="154686" y="213360"/>
                </a:lnTo>
                <a:lnTo>
                  <a:pt x="154686" y="221078"/>
                </a:lnTo>
                <a:lnTo>
                  <a:pt x="158496" y="221076"/>
                </a:lnTo>
                <a:lnTo>
                  <a:pt x="158496" y="212598"/>
                </a:lnTo>
                <a:lnTo>
                  <a:pt x="159258" y="211836"/>
                </a:lnTo>
                <a:close/>
              </a:path>
              <a:path w="266700" h="327025">
                <a:moveTo>
                  <a:pt x="160020" y="326428"/>
                </a:moveTo>
                <a:lnTo>
                  <a:pt x="160020" y="316992"/>
                </a:lnTo>
                <a:lnTo>
                  <a:pt x="153924" y="317754"/>
                </a:lnTo>
                <a:lnTo>
                  <a:pt x="154686" y="317754"/>
                </a:lnTo>
                <a:lnTo>
                  <a:pt x="154686" y="326455"/>
                </a:lnTo>
                <a:lnTo>
                  <a:pt x="160020" y="326428"/>
                </a:lnTo>
                <a:close/>
              </a:path>
              <a:path w="266700" h="327025">
                <a:moveTo>
                  <a:pt x="163830" y="209550"/>
                </a:moveTo>
                <a:lnTo>
                  <a:pt x="158496" y="212598"/>
                </a:lnTo>
                <a:lnTo>
                  <a:pt x="158496" y="221076"/>
                </a:lnTo>
                <a:lnTo>
                  <a:pt x="161052" y="221074"/>
                </a:lnTo>
                <a:lnTo>
                  <a:pt x="163068" y="219629"/>
                </a:lnTo>
                <a:lnTo>
                  <a:pt x="163068" y="210312"/>
                </a:lnTo>
                <a:lnTo>
                  <a:pt x="163830" y="209550"/>
                </a:lnTo>
                <a:close/>
              </a:path>
              <a:path w="266700" h="327025">
                <a:moveTo>
                  <a:pt x="165354" y="324664"/>
                </a:moveTo>
                <a:lnTo>
                  <a:pt x="165354" y="316230"/>
                </a:lnTo>
                <a:lnTo>
                  <a:pt x="159258" y="316992"/>
                </a:lnTo>
                <a:lnTo>
                  <a:pt x="160020" y="316992"/>
                </a:lnTo>
                <a:lnTo>
                  <a:pt x="160020" y="326428"/>
                </a:lnTo>
                <a:lnTo>
                  <a:pt x="165354" y="324664"/>
                </a:lnTo>
                <a:close/>
              </a:path>
              <a:path w="266700" h="327025">
                <a:moveTo>
                  <a:pt x="168402" y="215804"/>
                </a:moveTo>
                <a:lnTo>
                  <a:pt x="168402" y="206502"/>
                </a:lnTo>
                <a:lnTo>
                  <a:pt x="163068" y="210312"/>
                </a:lnTo>
                <a:lnTo>
                  <a:pt x="163068" y="219629"/>
                </a:lnTo>
                <a:lnTo>
                  <a:pt x="168402" y="215804"/>
                </a:lnTo>
                <a:close/>
              </a:path>
              <a:path w="266700" h="327025">
                <a:moveTo>
                  <a:pt x="180594" y="319624"/>
                </a:moveTo>
                <a:lnTo>
                  <a:pt x="180594" y="309372"/>
                </a:lnTo>
                <a:lnTo>
                  <a:pt x="175260" y="312420"/>
                </a:lnTo>
                <a:lnTo>
                  <a:pt x="169926" y="314706"/>
                </a:lnTo>
                <a:lnTo>
                  <a:pt x="169926" y="313944"/>
                </a:lnTo>
                <a:lnTo>
                  <a:pt x="164592" y="316230"/>
                </a:lnTo>
                <a:lnTo>
                  <a:pt x="165354" y="316230"/>
                </a:lnTo>
                <a:lnTo>
                  <a:pt x="165354" y="324664"/>
                </a:lnTo>
                <a:lnTo>
                  <a:pt x="180594" y="319624"/>
                </a:lnTo>
                <a:close/>
              </a:path>
              <a:path w="266700" h="327025">
                <a:moveTo>
                  <a:pt x="172974" y="212525"/>
                </a:moveTo>
                <a:lnTo>
                  <a:pt x="172974" y="202692"/>
                </a:lnTo>
                <a:lnTo>
                  <a:pt x="167640" y="206502"/>
                </a:lnTo>
                <a:lnTo>
                  <a:pt x="168402" y="206502"/>
                </a:lnTo>
                <a:lnTo>
                  <a:pt x="168402" y="215804"/>
                </a:lnTo>
                <a:lnTo>
                  <a:pt x="172974" y="212525"/>
                </a:lnTo>
                <a:close/>
              </a:path>
              <a:path w="266700" h="327025">
                <a:moveTo>
                  <a:pt x="181356" y="206514"/>
                </a:moveTo>
                <a:lnTo>
                  <a:pt x="181356" y="192024"/>
                </a:lnTo>
                <a:lnTo>
                  <a:pt x="176784" y="198120"/>
                </a:lnTo>
                <a:lnTo>
                  <a:pt x="176784" y="197358"/>
                </a:lnTo>
                <a:lnTo>
                  <a:pt x="172212" y="202692"/>
                </a:lnTo>
                <a:lnTo>
                  <a:pt x="172974" y="202692"/>
                </a:lnTo>
                <a:lnTo>
                  <a:pt x="172974" y="212525"/>
                </a:lnTo>
                <a:lnTo>
                  <a:pt x="181356" y="206514"/>
                </a:lnTo>
                <a:close/>
              </a:path>
              <a:path w="266700" h="327025">
                <a:moveTo>
                  <a:pt x="195072" y="309985"/>
                </a:moveTo>
                <a:lnTo>
                  <a:pt x="195072" y="298704"/>
                </a:lnTo>
                <a:lnTo>
                  <a:pt x="189738" y="303276"/>
                </a:lnTo>
                <a:lnTo>
                  <a:pt x="189738" y="302514"/>
                </a:lnTo>
                <a:lnTo>
                  <a:pt x="185166" y="306324"/>
                </a:lnTo>
                <a:lnTo>
                  <a:pt x="179832" y="309372"/>
                </a:lnTo>
                <a:lnTo>
                  <a:pt x="180594" y="309372"/>
                </a:lnTo>
                <a:lnTo>
                  <a:pt x="180594" y="319624"/>
                </a:lnTo>
                <a:lnTo>
                  <a:pt x="181709" y="319256"/>
                </a:lnTo>
                <a:lnTo>
                  <a:pt x="195072" y="309985"/>
                </a:lnTo>
                <a:close/>
              </a:path>
              <a:path w="266700" h="327025">
                <a:moveTo>
                  <a:pt x="266700" y="124968"/>
                </a:moveTo>
                <a:lnTo>
                  <a:pt x="266700" y="109728"/>
                </a:lnTo>
                <a:lnTo>
                  <a:pt x="200406" y="109728"/>
                </a:lnTo>
                <a:lnTo>
                  <a:pt x="200406" y="124206"/>
                </a:lnTo>
                <a:lnTo>
                  <a:pt x="199644" y="134874"/>
                </a:lnTo>
                <a:lnTo>
                  <a:pt x="198120" y="144780"/>
                </a:lnTo>
                <a:lnTo>
                  <a:pt x="198120" y="144018"/>
                </a:lnTo>
                <a:lnTo>
                  <a:pt x="196596" y="153924"/>
                </a:lnTo>
                <a:lnTo>
                  <a:pt x="194310" y="163068"/>
                </a:lnTo>
                <a:lnTo>
                  <a:pt x="194310" y="162306"/>
                </a:lnTo>
                <a:lnTo>
                  <a:pt x="191262" y="171450"/>
                </a:lnTo>
                <a:lnTo>
                  <a:pt x="191262" y="170688"/>
                </a:lnTo>
                <a:lnTo>
                  <a:pt x="188214" y="179070"/>
                </a:lnTo>
                <a:lnTo>
                  <a:pt x="188214" y="178308"/>
                </a:lnTo>
                <a:lnTo>
                  <a:pt x="184404" y="185928"/>
                </a:lnTo>
                <a:lnTo>
                  <a:pt x="180594" y="192024"/>
                </a:lnTo>
                <a:lnTo>
                  <a:pt x="181356" y="192024"/>
                </a:lnTo>
                <a:lnTo>
                  <a:pt x="181356" y="206514"/>
                </a:lnTo>
                <a:lnTo>
                  <a:pt x="183407" y="205043"/>
                </a:lnTo>
                <a:lnTo>
                  <a:pt x="200697" y="173005"/>
                </a:lnTo>
                <a:lnTo>
                  <a:pt x="205740" y="145642"/>
                </a:lnTo>
                <a:lnTo>
                  <a:pt x="205740" y="118872"/>
                </a:lnTo>
                <a:lnTo>
                  <a:pt x="210312" y="114300"/>
                </a:lnTo>
                <a:lnTo>
                  <a:pt x="210312" y="118872"/>
                </a:lnTo>
                <a:lnTo>
                  <a:pt x="256794" y="118872"/>
                </a:lnTo>
                <a:lnTo>
                  <a:pt x="256794" y="114300"/>
                </a:lnTo>
                <a:lnTo>
                  <a:pt x="261366" y="118872"/>
                </a:lnTo>
                <a:lnTo>
                  <a:pt x="261366" y="175584"/>
                </a:lnTo>
                <a:lnTo>
                  <a:pt x="261422" y="175335"/>
                </a:lnTo>
                <a:lnTo>
                  <a:pt x="266700" y="124968"/>
                </a:lnTo>
                <a:close/>
              </a:path>
              <a:path w="266700" h="327025">
                <a:moveTo>
                  <a:pt x="204216" y="302868"/>
                </a:moveTo>
                <a:lnTo>
                  <a:pt x="204216" y="289560"/>
                </a:lnTo>
                <a:lnTo>
                  <a:pt x="199644" y="294894"/>
                </a:lnTo>
                <a:lnTo>
                  <a:pt x="199644" y="294132"/>
                </a:lnTo>
                <a:lnTo>
                  <a:pt x="194310" y="298704"/>
                </a:lnTo>
                <a:lnTo>
                  <a:pt x="195072" y="298704"/>
                </a:lnTo>
                <a:lnTo>
                  <a:pt x="195072" y="309985"/>
                </a:lnTo>
                <a:lnTo>
                  <a:pt x="202457" y="304862"/>
                </a:lnTo>
                <a:lnTo>
                  <a:pt x="204216" y="302868"/>
                </a:lnTo>
                <a:close/>
              </a:path>
              <a:path w="266700" h="327025">
                <a:moveTo>
                  <a:pt x="261366" y="175584"/>
                </a:moveTo>
                <a:lnTo>
                  <a:pt x="261366" y="118872"/>
                </a:lnTo>
                <a:lnTo>
                  <a:pt x="256794" y="118872"/>
                </a:lnTo>
                <a:lnTo>
                  <a:pt x="256794" y="124968"/>
                </a:lnTo>
                <a:lnTo>
                  <a:pt x="256032" y="135636"/>
                </a:lnTo>
                <a:lnTo>
                  <a:pt x="256032" y="134874"/>
                </a:lnTo>
                <a:lnTo>
                  <a:pt x="254508" y="156210"/>
                </a:lnTo>
                <a:lnTo>
                  <a:pt x="254508" y="155448"/>
                </a:lnTo>
                <a:lnTo>
                  <a:pt x="252222" y="176022"/>
                </a:lnTo>
                <a:lnTo>
                  <a:pt x="252222" y="175260"/>
                </a:lnTo>
                <a:lnTo>
                  <a:pt x="248412" y="194310"/>
                </a:lnTo>
                <a:lnTo>
                  <a:pt x="243840" y="212598"/>
                </a:lnTo>
                <a:lnTo>
                  <a:pt x="234696" y="237744"/>
                </a:lnTo>
                <a:lnTo>
                  <a:pt x="234696" y="236982"/>
                </a:lnTo>
                <a:lnTo>
                  <a:pt x="231648" y="245364"/>
                </a:lnTo>
                <a:lnTo>
                  <a:pt x="227838" y="252222"/>
                </a:lnTo>
                <a:lnTo>
                  <a:pt x="224790" y="259842"/>
                </a:lnTo>
                <a:lnTo>
                  <a:pt x="220980" y="266700"/>
                </a:lnTo>
                <a:lnTo>
                  <a:pt x="220980" y="265938"/>
                </a:lnTo>
                <a:lnTo>
                  <a:pt x="216408" y="272796"/>
                </a:lnTo>
                <a:lnTo>
                  <a:pt x="212598" y="278892"/>
                </a:lnTo>
                <a:lnTo>
                  <a:pt x="203454" y="289560"/>
                </a:lnTo>
                <a:lnTo>
                  <a:pt x="204216" y="289560"/>
                </a:lnTo>
                <a:lnTo>
                  <a:pt x="204216" y="302868"/>
                </a:lnTo>
                <a:lnTo>
                  <a:pt x="221494" y="283272"/>
                </a:lnTo>
                <a:lnTo>
                  <a:pt x="238128" y="254488"/>
                </a:lnTo>
                <a:lnTo>
                  <a:pt x="251667" y="218509"/>
                </a:lnTo>
                <a:lnTo>
                  <a:pt x="261366" y="175584"/>
                </a:lnTo>
                <a:close/>
              </a:path>
              <a:path w="266700" h="327025">
                <a:moveTo>
                  <a:pt x="210312" y="114300"/>
                </a:moveTo>
                <a:lnTo>
                  <a:pt x="205740" y="118872"/>
                </a:lnTo>
                <a:lnTo>
                  <a:pt x="209985" y="118872"/>
                </a:lnTo>
                <a:lnTo>
                  <a:pt x="210312" y="114300"/>
                </a:lnTo>
                <a:close/>
              </a:path>
              <a:path w="266700" h="327025">
                <a:moveTo>
                  <a:pt x="209985" y="118872"/>
                </a:moveTo>
                <a:lnTo>
                  <a:pt x="205740" y="118872"/>
                </a:lnTo>
                <a:lnTo>
                  <a:pt x="205740" y="145642"/>
                </a:lnTo>
                <a:lnTo>
                  <a:pt x="209550" y="124968"/>
                </a:lnTo>
                <a:lnTo>
                  <a:pt x="209985" y="118872"/>
                </a:lnTo>
                <a:close/>
              </a:path>
              <a:path w="266700" h="327025">
                <a:moveTo>
                  <a:pt x="210312" y="118872"/>
                </a:moveTo>
                <a:lnTo>
                  <a:pt x="210312" y="114300"/>
                </a:lnTo>
                <a:lnTo>
                  <a:pt x="209985" y="118872"/>
                </a:lnTo>
                <a:lnTo>
                  <a:pt x="210312" y="118872"/>
                </a:lnTo>
                <a:close/>
              </a:path>
              <a:path w="266700" h="327025">
                <a:moveTo>
                  <a:pt x="261366" y="118872"/>
                </a:moveTo>
                <a:lnTo>
                  <a:pt x="256794" y="114300"/>
                </a:lnTo>
                <a:lnTo>
                  <a:pt x="256794" y="118872"/>
                </a:lnTo>
                <a:lnTo>
                  <a:pt x="261366" y="1188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4066168" y="1547609"/>
            <a:ext cx="593485" cy="66728"/>
          </a:xfrm>
          <a:custGeom>
            <a:avLst/>
            <a:gdLst/>
            <a:ahLst/>
            <a:cxnLst/>
            <a:rect l="l" t="t" r="r" b="b"/>
            <a:pathLst>
              <a:path w="811529" h="144145">
                <a:moveTo>
                  <a:pt x="608076" y="108203"/>
                </a:moveTo>
                <a:lnTo>
                  <a:pt x="608076" y="35813"/>
                </a:lnTo>
                <a:lnTo>
                  <a:pt x="0" y="35813"/>
                </a:lnTo>
                <a:lnTo>
                  <a:pt x="0" y="108203"/>
                </a:lnTo>
                <a:lnTo>
                  <a:pt x="608076" y="108203"/>
                </a:lnTo>
                <a:close/>
              </a:path>
              <a:path w="811529" h="144145">
                <a:moveTo>
                  <a:pt x="811530" y="72389"/>
                </a:moveTo>
                <a:lnTo>
                  <a:pt x="608076" y="0"/>
                </a:lnTo>
                <a:lnTo>
                  <a:pt x="608076" y="144017"/>
                </a:lnTo>
                <a:lnTo>
                  <a:pt x="811530" y="7238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4062824" y="1544434"/>
            <a:ext cx="606952" cy="73195"/>
          </a:xfrm>
          <a:custGeom>
            <a:avLst/>
            <a:gdLst/>
            <a:ahLst/>
            <a:cxnLst/>
            <a:rect l="l" t="t" r="r" b="b"/>
            <a:pathLst>
              <a:path w="829945" h="158114">
                <a:moveTo>
                  <a:pt x="612648" y="38099"/>
                </a:moveTo>
                <a:lnTo>
                  <a:pt x="0" y="38100"/>
                </a:lnTo>
                <a:lnTo>
                  <a:pt x="0" y="119634"/>
                </a:lnTo>
                <a:lnTo>
                  <a:pt x="4571" y="119634"/>
                </a:lnTo>
                <a:lnTo>
                  <a:pt x="4572" y="47244"/>
                </a:lnTo>
                <a:lnTo>
                  <a:pt x="9143" y="42672"/>
                </a:lnTo>
                <a:lnTo>
                  <a:pt x="9143" y="47244"/>
                </a:lnTo>
                <a:lnTo>
                  <a:pt x="608076" y="47243"/>
                </a:lnTo>
                <a:lnTo>
                  <a:pt x="608076" y="42671"/>
                </a:lnTo>
                <a:lnTo>
                  <a:pt x="612648" y="38099"/>
                </a:lnTo>
                <a:close/>
              </a:path>
              <a:path w="829945" h="158114">
                <a:moveTo>
                  <a:pt x="9143" y="47244"/>
                </a:moveTo>
                <a:lnTo>
                  <a:pt x="9143" y="42672"/>
                </a:lnTo>
                <a:lnTo>
                  <a:pt x="4572" y="47244"/>
                </a:lnTo>
                <a:lnTo>
                  <a:pt x="9143" y="47244"/>
                </a:lnTo>
                <a:close/>
              </a:path>
              <a:path w="829945" h="158114">
                <a:moveTo>
                  <a:pt x="9143" y="110489"/>
                </a:moveTo>
                <a:lnTo>
                  <a:pt x="9143" y="47244"/>
                </a:lnTo>
                <a:lnTo>
                  <a:pt x="4572" y="47244"/>
                </a:lnTo>
                <a:lnTo>
                  <a:pt x="4572" y="110489"/>
                </a:lnTo>
                <a:lnTo>
                  <a:pt x="9143" y="110489"/>
                </a:lnTo>
                <a:close/>
              </a:path>
              <a:path w="829945" h="158114">
                <a:moveTo>
                  <a:pt x="617982" y="143880"/>
                </a:moveTo>
                <a:lnTo>
                  <a:pt x="617982" y="110489"/>
                </a:lnTo>
                <a:lnTo>
                  <a:pt x="4572" y="110489"/>
                </a:lnTo>
                <a:lnTo>
                  <a:pt x="9143" y="115061"/>
                </a:lnTo>
                <a:lnTo>
                  <a:pt x="9144" y="119634"/>
                </a:lnTo>
                <a:lnTo>
                  <a:pt x="608076" y="119633"/>
                </a:lnTo>
                <a:lnTo>
                  <a:pt x="608076" y="115061"/>
                </a:lnTo>
                <a:lnTo>
                  <a:pt x="612648" y="119633"/>
                </a:lnTo>
                <a:lnTo>
                  <a:pt x="612648" y="145765"/>
                </a:lnTo>
                <a:lnTo>
                  <a:pt x="617982" y="143880"/>
                </a:lnTo>
                <a:close/>
              </a:path>
              <a:path w="829945" h="158114">
                <a:moveTo>
                  <a:pt x="9144" y="119634"/>
                </a:moveTo>
                <a:lnTo>
                  <a:pt x="9143" y="115061"/>
                </a:lnTo>
                <a:lnTo>
                  <a:pt x="4572" y="110489"/>
                </a:lnTo>
                <a:lnTo>
                  <a:pt x="4571" y="119634"/>
                </a:lnTo>
                <a:lnTo>
                  <a:pt x="9144" y="119634"/>
                </a:lnTo>
                <a:close/>
              </a:path>
              <a:path w="829945" h="158114">
                <a:moveTo>
                  <a:pt x="829818" y="79247"/>
                </a:moveTo>
                <a:lnTo>
                  <a:pt x="608076" y="0"/>
                </a:lnTo>
                <a:lnTo>
                  <a:pt x="608076" y="38099"/>
                </a:lnTo>
                <a:lnTo>
                  <a:pt x="611124" y="38099"/>
                </a:lnTo>
                <a:lnTo>
                  <a:pt x="611124" y="11429"/>
                </a:lnTo>
                <a:lnTo>
                  <a:pt x="617982" y="6857"/>
                </a:lnTo>
                <a:lnTo>
                  <a:pt x="617982" y="13853"/>
                </a:lnTo>
                <a:lnTo>
                  <a:pt x="801956" y="78866"/>
                </a:lnTo>
                <a:lnTo>
                  <a:pt x="813816" y="74675"/>
                </a:lnTo>
                <a:lnTo>
                  <a:pt x="813816" y="84911"/>
                </a:lnTo>
                <a:lnTo>
                  <a:pt x="829818" y="79247"/>
                </a:lnTo>
                <a:close/>
              </a:path>
              <a:path w="829945" h="158114">
                <a:moveTo>
                  <a:pt x="612648" y="47243"/>
                </a:moveTo>
                <a:lnTo>
                  <a:pt x="612648" y="38099"/>
                </a:lnTo>
                <a:lnTo>
                  <a:pt x="608076" y="42671"/>
                </a:lnTo>
                <a:lnTo>
                  <a:pt x="608076" y="47243"/>
                </a:lnTo>
                <a:lnTo>
                  <a:pt x="612648" y="47243"/>
                </a:lnTo>
                <a:close/>
              </a:path>
              <a:path w="829945" h="158114">
                <a:moveTo>
                  <a:pt x="612648" y="119633"/>
                </a:moveTo>
                <a:lnTo>
                  <a:pt x="608076" y="115061"/>
                </a:lnTo>
                <a:lnTo>
                  <a:pt x="608076" y="119633"/>
                </a:lnTo>
                <a:lnTo>
                  <a:pt x="612648" y="119633"/>
                </a:lnTo>
                <a:close/>
              </a:path>
              <a:path w="829945" h="158114">
                <a:moveTo>
                  <a:pt x="612648" y="145765"/>
                </a:moveTo>
                <a:lnTo>
                  <a:pt x="612648" y="119633"/>
                </a:lnTo>
                <a:lnTo>
                  <a:pt x="608076" y="119633"/>
                </a:lnTo>
                <a:lnTo>
                  <a:pt x="608076" y="157733"/>
                </a:lnTo>
                <a:lnTo>
                  <a:pt x="611124" y="156655"/>
                </a:lnTo>
                <a:lnTo>
                  <a:pt x="611124" y="146303"/>
                </a:lnTo>
                <a:lnTo>
                  <a:pt x="612648" y="145765"/>
                </a:lnTo>
                <a:close/>
              </a:path>
              <a:path w="829945" h="158114">
                <a:moveTo>
                  <a:pt x="617982" y="13853"/>
                </a:moveTo>
                <a:lnTo>
                  <a:pt x="617982" y="6857"/>
                </a:lnTo>
                <a:lnTo>
                  <a:pt x="611124" y="11429"/>
                </a:lnTo>
                <a:lnTo>
                  <a:pt x="617982" y="13853"/>
                </a:lnTo>
                <a:close/>
              </a:path>
              <a:path w="829945" h="158114">
                <a:moveTo>
                  <a:pt x="617982" y="47243"/>
                </a:moveTo>
                <a:lnTo>
                  <a:pt x="617982" y="13853"/>
                </a:lnTo>
                <a:lnTo>
                  <a:pt x="611124" y="11429"/>
                </a:lnTo>
                <a:lnTo>
                  <a:pt x="611124" y="38099"/>
                </a:lnTo>
                <a:lnTo>
                  <a:pt x="612648" y="38099"/>
                </a:lnTo>
                <a:lnTo>
                  <a:pt x="612648" y="47243"/>
                </a:lnTo>
                <a:lnTo>
                  <a:pt x="617982" y="47243"/>
                </a:lnTo>
                <a:close/>
              </a:path>
              <a:path w="829945" h="158114">
                <a:moveTo>
                  <a:pt x="813816" y="84911"/>
                </a:moveTo>
                <a:lnTo>
                  <a:pt x="813816" y="83057"/>
                </a:lnTo>
                <a:lnTo>
                  <a:pt x="801956" y="78866"/>
                </a:lnTo>
                <a:lnTo>
                  <a:pt x="611124" y="146303"/>
                </a:lnTo>
                <a:lnTo>
                  <a:pt x="617982" y="150875"/>
                </a:lnTo>
                <a:lnTo>
                  <a:pt x="617982" y="154227"/>
                </a:lnTo>
                <a:lnTo>
                  <a:pt x="813816" y="84911"/>
                </a:lnTo>
                <a:close/>
              </a:path>
              <a:path w="829945" h="158114">
                <a:moveTo>
                  <a:pt x="617982" y="154227"/>
                </a:moveTo>
                <a:lnTo>
                  <a:pt x="617982" y="150875"/>
                </a:lnTo>
                <a:lnTo>
                  <a:pt x="611124" y="146303"/>
                </a:lnTo>
                <a:lnTo>
                  <a:pt x="611124" y="156655"/>
                </a:lnTo>
                <a:lnTo>
                  <a:pt x="617982" y="154227"/>
                </a:lnTo>
                <a:close/>
              </a:path>
              <a:path w="829945" h="158114">
                <a:moveTo>
                  <a:pt x="813816" y="83057"/>
                </a:moveTo>
                <a:lnTo>
                  <a:pt x="813816" y="74675"/>
                </a:lnTo>
                <a:lnTo>
                  <a:pt x="801956" y="78866"/>
                </a:lnTo>
                <a:lnTo>
                  <a:pt x="813816" y="830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5" name="object 155"/>
          <p:cNvSpPr txBox="1"/>
          <p:nvPr/>
        </p:nvSpPr>
        <p:spPr>
          <a:xfrm>
            <a:off x="6771782" y="1026220"/>
            <a:ext cx="2194258" cy="1115853"/>
          </a:xfrm>
          <a:prstGeom prst="rect">
            <a:avLst/>
          </a:prstGeom>
        </p:spPr>
        <p:txBody>
          <a:bodyPr vert="horz" wrap="square" lIns="0" tIns="7781" rIns="0" bIns="0" rtlCol="0">
            <a:spAutoFit/>
          </a:bodyPr>
          <a:lstStyle/>
          <a:p>
            <a:pPr marL="179388" marR="3113">
              <a:spcBef>
                <a:spcPts val="1149"/>
              </a:spcBef>
            </a:pPr>
            <a:r>
              <a:rPr lang="ru-RU" sz="1200" spc="-3" dirty="0">
                <a:latin typeface="Arial Narrow" panose="020B0606020202030204" pitchFamily="34" charset="0"/>
                <a:cs typeface="Arial"/>
              </a:rPr>
              <a:t>Материал во впускном литнике замерзает. Шнек начинает вращаться и пластифицирует </a:t>
            </a:r>
            <a:r>
              <a:rPr lang="ru-RU" sz="1200" spc="-3" dirty="0" smtClean="0">
                <a:latin typeface="Arial Narrow" panose="020B0606020202030204" pitchFamily="34" charset="0"/>
                <a:cs typeface="Arial"/>
              </a:rPr>
              <a:t>новый объем </a:t>
            </a:r>
            <a:r>
              <a:rPr lang="ru-RU" sz="1200" spc="-3" dirty="0">
                <a:latin typeface="Arial Narrow" panose="020B0606020202030204" pitchFamily="34" charset="0"/>
                <a:cs typeface="Arial"/>
              </a:rPr>
              <a:t>материала для подготовки следующей дозы расплава</a:t>
            </a:r>
            <a:endParaRPr sz="1200" dirty="0"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156" name="object 3"/>
          <p:cNvSpPr/>
          <p:nvPr/>
        </p:nvSpPr>
        <p:spPr>
          <a:xfrm>
            <a:off x="5075098" y="3936965"/>
            <a:ext cx="0" cy="252804"/>
          </a:xfrm>
          <a:custGeom>
            <a:avLst/>
            <a:gdLst/>
            <a:ahLst/>
            <a:cxnLst/>
            <a:rect l="l" t="t" r="r" b="b"/>
            <a:pathLst>
              <a:path h="546100">
                <a:moveTo>
                  <a:pt x="0" y="0"/>
                </a:moveTo>
                <a:lnTo>
                  <a:pt x="0" y="545591"/>
                </a:lnTo>
              </a:path>
            </a:pathLst>
          </a:custGeom>
          <a:ln w="44196">
            <a:solidFill>
              <a:srgbClr val="33CCCC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7" name="object 4"/>
          <p:cNvSpPr/>
          <p:nvPr/>
        </p:nvSpPr>
        <p:spPr>
          <a:xfrm>
            <a:off x="5055595" y="3934496"/>
            <a:ext cx="39008" cy="257213"/>
          </a:xfrm>
          <a:custGeom>
            <a:avLst/>
            <a:gdLst/>
            <a:ahLst/>
            <a:cxnLst/>
            <a:rect l="l" t="t" r="r" b="b"/>
            <a:pathLst>
              <a:path w="53339" h="555625">
                <a:moveTo>
                  <a:pt x="53339" y="555498"/>
                </a:moveTo>
                <a:lnTo>
                  <a:pt x="53339" y="0"/>
                </a:lnTo>
                <a:lnTo>
                  <a:pt x="0" y="0"/>
                </a:lnTo>
                <a:lnTo>
                  <a:pt x="0" y="555498"/>
                </a:lnTo>
                <a:lnTo>
                  <a:pt x="4572" y="555498"/>
                </a:lnTo>
                <a:lnTo>
                  <a:pt x="4572" y="9905"/>
                </a:lnTo>
                <a:lnTo>
                  <a:pt x="9144" y="5334"/>
                </a:lnTo>
                <a:lnTo>
                  <a:pt x="9144" y="9905"/>
                </a:lnTo>
                <a:lnTo>
                  <a:pt x="44196" y="9905"/>
                </a:lnTo>
                <a:lnTo>
                  <a:pt x="44196" y="5334"/>
                </a:lnTo>
                <a:lnTo>
                  <a:pt x="48768" y="9905"/>
                </a:lnTo>
                <a:lnTo>
                  <a:pt x="48768" y="555498"/>
                </a:lnTo>
                <a:lnTo>
                  <a:pt x="53339" y="555498"/>
                </a:lnTo>
                <a:close/>
              </a:path>
              <a:path w="53339" h="555625">
                <a:moveTo>
                  <a:pt x="9144" y="9905"/>
                </a:moveTo>
                <a:lnTo>
                  <a:pt x="9144" y="5334"/>
                </a:lnTo>
                <a:lnTo>
                  <a:pt x="4572" y="9905"/>
                </a:lnTo>
                <a:lnTo>
                  <a:pt x="9144" y="9905"/>
                </a:lnTo>
                <a:close/>
              </a:path>
              <a:path w="53339" h="555625">
                <a:moveTo>
                  <a:pt x="9144" y="546353"/>
                </a:moveTo>
                <a:lnTo>
                  <a:pt x="9144" y="9905"/>
                </a:lnTo>
                <a:lnTo>
                  <a:pt x="4572" y="9905"/>
                </a:lnTo>
                <a:lnTo>
                  <a:pt x="4572" y="546353"/>
                </a:lnTo>
                <a:lnTo>
                  <a:pt x="9144" y="546353"/>
                </a:lnTo>
                <a:close/>
              </a:path>
              <a:path w="53339" h="555625">
                <a:moveTo>
                  <a:pt x="48768" y="546353"/>
                </a:moveTo>
                <a:lnTo>
                  <a:pt x="4572" y="546353"/>
                </a:lnTo>
                <a:lnTo>
                  <a:pt x="9144" y="550926"/>
                </a:lnTo>
                <a:lnTo>
                  <a:pt x="9144" y="555498"/>
                </a:lnTo>
                <a:lnTo>
                  <a:pt x="44196" y="555498"/>
                </a:lnTo>
                <a:lnTo>
                  <a:pt x="44196" y="550926"/>
                </a:lnTo>
                <a:lnTo>
                  <a:pt x="48768" y="546353"/>
                </a:lnTo>
                <a:close/>
              </a:path>
              <a:path w="53339" h="555625">
                <a:moveTo>
                  <a:pt x="9144" y="555498"/>
                </a:moveTo>
                <a:lnTo>
                  <a:pt x="9144" y="550926"/>
                </a:lnTo>
                <a:lnTo>
                  <a:pt x="4572" y="546353"/>
                </a:lnTo>
                <a:lnTo>
                  <a:pt x="4572" y="555498"/>
                </a:lnTo>
                <a:lnTo>
                  <a:pt x="9144" y="555498"/>
                </a:lnTo>
                <a:close/>
              </a:path>
              <a:path w="53339" h="555625">
                <a:moveTo>
                  <a:pt x="48768" y="9905"/>
                </a:moveTo>
                <a:lnTo>
                  <a:pt x="44196" y="5334"/>
                </a:lnTo>
                <a:lnTo>
                  <a:pt x="44196" y="9905"/>
                </a:lnTo>
                <a:lnTo>
                  <a:pt x="48768" y="9905"/>
                </a:lnTo>
                <a:close/>
              </a:path>
              <a:path w="53339" h="555625">
                <a:moveTo>
                  <a:pt x="48768" y="546353"/>
                </a:moveTo>
                <a:lnTo>
                  <a:pt x="48768" y="9905"/>
                </a:lnTo>
                <a:lnTo>
                  <a:pt x="44196" y="9905"/>
                </a:lnTo>
                <a:lnTo>
                  <a:pt x="44196" y="546353"/>
                </a:lnTo>
                <a:lnTo>
                  <a:pt x="48768" y="546353"/>
                </a:lnTo>
                <a:close/>
              </a:path>
              <a:path w="53339" h="555625">
                <a:moveTo>
                  <a:pt x="48768" y="555498"/>
                </a:moveTo>
                <a:lnTo>
                  <a:pt x="48768" y="546353"/>
                </a:lnTo>
                <a:lnTo>
                  <a:pt x="44196" y="550926"/>
                </a:lnTo>
                <a:lnTo>
                  <a:pt x="44196" y="555498"/>
                </a:lnTo>
                <a:lnTo>
                  <a:pt x="48768" y="555498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8" name="object 5"/>
          <p:cNvSpPr/>
          <p:nvPr/>
        </p:nvSpPr>
        <p:spPr>
          <a:xfrm>
            <a:off x="4983428" y="3936965"/>
            <a:ext cx="0" cy="252804"/>
          </a:xfrm>
          <a:custGeom>
            <a:avLst/>
            <a:gdLst/>
            <a:ahLst/>
            <a:cxnLst/>
            <a:rect l="l" t="t" r="r" b="b"/>
            <a:pathLst>
              <a:path h="546100">
                <a:moveTo>
                  <a:pt x="0" y="0"/>
                </a:moveTo>
                <a:lnTo>
                  <a:pt x="0" y="545591"/>
                </a:lnTo>
              </a:path>
            </a:pathLst>
          </a:custGeom>
          <a:ln w="44958">
            <a:solidFill>
              <a:srgbClr val="99CC0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59" name="object 6"/>
          <p:cNvSpPr/>
          <p:nvPr/>
        </p:nvSpPr>
        <p:spPr>
          <a:xfrm>
            <a:off x="4963646" y="3934496"/>
            <a:ext cx="39937" cy="257213"/>
          </a:xfrm>
          <a:custGeom>
            <a:avLst/>
            <a:gdLst/>
            <a:ahLst/>
            <a:cxnLst/>
            <a:rect l="l" t="t" r="r" b="b"/>
            <a:pathLst>
              <a:path w="54610" h="555625">
                <a:moveTo>
                  <a:pt x="54101" y="555498"/>
                </a:moveTo>
                <a:lnTo>
                  <a:pt x="54101" y="0"/>
                </a:lnTo>
                <a:lnTo>
                  <a:pt x="0" y="0"/>
                </a:lnTo>
                <a:lnTo>
                  <a:pt x="0" y="555498"/>
                </a:lnTo>
                <a:lnTo>
                  <a:pt x="4572" y="555498"/>
                </a:lnTo>
                <a:lnTo>
                  <a:pt x="4572" y="9905"/>
                </a:lnTo>
                <a:lnTo>
                  <a:pt x="9905" y="5334"/>
                </a:lnTo>
                <a:lnTo>
                  <a:pt x="9905" y="9905"/>
                </a:lnTo>
                <a:lnTo>
                  <a:pt x="44196" y="9905"/>
                </a:lnTo>
                <a:lnTo>
                  <a:pt x="44196" y="5334"/>
                </a:lnTo>
                <a:lnTo>
                  <a:pt x="49529" y="9905"/>
                </a:lnTo>
                <a:lnTo>
                  <a:pt x="49529" y="555498"/>
                </a:lnTo>
                <a:lnTo>
                  <a:pt x="54101" y="555498"/>
                </a:lnTo>
                <a:close/>
              </a:path>
              <a:path w="54610" h="555625">
                <a:moveTo>
                  <a:pt x="9905" y="9905"/>
                </a:moveTo>
                <a:lnTo>
                  <a:pt x="9905" y="5334"/>
                </a:lnTo>
                <a:lnTo>
                  <a:pt x="4572" y="9905"/>
                </a:lnTo>
                <a:lnTo>
                  <a:pt x="9905" y="9905"/>
                </a:lnTo>
                <a:close/>
              </a:path>
              <a:path w="54610" h="555625">
                <a:moveTo>
                  <a:pt x="9905" y="546353"/>
                </a:moveTo>
                <a:lnTo>
                  <a:pt x="9905" y="9905"/>
                </a:lnTo>
                <a:lnTo>
                  <a:pt x="4572" y="9905"/>
                </a:lnTo>
                <a:lnTo>
                  <a:pt x="4572" y="546353"/>
                </a:lnTo>
                <a:lnTo>
                  <a:pt x="9905" y="546353"/>
                </a:lnTo>
                <a:close/>
              </a:path>
              <a:path w="54610" h="555625">
                <a:moveTo>
                  <a:pt x="49529" y="546353"/>
                </a:moveTo>
                <a:lnTo>
                  <a:pt x="4572" y="546353"/>
                </a:lnTo>
                <a:lnTo>
                  <a:pt x="9905" y="550926"/>
                </a:lnTo>
                <a:lnTo>
                  <a:pt x="9905" y="555498"/>
                </a:lnTo>
                <a:lnTo>
                  <a:pt x="44196" y="555498"/>
                </a:lnTo>
                <a:lnTo>
                  <a:pt x="44196" y="550926"/>
                </a:lnTo>
                <a:lnTo>
                  <a:pt x="49529" y="546353"/>
                </a:lnTo>
                <a:close/>
              </a:path>
              <a:path w="54610" h="555625">
                <a:moveTo>
                  <a:pt x="9905" y="555498"/>
                </a:moveTo>
                <a:lnTo>
                  <a:pt x="9905" y="550926"/>
                </a:lnTo>
                <a:lnTo>
                  <a:pt x="4572" y="546353"/>
                </a:lnTo>
                <a:lnTo>
                  <a:pt x="4572" y="555498"/>
                </a:lnTo>
                <a:lnTo>
                  <a:pt x="9905" y="555498"/>
                </a:lnTo>
                <a:close/>
              </a:path>
              <a:path w="54610" h="555625">
                <a:moveTo>
                  <a:pt x="49529" y="9905"/>
                </a:moveTo>
                <a:lnTo>
                  <a:pt x="44196" y="5334"/>
                </a:lnTo>
                <a:lnTo>
                  <a:pt x="44196" y="9905"/>
                </a:lnTo>
                <a:lnTo>
                  <a:pt x="49529" y="9905"/>
                </a:lnTo>
                <a:close/>
              </a:path>
              <a:path w="54610" h="555625">
                <a:moveTo>
                  <a:pt x="49529" y="546353"/>
                </a:moveTo>
                <a:lnTo>
                  <a:pt x="49529" y="9905"/>
                </a:lnTo>
                <a:lnTo>
                  <a:pt x="44196" y="9905"/>
                </a:lnTo>
                <a:lnTo>
                  <a:pt x="44196" y="546353"/>
                </a:lnTo>
                <a:lnTo>
                  <a:pt x="49529" y="546353"/>
                </a:lnTo>
                <a:close/>
              </a:path>
              <a:path w="54610" h="555625">
                <a:moveTo>
                  <a:pt x="49529" y="555498"/>
                </a:moveTo>
                <a:lnTo>
                  <a:pt x="49529" y="546353"/>
                </a:lnTo>
                <a:lnTo>
                  <a:pt x="44196" y="550926"/>
                </a:lnTo>
                <a:lnTo>
                  <a:pt x="44196" y="555498"/>
                </a:lnTo>
                <a:lnTo>
                  <a:pt x="49529" y="555498"/>
                </a:lnTo>
                <a:close/>
              </a:path>
            </a:pathLst>
          </a:custGeom>
          <a:solidFill>
            <a:srgbClr val="99CC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0" name="object 7"/>
          <p:cNvSpPr/>
          <p:nvPr/>
        </p:nvSpPr>
        <p:spPr>
          <a:xfrm>
            <a:off x="3577733" y="3865356"/>
            <a:ext cx="1185577" cy="588210"/>
          </a:xfrm>
          <a:custGeom>
            <a:avLst/>
            <a:gdLst/>
            <a:ahLst/>
            <a:cxnLst/>
            <a:rect l="l" t="t" r="r" b="b"/>
            <a:pathLst>
              <a:path w="1621154" h="1270635">
                <a:moveTo>
                  <a:pt x="1620774" y="1267205"/>
                </a:moveTo>
                <a:lnTo>
                  <a:pt x="1613916" y="1227581"/>
                </a:lnTo>
                <a:lnTo>
                  <a:pt x="48768" y="1226058"/>
                </a:lnTo>
                <a:lnTo>
                  <a:pt x="48768" y="5333"/>
                </a:lnTo>
                <a:lnTo>
                  <a:pt x="0" y="0"/>
                </a:lnTo>
                <a:lnTo>
                  <a:pt x="4572" y="1270254"/>
                </a:lnTo>
                <a:lnTo>
                  <a:pt x="1620774" y="1267205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1" name="object 8"/>
          <p:cNvSpPr/>
          <p:nvPr/>
        </p:nvSpPr>
        <p:spPr>
          <a:xfrm>
            <a:off x="3573831" y="3863240"/>
            <a:ext cx="1192543" cy="592325"/>
          </a:xfrm>
          <a:custGeom>
            <a:avLst/>
            <a:gdLst/>
            <a:ahLst/>
            <a:cxnLst/>
            <a:rect l="l" t="t" r="r" b="b"/>
            <a:pathLst>
              <a:path w="1630679" h="1279525">
                <a:moveTo>
                  <a:pt x="58674" y="1226062"/>
                </a:moveTo>
                <a:lnTo>
                  <a:pt x="58674" y="6857"/>
                </a:lnTo>
                <a:lnTo>
                  <a:pt x="57150" y="5333"/>
                </a:lnTo>
                <a:lnTo>
                  <a:pt x="54864" y="4571"/>
                </a:lnTo>
                <a:lnTo>
                  <a:pt x="5334" y="0"/>
                </a:lnTo>
                <a:lnTo>
                  <a:pt x="3810" y="0"/>
                </a:lnTo>
                <a:lnTo>
                  <a:pt x="3048" y="761"/>
                </a:lnTo>
                <a:lnTo>
                  <a:pt x="1524" y="1523"/>
                </a:lnTo>
                <a:lnTo>
                  <a:pt x="762" y="2285"/>
                </a:lnTo>
                <a:lnTo>
                  <a:pt x="0" y="3809"/>
                </a:lnTo>
                <a:lnTo>
                  <a:pt x="0" y="4571"/>
                </a:lnTo>
                <a:lnTo>
                  <a:pt x="4572" y="9905"/>
                </a:lnTo>
                <a:lnTo>
                  <a:pt x="9906" y="4571"/>
                </a:lnTo>
                <a:lnTo>
                  <a:pt x="9926" y="10400"/>
                </a:lnTo>
                <a:lnTo>
                  <a:pt x="49530" y="14055"/>
                </a:lnTo>
                <a:lnTo>
                  <a:pt x="49530" y="9905"/>
                </a:lnTo>
                <a:lnTo>
                  <a:pt x="54102" y="14477"/>
                </a:lnTo>
                <a:lnTo>
                  <a:pt x="54102" y="1226057"/>
                </a:lnTo>
                <a:lnTo>
                  <a:pt x="58674" y="1226062"/>
                </a:lnTo>
                <a:close/>
              </a:path>
              <a:path w="1630679" h="1279525">
                <a:moveTo>
                  <a:pt x="9926" y="10400"/>
                </a:moveTo>
                <a:lnTo>
                  <a:pt x="9906" y="4571"/>
                </a:lnTo>
                <a:lnTo>
                  <a:pt x="4572" y="9905"/>
                </a:lnTo>
                <a:lnTo>
                  <a:pt x="9926" y="10400"/>
                </a:lnTo>
                <a:close/>
              </a:path>
              <a:path w="1630679" h="1279525">
                <a:moveTo>
                  <a:pt x="14461" y="1270245"/>
                </a:moveTo>
                <a:lnTo>
                  <a:pt x="9926" y="10400"/>
                </a:lnTo>
                <a:lnTo>
                  <a:pt x="4572" y="9905"/>
                </a:lnTo>
                <a:lnTo>
                  <a:pt x="4572" y="1093361"/>
                </a:lnTo>
                <a:lnTo>
                  <a:pt x="5334" y="1277873"/>
                </a:lnTo>
                <a:lnTo>
                  <a:pt x="6858" y="1279397"/>
                </a:lnTo>
                <a:lnTo>
                  <a:pt x="9906" y="1279397"/>
                </a:lnTo>
                <a:lnTo>
                  <a:pt x="9906" y="1270253"/>
                </a:lnTo>
                <a:lnTo>
                  <a:pt x="14461" y="1270245"/>
                </a:lnTo>
                <a:close/>
              </a:path>
              <a:path w="1630679" h="1279525">
                <a:moveTo>
                  <a:pt x="14478" y="1274825"/>
                </a:moveTo>
                <a:lnTo>
                  <a:pt x="14461" y="1270245"/>
                </a:lnTo>
                <a:lnTo>
                  <a:pt x="9906" y="1270253"/>
                </a:lnTo>
                <a:lnTo>
                  <a:pt x="14478" y="1274825"/>
                </a:lnTo>
                <a:close/>
              </a:path>
              <a:path w="1630679" h="1279525">
                <a:moveTo>
                  <a:pt x="14478" y="1279389"/>
                </a:moveTo>
                <a:lnTo>
                  <a:pt x="14478" y="1274825"/>
                </a:lnTo>
                <a:lnTo>
                  <a:pt x="9906" y="1270253"/>
                </a:lnTo>
                <a:lnTo>
                  <a:pt x="9906" y="1279397"/>
                </a:lnTo>
                <a:lnTo>
                  <a:pt x="14478" y="1279389"/>
                </a:lnTo>
                <a:close/>
              </a:path>
              <a:path w="1630679" h="1279525">
                <a:moveTo>
                  <a:pt x="1626108" y="1276351"/>
                </a:moveTo>
                <a:lnTo>
                  <a:pt x="1626108" y="1267205"/>
                </a:lnTo>
                <a:lnTo>
                  <a:pt x="1620774" y="1272539"/>
                </a:lnTo>
                <a:lnTo>
                  <a:pt x="1619955" y="1267217"/>
                </a:lnTo>
                <a:lnTo>
                  <a:pt x="14461" y="1270245"/>
                </a:lnTo>
                <a:lnTo>
                  <a:pt x="14478" y="1279389"/>
                </a:lnTo>
                <a:lnTo>
                  <a:pt x="1626108" y="1276351"/>
                </a:lnTo>
                <a:close/>
              </a:path>
              <a:path w="1630679" h="1279525">
                <a:moveTo>
                  <a:pt x="54102" y="14477"/>
                </a:moveTo>
                <a:lnTo>
                  <a:pt x="49530" y="9905"/>
                </a:lnTo>
                <a:lnTo>
                  <a:pt x="49530" y="14055"/>
                </a:lnTo>
                <a:lnTo>
                  <a:pt x="54102" y="14477"/>
                </a:lnTo>
                <a:close/>
              </a:path>
              <a:path w="1630679" h="1279525">
                <a:moveTo>
                  <a:pt x="58674" y="1235206"/>
                </a:moveTo>
                <a:lnTo>
                  <a:pt x="58674" y="1230629"/>
                </a:lnTo>
                <a:lnTo>
                  <a:pt x="54102" y="1226057"/>
                </a:lnTo>
                <a:lnTo>
                  <a:pt x="54102" y="14477"/>
                </a:lnTo>
                <a:lnTo>
                  <a:pt x="49530" y="14055"/>
                </a:lnTo>
                <a:lnTo>
                  <a:pt x="49530" y="1232915"/>
                </a:lnTo>
                <a:lnTo>
                  <a:pt x="51816" y="1235201"/>
                </a:lnTo>
                <a:lnTo>
                  <a:pt x="58674" y="1235206"/>
                </a:lnTo>
                <a:close/>
              </a:path>
              <a:path w="1630679" h="1279525">
                <a:moveTo>
                  <a:pt x="1630680" y="1274063"/>
                </a:moveTo>
                <a:lnTo>
                  <a:pt x="1630680" y="1271015"/>
                </a:lnTo>
                <a:lnTo>
                  <a:pt x="1623822" y="1231391"/>
                </a:lnTo>
                <a:lnTo>
                  <a:pt x="1623822" y="1229105"/>
                </a:lnTo>
                <a:lnTo>
                  <a:pt x="1621536" y="1227581"/>
                </a:lnTo>
                <a:lnTo>
                  <a:pt x="54102" y="1226057"/>
                </a:lnTo>
                <a:lnTo>
                  <a:pt x="58674" y="1230629"/>
                </a:lnTo>
                <a:lnTo>
                  <a:pt x="58674" y="1235206"/>
                </a:lnTo>
                <a:lnTo>
                  <a:pt x="1614678" y="1236721"/>
                </a:lnTo>
                <a:lnTo>
                  <a:pt x="1614678" y="1232915"/>
                </a:lnTo>
                <a:lnTo>
                  <a:pt x="1619250" y="1236725"/>
                </a:lnTo>
                <a:lnTo>
                  <a:pt x="1619250" y="1262633"/>
                </a:lnTo>
                <a:lnTo>
                  <a:pt x="1619955" y="1267217"/>
                </a:lnTo>
                <a:lnTo>
                  <a:pt x="1626108" y="1267205"/>
                </a:lnTo>
                <a:lnTo>
                  <a:pt x="1626108" y="1276351"/>
                </a:lnTo>
                <a:lnTo>
                  <a:pt x="1626870" y="1276349"/>
                </a:lnTo>
                <a:lnTo>
                  <a:pt x="1628394" y="1275587"/>
                </a:lnTo>
                <a:lnTo>
                  <a:pt x="1629156" y="1274825"/>
                </a:lnTo>
                <a:lnTo>
                  <a:pt x="1630680" y="1274063"/>
                </a:lnTo>
                <a:close/>
              </a:path>
              <a:path w="1630679" h="1279525">
                <a:moveTo>
                  <a:pt x="1619250" y="1236725"/>
                </a:moveTo>
                <a:lnTo>
                  <a:pt x="1614678" y="1232915"/>
                </a:lnTo>
                <a:lnTo>
                  <a:pt x="1615263" y="1236722"/>
                </a:lnTo>
                <a:lnTo>
                  <a:pt x="1619250" y="1236725"/>
                </a:lnTo>
                <a:close/>
              </a:path>
              <a:path w="1630679" h="1279525">
                <a:moveTo>
                  <a:pt x="1615263" y="1236722"/>
                </a:moveTo>
                <a:lnTo>
                  <a:pt x="1614678" y="1232915"/>
                </a:lnTo>
                <a:lnTo>
                  <a:pt x="1614678" y="1236721"/>
                </a:lnTo>
                <a:lnTo>
                  <a:pt x="1615263" y="1236722"/>
                </a:lnTo>
                <a:close/>
              </a:path>
              <a:path w="1630679" h="1279525">
                <a:moveTo>
                  <a:pt x="1619250" y="1262633"/>
                </a:moveTo>
                <a:lnTo>
                  <a:pt x="1619250" y="1236725"/>
                </a:lnTo>
                <a:lnTo>
                  <a:pt x="1615263" y="1236722"/>
                </a:lnTo>
                <a:lnTo>
                  <a:pt x="1619250" y="1262633"/>
                </a:lnTo>
                <a:close/>
              </a:path>
              <a:path w="1630679" h="1279525">
                <a:moveTo>
                  <a:pt x="1626108" y="1267205"/>
                </a:moveTo>
                <a:lnTo>
                  <a:pt x="1619955" y="1267217"/>
                </a:lnTo>
                <a:lnTo>
                  <a:pt x="1620774" y="1272539"/>
                </a:lnTo>
                <a:lnTo>
                  <a:pt x="1626108" y="1267205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2" name="object 9"/>
          <p:cNvSpPr/>
          <p:nvPr/>
        </p:nvSpPr>
        <p:spPr>
          <a:xfrm>
            <a:off x="3512533" y="3865357"/>
            <a:ext cx="1250591" cy="638183"/>
          </a:xfrm>
          <a:custGeom>
            <a:avLst/>
            <a:gdLst/>
            <a:ahLst/>
            <a:cxnLst/>
            <a:rect l="l" t="t" r="r" b="b"/>
            <a:pathLst>
              <a:path w="1710054" h="1378585">
                <a:moveTo>
                  <a:pt x="1709927" y="1378458"/>
                </a:moveTo>
                <a:lnTo>
                  <a:pt x="1709927" y="1328927"/>
                </a:lnTo>
                <a:lnTo>
                  <a:pt x="48768" y="1331976"/>
                </a:lnTo>
                <a:lnTo>
                  <a:pt x="45720" y="2285"/>
                </a:lnTo>
                <a:lnTo>
                  <a:pt x="0" y="0"/>
                </a:lnTo>
                <a:lnTo>
                  <a:pt x="4572" y="1376934"/>
                </a:lnTo>
                <a:lnTo>
                  <a:pt x="1709927" y="1378458"/>
                </a:lnTo>
                <a:close/>
              </a:path>
            </a:pathLst>
          </a:custGeom>
          <a:solidFill>
            <a:srgbClr val="99CC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3" name="object 10"/>
          <p:cNvSpPr/>
          <p:nvPr/>
        </p:nvSpPr>
        <p:spPr>
          <a:xfrm>
            <a:off x="3509189" y="3863240"/>
            <a:ext cx="1257557" cy="642592"/>
          </a:xfrm>
          <a:custGeom>
            <a:avLst/>
            <a:gdLst/>
            <a:ahLst/>
            <a:cxnLst/>
            <a:rect l="l" t="t" r="r" b="b"/>
            <a:pathLst>
              <a:path w="1719579" h="1388110">
                <a:moveTo>
                  <a:pt x="58663" y="1331966"/>
                </a:moveTo>
                <a:lnTo>
                  <a:pt x="55626" y="3809"/>
                </a:lnTo>
                <a:lnTo>
                  <a:pt x="53340" y="1523"/>
                </a:lnTo>
                <a:lnTo>
                  <a:pt x="48768" y="1449"/>
                </a:lnTo>
                <a:lnTo>
                  <a:pt x="6858" y="74"/>
                </a:lnTo>
                <a:lnTo>
                  <a:pt x="3048" y="0"/>
                </a:lnTo>
                <a:lnTo>
                  <a:pt x="1524" y="1523"/>
                </a:lnTo>
                <a:lnTo>
                  <a:pt x="0" y="2285"/>
                </a:lnTo>
                <a:lnTo>
                  <a:pt x="0" y="4571"/>
                </a:lnTo>
                <a:lnTo>
                  <a:pt x="4572" y="9905"/>
                </a:lnTo>
                <a:lnTo>
                  <a:pt x="9144" y="4571"/>
                </a:lnTo>
                <a:lnTo>
                  <a:pt x="9162" y="10059"/>
                </a:lnTo>
                <a:lnTo>
                  <a:pt x="45720" y="11277"/>
                </a:lnTo>
                <a:lnTo>
                  <a:pt x="45720" y="6857"/>
                </a:lnTo>
                <a:lnTo>
                  <a:pt x="50292" y="11429"/>
                </a:lnTo>
                <a:lnTo>
                  <a:pt x="50292" y="1341119"/>
                </a:lnTo>
                <a:lnTo>
                  <a:pt x="51054" y="1341881"/>
                </a:lnTo>
                <a:lnTo>
                  <a:pt x="53340" y="1341881"/>
                </a:lnTo>
                <a:lnTo>
                  <a:pt x="53340" y="1331975"/>
                </a:lnTo>
                <a:lnTo>
                  <a:pt x="58663" y="1331966"/>
                </a:lnTo>
                <a:close/>
              </a:path>
              <a:path w="1719579" h="1388110">
                <a:moveTo>
                  <a:pt x="9162" y="10059"/>
                </a:moveTo>
                <a:lnTo>
                  <a:pt x="9144" y="4571"/>
                </a:lnTo>
                <a:lnTo>
                  <a:pt x="4572" y="9905"/>
                </a:lnTo>
                <a:lnTo>
                  <a:pt x="9162" y="10059"/>
                </a:lnTo>
                <a:close/>
              </a:path>
              <a:path w="1719579" h="1388110">
                <a:moveTo>
                  <a:pt x="13698" y="1376178"/>
                </a:moveTo>
                <a:lnTo>
                  <a:pt x="9162" y="10059"/>
                </a:lnTo>
                <a:lnTo>
                  <a:pt x="4572" y="9905"/>
                </a:lnTo>
                <a:lnTo>
                  <a:pt x="4572" y="1383791"/>
                </a:lnTo>
                <a:lnTo>
                  <a:pt x="6858" y="1386077"/>
                </a:lnTo>
                <a:lnTo>
                  <a:pt x="9144" y="1386077"/>
                </a:lnTo>
                <a:lnTo>
                  <a:pt x="9144" y="1376171"/>
                </a:lnTo>
                <a:lnTo>
                  <a:pt x="13698" y="1376178"/>
                </a:lnTo>
                <a:close/>
              </a:path>
              <a:path w="1719579" h="1388110">
                <a:moveTo>
                  <a:pt x="13716" y="1381505"/>
                </a:moveTo>
                <a:lnTo>
                  <a:pt x="13698" y="1376178"/>
                </a:lnTo>
                <a:lnTo>
                  <a:pt x="9144" y="1376171"/>
                </a:lnTo>
                <a:lnTo>
                  <a:pt x="13716" y="1381505"/>
                </a:lnTo>
                <a:close/>
              </a:path>
              <a:path w="1719579" h="1388110">
                <a:moveTo>
                  <a:pt x="13716" y="1386082"/>
                </a:moveTo>
                <a:lnTo>
                  <a:pt x="13716" y="1381505"/>
                </a:lnTo>
                <a:lnTo>
                  <a:pt x="9144" y="1376171"/>
                </a:lnTo>
                <a:lnTo>
                  <a:pt x="9144" y="1386077"/>
                </a:lnTo>
                <a:lnTo>
                  <a:pt x="13716" y="1386082"/>
                </a:lnTo>
                <a:close/>
              </a:path>
              <a:path w="1719579" h="1388110">
                <a:moveTo>
                  <a:pt x="1714500" y="1387599"/>
                </a:moveTo>
                <a:lnTo>
                  <a:pt x="1714500" y="1378457"/>
                </a:lnTo>
                <a:lnTo>
                  <a:pt x="1709165" y="1383030"/>
                </a:lnTo>
                <a:lnTo>
                  <a:pt x="1709165" y="1378450"/>
                </a:lnTo>
                <a:lnTo>
                  <a:pt x="13698" y="1376178"/>
                </a:lnTo>
                <a:lnTo>
                  <a:pt x="13716" y="1386082"/>
                </a:lnTo>
                <a:lnTo>
                  <a:pt x="1709165" y="1387595"/>
                </a:lnTo>
                <a:lnTo>
                  <a:pt x="1709165" y="1383030"/>
                </a:lnTo>
                <a:lnTo>
                  <a:pt x="1714500" y="1378457"/>
                </a:lnTo>
                <a:lnTo>
                  <a:pt x="1714500" y="1387599"/>
                </a:lnTo>
                <a:close/>
              </a:path>
              <a:path w="1719579" h="1388110">
                <a:moveTo>
                  <a:pt x="50292" y="11429"/>
                </a:moveTo>
                <a:lnTo>
                  <a:pt x="45720" y="6857"/>
                </a:lnTo>
                <a:lnTo>
                  <a:pt x="45730" y="11277"/>
                </a:lnTo>
                <a:lnTo>
                  <a:pt x="50292" y="11429"/>
                </a:lnTo>
                <a:close/>
              </a:path>
              <a:path w="1719579" h="1388110">
                <a:moveTo>
                  <a:pt x="50292" y="1341119"/>
                </a:moveTo>
                <a:lnTo>
                  <a:pt x="50292" y="11429"/>
                </a:lnTo>
                <a:lnTo>
                  <a:pt x="45730" y="11277"/>
                </a:lnTo>
                <a:lnTo>
                  <a:pt x="48768" y="1339595"/>
                </a:lnTo>
                <a:lnTo>
                  <a:pt x="50292" y="1341119"/>
                </a:lnTo>
                <a:close/>
              </a:path>
              <a:path w="1719579" h="1388110">
                <a:moveTo>
                  <a:pt x="58674" y="1336547"/>
                </a:moveTo>
                <a:lnTo>
                  <a:pt x="58663" y="1331966"/>
                </a:lnTo>
                <a:lnTo>
                  <a:pt x="53340" y="1331975"/>
                </a:lnTo>
                <a:lnTo>
                  <a:pt x="58674" y="1336547"/>
                </a:lnTo>
                <a:close/>
              </a:path>
              <a:path w="1719579" h="1388110">
                <a:moveTo>
                  <a:pt x="58674" y="1341869"/>
                </a:moveTo>
                <a:lnTo>
                  <a:pt x="58663" y="1336539"/>
                </a:lnTo>
                <a:lnTo>
                  <a:pt x="53340" y="1331975"/>
                </a:lnTo>
                <a:lnTo>
                  <a:pt x="53340" y="1341881"/>
                </a:lnTo>
                <a:lnTo>
                  <a:pt x="58674" y="1341869"/>
                </a:lnTo>
                <a:close/>
              </a:path>
              <a:path w="1719579" h="1388110">
                <a:moveTo>
                  <a:pt x="1719072" y="1385315"/>
                </a:moveTo>
                <a:lnTo>
                  <a:pt x="1719072" y="1332737"/>
                </a:lnTo>
                <a:lnTo>
                  <a:pt x="1718310" y="1331213"/>
                </a:lnTo>
                <a:lnTo>
                  <a:pt x="1716786" y="1329689"/>
                </a:lnTo>
                <a:lnTo>
                  <a:pt x="1715262" y="1328927"/>
                </a:lnTo>
                <a:lnTo>
                  <a:pt x="58663" y="1331966"/>
                </a:lnTo>
                <a:lnTo>
                  <a:pt x="58674" y="1341869"/>
                </a:lnTo>
                <a:lnTo>
                  <a:pt x="1709165" y="1338084"/>
                </a:lnTo>
                <a:lnTo>
                  <a:pt x="1709165" y="1333499"/>
                </a:lnTo>
                <a:lnTo>
                  <a:pt x="1714500" y="1338071"/>
                </a:lnTo>
                <a:lnTo>
                  <a:pt x="1714500" y="1387599"/>
                </a:lnTo>
                <a:lnTo>
                  <a:pt x="1716786" y="1387601"/>
                </a:lnTo>
                <a:lnTo>
                  <a:pt x="1719072" y="1385315"/>
                </a:lnTo>
                <a:close/>
              </a:path>
              <a:path w="1719579" h="1388110">
                <a:moveTo>
                  <a:pt x="1714500" y="1338071"/>
                </a:moveTo>
                <a:lnTo>
                  <a:pt x="1709165" y="1333499"/>
                </a:lnTo>
                <a:lnTo>
                  <a:pt x="1709165" y="1338084"/>
                </a:lnTo>
                <a:lnTo>
                  <a:pt x="1714500" y="1338071"/>
                </a:lnTo>
                <a:close/>
              </a:path>
              <a:path w="1719579" h="1388110">
                <a:moveTo>
                  <a:pt x="1714500" y="1378457"/>
                </a:moveTo>
                <a:lnTo>
                  <a:pt x="1714500" y="1338071"/>
                </a:lnTo>
                <a:lnTo>
                  <a:pt x="1709165" y="1338084"/>
                </a:lnTo>
                <a:lnTo>
                  <a:pt x="1709165" y="1378450"/>
                </a:lnTo>
                <a:lnTo>
                  <a:pt x="1714500" y="1378457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4" name="object 11"/>
          <p:cNvSpPr/>
          <p:nvPr/>
        </p:nvSpPr>
        <p:spPr>
          <a:xfrm>
            <a:off x="3977848" y="3395142"/>
            <a:ext cx="410982" cy="381557"/>
          </a:xfrm>
          <a:custGeom>
            <a:avLst/>
            <a:gdLst/>
            <a:ahLst/>
            <a:cxnLst/>
            <a:rect l="l" t="t" r="r" b="b"/>
            <a:pathLst>
              <a:path w="561975" h="824229">
                <a:moveTo>
                  <a:pt x="528065" y="356437"/>
                </a:moveTo>
                <a:lnTo>
                  <a:pt x="528065" y="268223"/>
                </a:lnTo>
                <a:lnTo>
                  <a:pt x="243077" y="764286"/>
                </a:lnTo>
                <a:lnTo>
                  <a:pt x="22859" y="784098"/>
                </a:lnTo>
                <a:lnTo>
                  <a:pt x="0" y="823722"/>
                </a:lnTo>
                <a:lnTo>
                  <a:pt x="288797" y="790194"/>
                </a:lnTo>
                <a:lnTo>
                  <a:pt x="528065" y="356437"/>
                </a:lnTo>
                <a:close/>
              </a:path>
              <a:path w="561975" h="824229">
                <a:moveTo>
                  <a:pt x="561593" y="295656"/>
                </a:moveTo>
                <a:lnTo>
                  <a:pt x="472439" y="0"/>
                </a:lnTo>
                <a:lnTo>
                  <a:pt x="454913" y="41910"/>
                </a:lnTo>
                <a:lnTo>
                  <a:pt x="528065" y="268224"/>
                </a:lnTo>
                <a:lnTo>
                  <a:pt x="528065" y="356437"/>
                </a:lnTo>
                <a:lnTo>
                  <a:pt x="561593" y="295656"/>
                </a:lnTo>
                <a:close/>
              </a:path>
            </a:pathLst>
          </a:custGeom>
          <a:solidFill>
            <a:srgbClr val="3366FF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5" name="object 12"/>
          <p:cNvSpPr/>
          <p:nvPr/>
        </p:nvSpPr>
        <p:spPr>
          <a:xfrm>
            <a:off x="3974503" y="3392672"/>
            <a:ext cx="417948" cy="385966"/>
          </a:xfrm>
          <a:custGeom>
            <a:avLst/>
            <a:gdLst/>
            <a:ahLst/>
            <a:cxnLst/>
            <a:rect l="l" t="t" r="r" b="b"/>
            <a:pathLst>
              <a:path w="571500" h="833754">
                <a:moveTo>
                  <a:pt x="247649" y="774260"/>
                </a:moveTo>
                <a:lnTo>
                  <a:pt x="247649" y="765048"/>
                </a:lnTo>
                <a:lnTo>
                  <a:pt x="243839" y="767334"/>
                </a:lnTo>
                <a:lnTo>
                  <a:pt x="243839" y="765390"/>
                </a:lnTo>
                <a:lnTo>
                  <a:pt x="28193" y="784791"/>
                </a:lnTo>
                <a:lnTo>
                  <a:pt x="25907" y="784860"/>
                </a:lnTo>
                <a:lnTo>
                  <a:pt x="24383" y="785622"/>
                </a:lnTo>
                <a:lnTo>
                  <a:pt x="23621" y="787146"/>
                </a:lnTo>
                <a:lnTo>
                  <a:pt x="761" y="826770"/>
                </a:lnTo>
                <a:lnTo>
                  <a:pt x="0" y="828294"/>
                </a:lnTo>
                <a:lnTo>
                  <a:pt x="0" y="829818"/>
                </a:lnTo>
                <a:lnTo>
                  <a:pt x="761" y="831342"/>
                </a:lnTo>
                <a:lnTo>
                  <a:pt x="2285" y="832866"/>
                </a:lnTo>
                <a:lnTo>
                  <a:pt x="3809" y="833628"/>
                </a:lnTo>
                <a:lnTo>
                  <a:pt x="4571" y="833628"/>
                </a:lnTo>
                <a:lnTo>
                  <a:pt x="4571" y="823722"/>
                </a:lnTo>
                <a:lnTo>
                  <a:pt x="14170" y="822630"/>
                </a:lnTo>
                <a:lnTo>
                  <a:pt x="28193" y="798322"/>
                </a:lnTo>
                <a:lnTo>
                  <a:pt x="28193" y="794004"/>
                </a:lnTo>
                <a:lnTo>
                  <a:pt x="32003" y="791718"/>
                </a:lnTo>
                <a:lnTo>
                  <a:pt x="32003" y="793661"/>
                </a:lnTo>
                <a:lnTo>
                  <a:pt x="243839" y="774603"/>
                </a:lnTo>
                <a:lnTo>
                  <a:pt x="243839" y="767334"/>
                </a:lnTo>
                <a:lnTo>
                  <a:pt x="245013" y="765285"/>
                </a:lnTo>
                <a:lnTo>
                  <a:pt x="245013" y="774497"/>
                </a:lnTo>
                <a:lnTo>
                  <a:pt x="247649" y="774260"/>
                </a:lnTo>
                <a:close/>
              </a:path>
              <a:path w="571500" h="833754">
                <a:moveTo>
                  <a:pt x="14170" y="822630"/>
                </a:moveTo>
                <a:lnTo>
                  <a:pt x="4571" y="823722"/>
                </a:lnTo>
                <a:lnTo>
                  <a:pt x="9143" y="831342"/>
                </a:lnTo>
                <a:lnTo>
                  <a:pt x="14170" y="822630"/>
                </a:lnTo>
                <a:close/>
              </a:path>
              <a:path w="571500" h="833754">
                <a:moveTo>
                  <a:pt x="292607" y="800188"/>
                </a:moveTo>
                <a:lnTo>
                  <a:pt x="292607" y="790956"/>
                </a:lnTo>
                <a:lnTo>
                  <a:pt x="288797" y="793242"/>
                </a:lnTo>
                <a:lnTo>
                  <a:pt x="288797" y="791389"/>
                </a:lnTo>
                <a:lnTo>
                  <a:pt x="14170" y="822630"/>
                </a:lnTo>
                <a:lnTo>
                  <a:pt x="9143" y="831342"/>
                </a:lnTo>
                <a:lnTo>
                  <a:pt x="4571" y="823722"/>
                </a:lnTo>
                <a:lnTo>
                  <a:pt x="4571" y="833628"/>
                </a:lnTo>
                <a:lnTo>
                  <a:pt x="5333" y="833628"/>
                </a:lnTo>
                <a:lnTo>
                  <a:pt x="288797" y="800632"/>
                </a:lnTo>
                <a:lnTo>
                  <a:pt x="288797" y="793242"/>
                </a:lnTo>
                <a:lnTo>
                  <a:pt x="289891" y="791265"/>
                </a:lnTo>
                <a:lnTo>
                  <a:pt x="289891" y="800504"/>
                </a:lnTo>
                <a:lnTo>
                  <a:pt x="292607" y="800188"/>
                </a:lnTo>
                <a:close/>
              </a:path>
              <a:path w="571500" h="833754">
                <a:moveTo>
                  <a:pt x="32003" y="791718"/>
                </a:moveTo>
                <a:lnTo>
                  <a:pt x="28193" y="794004"/>
                </a:lnTo>
                <a:lnTo>
                  <a:pt x="30821" y="793767"/>
                </a:lnTo>
                <a:lnTo>
                  <a:pt x="32003" y="791718"/>
                </a:lnTo>
                <a:close/>
              </a:path>
              <a:path w="571500" h="833754">
                <a:moveTo>
                  <a:pt x="30821" y="793767"/>
                </a:moveTo>
                <a:lnTo>
                  <a:pt x="28193" y="794004"/>
                </a:lnTo>
                <a:lnTo>
                  <a:pt x="28193" y="798322"/>
                </a:lnTo>
                <a:lnTo>
                  <a:pt x="30821" y="793767"/>
                </a:lnTo>
                <a:close/>
              </a:path>
              <a:path w="571500" h="833754">
                <a:moveTo>
                  <a:pt x="32003" y="793661"/>
                </a:moveTo>
                <a:lnTo>
                  <a:pt x="32003" y="791718"/>
                </a:lnTo>
                <a:lnTo>
                  <a:pt x="30821" y="793767"/>
                </a:lnTo>
                <a:lnTo>
                  <a:pt x="32003" y="793661"/>
                </a:lnTo>
                <a:close/>
              </a:path>
              <a:path w="571500" h="833754">
                <a:moveTo>
                  <a:pt x="247649" y="765048"/>
                </a:moveTo>
                <a:lnTo>
                  <a:pt x="245013" y="765285"/>
                </a:lnTo>
                <a:lnTo>
                  <a:pt x="243839" y="767334"/>
                </a:lnTo>
                <a:lnTo>
                  <a:pt x="247649" y="765048"/>
                </a:lnTo>
                <a:close/>
              </a:path>
              <a:path w="571500" h="833754">
                <a:moveTo>
                  <a:pt x="528065" y="290473"/>
                </a:moveTo>
                <a:lnTo>
                  <a:pt x="528065" y="275082"/>
                </a:lnTo>
                <a:lnTo>
                  <a:pt x="527278" y="272646"/>
                </a:lnTo>
                <a:lnTo>
                  <a:pt x="245013" y="765285"/>
                </a:lnTo>
                <a:lnTo>
                  <a:pt x="247649" y="765048"/>
                </a:lnTo>
                <a:lnTo>
                  <a:pt x="247649" y="774260"/>
                </a:lnTo>
                <a:lnTo>
                  <a:pt x="249935" y="774192"/>
                </a:lnTo>
                <a:lnTo>
                  <a:pt x="251459" y="773430"/>
                </a:lnTo>
                <a:lnTo>
                  <a:pt x="252221" y="771906"/>
                </a:lnTo>
                <a:lnTo>
                  <a:pt x="528065" y="290473"/>
                </a:lnTo>
                <a:close/>
              </a:path>
              <a:path w="571500" h="833754">
                <a:moveTo>
                  <a:pt x="292607" y="790956"/>
                </a:moveTo>
                <a:lnTo>
                  <a:pt x="289891" y="791265"/>
                </a:lnTo>
                <a:lnTo>
                  <a:pt x="288797" y="793242"/>
                </a:lnTo>
                <a:lnTo>
                  <a:pt x="292607" y="790956"/>
                </a:lnTo>
                <a:close/>
              </a:path>
              <a:path w="571500" h="833754">
                <a:moveTo>
                  <a:pt x="562355" y="318428"/>
                </a:moveTo>
                <a:lnTo>
                  <a:pt x="562355" y="298704"/>
                </a:lnTo>
                <a:lnTo>
                  <a:pt x="561593" y="302514"/>
                </a:lnTo>
                <a:lnTo>
                  <a:pt x="561120" y="300938"/>
                </a:lnTo>
                <a:lnTo>
                  <a:pt x="289891" y="791265"/>
                </a:lnTo>
                <a:lnTo>
                  <a:pt x="292607" y="790956"/>
                </a:lnTo>
                <a:lnTo>
                  <a:pt x="292607" y="800188"/>
                </a:lnTo>
                <a:lnTo>
                  <a:pt x="294893" y="800100"/>
                </a:lnTo>
                <a:lnTo>
                  <a:pt x="296417" y="799338"/>
                </a:lnTo>
                <a:lnTo>
                  <a:pt x="297179" y="797814"/>
                </a:lnTo>
                <a:lnTo>
                  <a:pt x="562355" y="318428"/>
                </a:lnTo>
                <a:close/>
              </a:path>
              <a:path w="571500" h="833754">
                <a:moveTo>
                  <a:pt x="571499" y="300990"/>
                </a:moveTo>
                <a:lnTo>
                  <a:pt x="570737" y="300228"/>
                </a:lnTo>
                <a:lnTo>
                  <a:pt x="481583" y="3810"/>
                </a:lnTo>
                <a:lnTo>
                  <a:pt x="480821" y="1524"/>
                </a:lnTo>
                <a:lnTo>
                  <a:pt x="479297" y="762"/>
                </a:lnTo>
                <a:lnTo>
                  <a:pt x="477011" y="0"/>
                </a:lnTo>
                <a:lnTo>
                  <a:pt x="475487" y="0"/>
                </a:lnTo>
                <a:lnTo>
                  <a:pt x="473201" y="1524"/>
                </a:lnTo>
                <a:lnTo>
                  <a:pt x="472439" y="3048"/>
                </a:lnTo>
                <a:lnTo>
                  <a:pt x="454913" y="45720"/>
                </a:lnTo>
                <a:lnTo>
                  <a:pt x="454151" y="46482"/>
                </a:lnTo>
                <a:lnTo>
                  <a:pt x="454151" y="48006"/>
                </a:lnTo>
                <a:lnTo>
                  <a:pt x="454913" y="48768"/>
                </a:lnTo>
                <a:lnTo>
                  <a:pt x="464057" y="77057"/>
                </a:lnTo>
                <a:lnTo>
                  <a:pt x="464057" y="45720"/>
                </a:lnTo>
                <a:lnTo>
                  <a:pt x="464747" y="47852"/>
                </a:lnTo>
                <a:lnTo>
                  <a:pt x="472439" y="29121"/>
                </a:lnTo>
                <a:lnTo>
                  <a:pt x="472439" y="6096"/>
                </a:lnTo>
                <a:lnTo>
                  <a:pt x="481583" y="6858"/>
                </a:lnTo>
                <a:lnTo>
                  <a:pt x="481583" y="36497"/>
                </a:lnTo>
                <a:lnTo>
                  <a:pt x="561120" y="300938"/>
                </a:lnTo>
                <a:lnTo>
                  <a:pt x="562355" y="298704"/>
                </a:lnTo>
                <a:lnTo>
                  <a:pt x="562355" y="318428"/>
                </a:lnTo>
                <a:lnTo>
                  <a:pt x="570737" y="303276"/>
                </a:lnTo>
                <a:lnTo>
                  <a:pt x="570737" y="302514"/>
                </a:lnTo>
                <a:lnTo>
                  <a:pt x="571499" y="300990"/>
                </a:lnTo>
                <a:close/>
              </a:path>
              <a:path w="571500" h="833754">
                <a:moveTo>
                  <a:pt x="464747" y="47852"/>
                </a:moveTo>
                <a:lnTo>
                  <a:pt x="464057" y="45720"/>
                </a:lnTo>
                <a:lnTo>
                  <a:pt x="464057" y="49530"/>
                </a:lnTo>
                <a:lnTo>
                  <a:pt x="464747" y="47852"/>
                </a:lnTo>
                <a:close/>
              </a:path>
              <a:path w="571500" h="833754">
                <a:moveTo>
                  <a:pt x="537209" y="274320"/>
                </a:moveTo>
                <a:lnTo>
                  <a:pt x="537209" y="272034"/>
                </a:lnTo>
                <a:lnTo>
                  <a:pt x="464747" y="47852"/>
                </a:lnTo>
                <a:lnTo>
                  <a:pt x="464057" y="49530"/>
                </a:lnTo>
                <a:lnTo>
                  <a:pt x="464057" y="77057"/>
                </a:lnTo>
                <a:lnTo>
                  <a:pt x="527278" y="272646"/>
                </a:lnTo>
                <a:lnTo>
                  <a:pt x="528065" y="271272"/>
                </a:lnTo>
                <a:lnTo>
                  <a:pt x="528065" y="290473"/>
                </a:lnTo>
                <a:lnTo>
                  <a:pt x="536447" y="275844"/>
                </a:lnTo>
                <a:lnTo>
                  <a:pt x="537209" y="274320"/>
                </a:lnTo>
                <a:close/>
              </a:path>
              <a:path w="571500" h="833754">
                <a:moveTo>
                  <a:pt x="481583" y="6858"/>
                </a:moveTo>
                <a:lnTo>
                  <a:pt x="472439" y="6096"/>
                </a:lnTo>
                <a:lnTo>
                  <a:pt x="476437" y="19387"/>
                </a:lnTo>
                <a:lnTo>
                  <a:pt x="481583" y="6858"/>
                </a:lnTo>
                <a:close/>
              </a:path>
              <a:path w="571500" h="833754">
                <a:moveTo>
                  <a:pt x="476437" y="19387"/>
                </a:moveTo>
                <a:lnTo>
                  <a:pt x="472439" y="6096"/>
                </a:lnTo>
                <a:lnTo>
                  <a:pt x="472439" y="29121"/>
                </a:lnTo>
                <a:lnTo>
                  <a:pt x="476437" y="19387"/>
                </a:lnTo>
                <a:close/>
              </a:path>
              <a:path w="571500" h="833754">
                <a:moveTo>
                  <a:pt x="481583" y="36497"/>
                </a:moveTo>
                <a:lnTo>
                  <a:pt x="481583" y="6858"/>
                </a:lnTo>
                <a:lnTo>
                  <a:pt x="476437" y="19387"/>
                </a:lnTo>
                <a:lnTo>
                  <a:pt x="481583" y="36497"/>
                </a:lnTo>
                <a:close/>
              </a:path>
              <a:path w="571500" h="833754">
                <a:moveTo>
                  <a:pt x="528065" y="275082"/>
                </a:moveTo>
                <a:lnTo>
                  <a:pt x="528065" y="271272"/>
                </a:lnTo>
                <a:lnTo>
                  <a:pt x="527278" y="272646"/>
                </a:lnTo>
                <a:lnTo>
                  <a:pt x="528065" y="275082"/>
                </a:lnTo>
                <a:close/>
              </a:path>
              <a:path w="571500" h="833754">
                <a:moveTo>
                  <a:pt x="562355" y="298704"/>
                </a:moveTo>
                <a:lnTo>
                  <a:pt x="561120" y="300938"/>
                </a:lnTo>
                <a:lnTo>
                  <a:pt x="561593" y="302514"/>
                </a:lnTo>
                <a:lnTo>
                  <a:pt x="562355" y="298704"/>
                </a:lnTo>
                <a:close/>
              </a:path>
            </a:pathLst>
          </a:custGeom>
          <a:solidFill>
            <a:srgbClr val="3366FF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6" name="object 13"/>
          <p:cNvSpPr/>
          <p:nvPr/>
        </p:nvSpPr>
        <p:spPr>
          <a:xfrm>
            <a:off x="4265952" y="3614552"/>
            <a:ext cx="69194" cy="61143"/>
          </a:xfrm>
          <a:custGeom>
            <a:avLst/>
            <a:gdLst/>
            <a:ahLst/>
            <a:cxnLst/>
            <a:rect l="l" t="t" r="r" b="b"/>
            <a:pathLst>
              <a:path w="94614" h="132079">
                <a:moveTo>
                  <a:pt x="94487" y="66294"/>
                </a:moveTo>
                <a:lnTo>
                  <a:pt x="75437" y="0"/>
                </a:lnTo>
                <a:lnTo>
                  <a:pt x="0" y="131826"/>
                </a:lnTo>
                <a:lnTo>
                  <a:pt x="73151" y="103632"/>
                </a:lnTo>
                <a:lnTo>
                  <a:pt x="94487" y="66294"/>
                </a:lnTo>
                <a:close/>
              </a:path>
            </a:pathLst>
          </a:custGeom>
          <a:solidFill>
            <a:srgbClr val="3366FF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7" name="object 14"/>
          <p:cNvSpPr/>
          <p:nvPr/>
        </p:nvSpPr>
        <p:spPr>
          <a:xfrm>
            <a:off x="4315548" y="3640655"/>
            <a:ext cx="346897" cy="134045"/>
          </a:xfrm>
          <a:custGeom>
            <a:avLst/>
            <a:gdLst/>
            <a:ahLst/>
            <a:cxnLst/>
            <a:rect l="l" t="t" r="r" b="b"/>
            <a:pathLst>
              <a:path w="474345" h="289560">
                <a:moveTo>
                  <a:pt x="473964" y="289559"/>
                </a:moveTo>
                <a:lnTo>
                  <a:pt x="25146" y="0"/>
                </a:lnTo>
                <a:lnTo>
                  <a:pt x="0" y="44196"/>
                </a:lnTo>
                <a:lnTo>
                  <a:pt x="473964" y="289559"/>
                </a:lnTo>
                <a:close/>
              </a:path>
            </a:pathLst>
          </a:custGeom>
          <a:solidFill>
            <a:srgbClr val="3366FF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8" name="object 16"/>
          <p:cNvSpPr/>
          <p:nvPr/>
        </p:nvSpPr>
        <p:spPr>
          <a:xfrm>
            <a:off x="5294102" y="2931981"/>
            <a:ext cx="156034" cy="1147494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69" name="object 17"/>
          <p:cNvSpPr/>
          <p:nvPr/>
        </p:nvSpPr>
        <p:spPr>
          <a:xfrm>
            <a:off x="5290759" y="2929513"/>
            <a:ext cx="163463" cy="1152315"/>
          </a:xfrm>
          <a:custGeom>
            <a:avLst/>
            <a:gdLst/>
            <a:ahLst/>
            <a:cxnLst/>
            <a:rect l="l" t="t" r="r" b="b"/>
            <a:pathLst>
              <a:path w="223520" h="2489200">
                <a:moveTo>
                  <a:pt x="223265" y="2488692"/>
                </a:moveTo>
                <a:lnTo>
                  <a:pt x="223265" y="0"/>
                </a:lnTo>
                <a:lnTo>
                  <a:pt x="0" y="0"/>
                </a:lnTo>
                <a:lnTo>
                  <a:pt x="0" y="2488692"/>
                </a:lnTo>
                <a:lnTo>
                  <a:pt x="4572" y="2488692"/>
                </a:lnTo>
                <a:lnTo>
                  <a:pt x="4572" y="9906"/>
                </a:lnTo>
                <a:lnTo>
                  <a:pt x="9906" y="5334"/>
                </a:lnTo>
                <a:lnTo>
                  <a:pt x="9906" y="9906"/>
                </a:lnTo>
                <a:lnTo>
                  <a:pt x="213360" y="9906"/>
                </a:lnTo>
                <a:lnTo>
                  <a:pt x="213360" y="5334"/>
                </a:lnTo>
                <a:lnTo>
                  <a:pt x="217932" y="9906"/>
                </a:lnTo>
                <a:lnTo>
                  <a:pt x="217932" y="2488692"/>
                </a:lnTo>
                <a:lnTo>
                  <a:pt x="223265" y="2488692"/>
                </a:lnTo>
                <a:close/>
              </a:path>
              <a:path w="223520" h="2489200">
                <a:moveTo>
                  <a:pt x="9906" y="9906"/>
                </a:moveTo>
                <a:lnTo>
                  <a:pt x="9906" y="5334"/>
                </a:lnTo>
                <a:lnTo>
                  <a:pt x="4572" y="9906"/>
                </a:lnTo>
                <a:lnTo>
                  <a:pt x="9906" y="9906"/>
                </a:lnTo>
                <a:close/>
              </a:path>
              <a:path w="223520" h="2489200">
                <a:moveTo>
                  <a:pt x="9906" y="2478786"/>
                </a:moveTo>
                <a:lnTo>
                  <a:pt x="9906" y="9906"/>
                </a:lnTo>
                <a:lnTo>
                  <a:pt x="4572" y="9906"/>
                </a:lnTo>
                <a:lnTo>
                  <a:pt x="4572" y="2478786"/>
                </a:lnTo>
                <a:lnTo>
                  <a:pt x="9906" y="2478786"/>
                </a:lnTo>
                <a:close/>
              </a:path>
              <a:path w="223520" h="2489200">
                <a:moveTo>
                  <a:pt x="217932" y="2478786"/>
                </a:moveTo>
                <a:lnTo>
                  <a:pt x="4572" y="2478786"/>
                </a:lnTo>
                <a:lnTo>
                  <a:pt x="9906" y="2484120"/>
                </a:lnTo>
                <a:lnTo>
                  <a:pt x="9906" y="2488692"/>
                </a:lnTo>
                <a:lnTo>
                  <a:pt x="213360" y="2488692"/>
                </a:lnTo>
                <a:lnTo>
                  <a:pt x="213360" y="2484120"/>
                </a:lnTo>
                <a:lnTo>
                  <a:pt x="217932" y="2478786"/>
                </a:lnTo>
                <a:close/>
              </a:path>
              <a:path w="223520" h="2489200">
                <a:moveTo>
                  <a:pt x="9906" y="2488692"/>
                </a:moveTo>
                <a:lnTo>
                  <a:pt x="9906" y="2484120"/>
                </a:lnTo>
                <a:lnTo>
                  <a:pt x="4572" y="2478786"/>
                </a:lnTo>
                <a:lnTo>
                  <a:pt x="4572" y="2488692"/>
                </a:lnTo>
                <a:lnTo>
                  <a:pt x="9906" y="2488692"/>
                </a:lnTo>
                <a:close/>
              </a:path>
              <a:path w="223520" h="2489200">
                <a:moveTo>
                  <a:pt x="217932" y="9906"/>
                </a:moveTo>
                <a:lnTo>
                  <a:pt x="213360" y="5334"/>
                </a:lnTo>
                <a:lnTo>
                  <a:pt x="213360" y="9906"/>
                </a:lnTo>
                <a:lnTo>
                  <a:pt x="217932" y="9906"/>
                </a:lnTo>
                <a:close/>
              </a:path>
              <a:path w="223520" h="2489200">
                <a:moveTo>
                  <a:pt x="217932" y="2478786"/>
                </a:moveTo>
                <a:lnTo>
                  <a:pt x="217932" y="9906"/>
                </a:lnTo>
                <a:lnTo>
                  <a:pt x="213360" y="9906"/>
                </a:lnTo>
                <a:lnTo>
                  <a:pt x="213360" y="2478786"/>
                </a:lnTo>
                <a:lnTo>
                  <a:pt x="217932" y="2478786"/>
                </a:lnTo>
                <a:close/>
              </a:path>
              <a:path w="223520" h="2489200">
                <a:moveTo>
                  <a:pt x="217932" y="2488692"/>
                </a:moveTo>
                <a:lnTo>
                  <a:pt x="217932" y="2478786"/>
                </a:lnTo>
                <a:lnTo>
                  <a:pt x="213360" y="2484120"/>
                </a:lnTo>
                <a:lnTo>
                  <a:pt x="213360" y="2488692"/>
                </a:lnTo>
                <a:lnTo>
                  <a:pt x="217932" y="24886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0" name="object 18"/>
          <p:cNvSpPr/>
          <p:nvPr/>
        </p:nvSpPr>
        <p:spPr>
          <a:xfrm>
            <a:off x="4814299" y="3061970"/>
            <a:ext cx="483890" cy="0"/>
          </a:xfrm>
          <a:custGeom>
            <a:avLst/>
            <a:gdLst/>
            <a:ahLst/>
            <a:cxnLst/>
            <a:rect l="l" t="t" r="r" b="b"/>
            <a:pathLst>
              <a:path w="661670">
                <a:moveTo>
                  <a:pt x="0" y="0"/>
                </a:moveTo>
                <a:lnTo>
                  <a:pt x="661415" y="0"/>
                </a:lnTo>
              </a:path>
            </a:pathLst>
          </a:custGeom>
          <a:ln w="990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1" name="object 19"/>
          <p:cNvSpPr/>
          <p:nvPr/>
        </p:nvSpPr>
        <p:spPr>
          <a:xfrm>
            <a:off x="5297724" y="3061794"/>
            <a:ext cx="0" cy="880697"/>
          </a:xfrm>
          <a:custGeom>
            <a:avLst/>
            <a:gdLst/>
            <a:ahLst/>
            <a:cxnLst/>
            <a:rect l="l" t="t" r="r" b="b"/>
            <a:pathLst>
              <a:path h="1902460">
                <a:moveTo>
                  <a:pt x="0" y="0"/>
                </a:moveTo>
                <a:lnTo>
                  <a:pt x="0" y="1901952"/>
                </a:lnTo>
              </a:path>
            </a:pathLst>
          </a:custGeom>
          <a:ln w="990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2" name="object 20"/>
          <p:cNvSpPr/>
          <p:nvPr/>
        </p:nvSpPr>
        <p:spPr>
          <a:xfrm>
            <a:off x="4810955" y="3939963"/>
            <a:ext cx="483426" cy="0"/>
          </a:xfrm>
          <a:custGeom>
            <a:avLst/>
            <a:gdLst/>
            <a:ahLst/>
            <a:cxnLst/>
            <a:rect l="l" t="t" r="r" b="b"/>
            <a:pathLst>
              <a:path w="661035">
                <a:moveTo>
                  <a:pt x="0" y="0"/>
                </a:moveTo>
                <a:lnTo>
                  <a:pt x="660653" y="0"/>
                </a:lnTo>
              </a:path>
            </a:pathLst>
          </a:custGeom>
          <a:ln w="990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3" name="object 21"/>
          <p:cNvSpPr/>
          <p:nvPr/>
        </p:nvSpPr>
        <p:spPr>
          <a:xfrm>
            <a:off x="4954729" y="3357750"/>
            <a:ext cx="7430" cy="17638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4" name="object 22"/>
          <p:cNvSpPr/>
          <p:nvPr/>
        </p:nvSpPr>
        <p:spPr>
          <a:xfrm>
            <a:off x="4954729" y="3388439"/>
            <a:ext cx="7430" cy="17638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5" name="object 23"/>
          <p:cNvSpPr/>
          <p:nvPr/>
        </p:nvSpPr>
        <p:spPr>
          <a:xfrm>
            <a:off x="4954729" y="3419481"/>
            <a:ext cx="7430" cy="17638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6" name="object 24"/>
          <p:cNvSpPr/>
          <p:nvPr/>
        </p:nvSpPr>
        <p:spPr>
          <a:xfrm>
            <a:off x="4807055" y="3064262"/>
            <a:ext cx="7430" cy="17638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7" name="object 25"/>
          <p:cNvSpPr/>
          <p:nvPr/>
        </p:nvSpPr>
        <p:spPr>
          <a:xfrm>
            <a:off x="4807055" y="3094952"/>
            <a:ext cx="7430" cy="17638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8" name="object 26"/>
          <p:cNvSpPr/>
          <p:nvPr/>
        </p:nvSpPr>
        <p:spPr>
          <a:xfrm>
            <a:off x="4807055" y="3125993"/>
            <a:ext cx="7430" cy="17638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79" name="object 27"/>
          <p:cNvSpPr/>
          <p:nvPr/>
        </p:nvSpPr>
        <p:spPr>
          <a:xfrm>
            <a:off x="4807055" y="3156683"/>
            <a:ext cx="7430" cy="17638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0" name="object 28"/>
          <p:cNvSpPr/>
          <p:nvPr/>
        </p:nvSpPr>
        <p:spPr>
          <a:xfrm>
            <a:off x="4807055" y="3187725"/>
            <a:ext cx="7430" cy="17638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1" name="object 29"/>
          <p:cNvSpPr/>
          <p:nvPr/>
        </p:nvSpPr>
        <p:spPr>
          <a:xfrm>
            <a:off x="4807055" y="3218413"/>
            <a:ext cx="7430" cy="17638"/>
          </a:xfrm>
          <a:custGeom>
            <a:avLst/>
            <a:gdLst/>
            <a:ahLst/>
            <a:cxnLst/>
            <a:rect l="l" t="t" r="r" b="b"/>
            <a:pathLst>
              <a:path w="10160" h="38100">
                <a:moveTo>
                  <a:pt x="9905" y="38100"/>
                </a:moveTo>
                <a:lnTo>
                  <a:pt x="9905" y="0"/>
                </a:lnTo>
                <a:lnTo>
                  <a:pt x="0" y="0"/>
                </a:lnTo>
                <a:lnTo>
                  <a:pt x="0" y="38100"/>
                </a:lnTo>
                <a:lnTo>
                  <a:pt x="9905" y="3810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2" name="object 30"/>
          <p:cNvSpPr/>
          <p:nvPr/>
        </p:nvSpPr>
        <p:spPr>
          <a:xfrm>
            <a:off x="4807055" y="3249457"/>
            <a:ext cx="7430" cy="13816"/>
          </a:xfrm>
          <a:custGeom>
            <a:avLst/>
            <a:gdLst/>
            <a:ahLst/>
            <a:cxnLst/>
            <a:rect l="l" t="t" r="r" b="b"/>
            <a:pathLst>
              <a:path w="10160" h="29845">
                <a:moveTo>
                  <a:pt x="9905" y="29717"/>
                </a:moveTo>
                <a:lnTo>
                  <a:pt x="9905" y="0"/>
                </a:lnTo>
                <a:lnTo>
                  <a:pt x="0" y="0"/>
                </a:lnTo>
                <a:lnTo>
                  <a:pt x="0" y="29717"/>
                </a:lnTo>
                <a:lnTo>
                  <a:pt x="9905" y="2971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3" name="object 31"/>
          <p:cNvSpPr/>
          <p:nvPr/>
        </p:nvSpPr>
        <p:spPr>
          <a:xfrm>
            <a:off x="4808169" y="3258275"/>
            <a:ext cx="146282" cy="101121"/>
          </a:xfrm>
          <a:custGeom>
            <a:avLst/>
            <a:gdLst/>
            <a:ahLst/>
            <a:cxnLst/>
            <a:rect l="l" t="t" r="r" b="b"/>
            <a:pathLst>
              <a:path w="200025" h="218439">
                <a:moveTo>
                  <a:pt x="32766" y="28194"/>
                </a:moveTo>
                <a:lnTo>
                  <a:pt x="6858" y="0"/>
                </a:lnTo>
                <a:lnTo>
                  <a:pt x="0" y="6858"/>
                </a:lnTo>
                <a:lnTo>
                  <a:pt x="25908" y="35052"/>
                </a:lnTo>
                <a:lnTo>
                  <a:pt x="32766" y="28194"/>
                </a:lnTo>
                <a:close/>
              </a:path>
              <a:path w="200025" h="218439">
                <a:moveTo>
                  <a:pt x="77724" y="77724"/>
                </a:moveTo>
                <a:lnTo>
                  <a:pt x="51816" y="49530"/>
                </a:lnTo>
                <a:lnTo>
                  <a:pt x="44958" y="55626"/>
                </a:lnTo>
                <a:lnTo>
                  <a:pt x="70866" y="83820"/>
                </a:lnTo>
                <a:lnTo>
                  <a:pt x="77724" y="77724"/>
                </a:lnTo>
                <a:close/>
              </a:path>
              <a:path w="200025" h="218439">
                <a:moveTo>
                  <a:pt x="122682" y="127254"/>
                </a:moveTo>
                <a:lnTo>
                  <a:pt x="96774" y="99060"/>
                </a:lnTo>
                <a:lnTo>
                  <a:pt x="89916" y="105155"/>
                </a:lnTo>
                <a:lnTo>
                  <a:pt x="115062" y="133350"/>
                </a:lnTo>
                <a:lnTo>
                  <a:pt x="122682" y="127254"/>
                </a:lnTo>
                <a:close/>
              </a:path>
              <a:path w="200025" h="218439">
                <a:moveTo>
                  <a:pt x="167640" y="176022"/>
                </a:moveTo>
                <a:lnTo>
                  <a:pt x="141732" y="147828"/>
                </a:lnTo>
                <a:lnTo>
                  <a:pt x="134874" y="154686"/>
                </a:lnTo>
                <a:lnTo>
                  <a:pt x="160020" y="182880"/>
                </a:lnTo>
                <a:lnTo>
                  <a:pt x="167640" y="176022"/>
                </a:lnTo>
                <a:close/>
              </a:path>
              <a:path w="200025" h="218439">
                <a:moveTo>
                  <a:pt x="199644" y="211836"/>
                </a:moveTo>
                <a:lnTo>
                  <a:pt x="186690" y="197358"/>
                </a:lnTo>
                <a:lnTo>
                  <a:pt x="179832" y="204215"/>
                </a:lnTo>
                <a:lnTo>
                  <a:pt x="192024" y="217932"/>
                </a:lnTo>
                <a:lnTo>
                  <a:pt x="199644" y="21183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4" name="object 32"/>
          <p:cNvSpPr/>
          <p:nvPr/>
        </p:nvSpPr>
        <p:spPr>
          <a:xfrm>
            <a:off x="4954730" y="3451582"/>
            <a:ext cx="338537" cy="67022"/>
          </a:xfrm>
          <a:custGeom>
            <a:avLst/>
            <a:gdLst/>
            <a:ahLst/>
            <a:cxnLst/>
            <a:rect l="l" t="t" r="r" b="b"/>
            <a:pathLst>
              <a:path w="462914" h="144779">
                <a:moveTo>
                  <a:pt x="17526" y="37338"/>
                </a:moveTo>
                <a:lnTo>
                  <a:pt x="9144" y="0"/>
                </a:lnTo>
                <a:lnTo>
                  <a:pt x="0" y="2286"/>
                </a:lnTo>
                <a:lnTo>
                  <a:pt x="8382" y="39624"/>
                </a:lnTo>
                <a:lnTo>
                  <a:pt x="17526" y="37338"/>
                </a:lnTo>
                <a:close/>
              </a:path>
              <a:path w="462914" h="144779">
                <a:moveTo>
                  <a:pt x="76200" y="43433"/>
                </a:moveTo>
                <a:lnTo>
                  <a:pt x="38100" y="40386"/>
                </a:lnTo>
                <a:lnTo>
                  <a:pt x="37338" y="50292"/>
                </a:lnTo>
                <a:lnTo>
                  <a:pt x="75438" y="53340"/>
                </a:lnTo>
                <a:lnTo>
                  <a:pt x="76200" y="43433"/>
                </a:lnTo>
                <a:close/>
              </a:path>
              <a:path w="462914" h="144779">
                <a:moveTo>
                  <a:pt x="142494" y="49529"/>
                </a:moveTo>
                <a:lnTo>
                  <a:pt x="104394" y="46481"/>
                </a:lnTo>
                <a:lnTo>
                  <a:pt x="103632" y="55625"/>
                </a:lnTo>
                <a:lnTo>
                  <a:pt x="141732" y="58673"/>
                </a:lnTo>
                <a:lnTo>
                  <a:pt x="142494" y="49529"/>
                </a:lnTo>
                <a:close/>
              </a:path>
              <a:path w="462914" h="144779">
                <a:moveTo>
                  <a:pt x="208788" y="54863"/>
                </a:moveTo>
                <a:lnTo>
                  <a:pt x="170688" y="51815"/>
                </a:lnTo>
                <a:lnTo>
                  <a:pt x="169926" y="60959"/>
                </a:lnTo>
                <a:lnTo>
                  <a:pt x="208026" y="64769"/>
                </a:lnTo>
                <a:lnTo>
                  <a:pt x="208788" y="54863"/>
                </a:lnTo>
                <a:close/>
              </a:path>
              <a:path w="462914" h="144779">
                <a:moveTo>
                  <a:pt x="275082" y="60197"/>
                </a:moveTo>
                <a:lnTo>
                  <a:pt x="236982" y="57149"/>
                </a:lnTo>
                <a:lnTo>
                  <a:pt x="236220" y="67055"/>
                </a:lnTo>
                <a:lnTo>
                  <a:pt x="274320" y="70103"/>
                </a:lnTo>
                <a:lnTo>
                  <a:pt x="275082" y="60197"/>
                </a:lnTo>
                <a:close/>
              </a:path>
              <a:path w="462914" h="144779">
                <a:moveTo>
                  <a:pt x="341376" y="66293"/>
                </a:moveTo>
                <a:lnTo>
                  <a:pt x="304038" y="63245"/>
                </a:lnTo>
                <a:lnTo>
                  <a:pt x="302514" y="72389"/>
                </a:lnTo>
                <a:lnTo>
                  <a:pt x="340614" y="75437"/>
                </a:lnTo>
                <a:lnTo>
                  <a:pt x="341376" y="66293"/>
                </a:lnTo>
                <a:close/>
              </a:path>
              <a:path w="462914" h="144779">
                <a:moveTo>
                  <a:pt x="408432" y="71627"/>
                </a:moveTo>
                <a:lnTo>
                  <a:pt x="370332" y="68579"/>
                </a:lnTo>
                <a:lnTo>
                  <a:pt x="369570" y="77723"/>
                </a:lnTo>
                <a:lnTo>
                  <a:pt x="376222" y="78402"/>
                </a:lnTo>
                <a:lnTo>
                  <a:pt x="407582" y="77148"/>
                </a:lnTo>
                <a:lnTo>
                  <a:pt x="408432" y="71627"/>
                </a:lnTo>
                <a:close/>
              </a:path>
              <a:path w="462914" h="144779">
                <a:moveTo>
                  <a:pt x="412242" y="86867"/>
                </a:moveTo>
                <a:lnTo>
                  <a:pt x="412242" y="76961"/>
                </a:lnTo>
                <a:lnTo>
                  <a:pt x="407582" y="77148"/>
                </a:lnTo>
                <a:lnTo>
                  <a:pt x="406908" y="81533"/>
                </a:lnTo>
                <a:lnTo>
                  <a:pt x="376222" y="78402"/>
                </a:lnTo>
                <a:lnTo>
                  <a:pt x="374142" y="78485"/>
                </a:lnTo>
                <a:lnTo>
                  <a:pt x="374142" y="87629"/>
                </a:lnTo>
                <a:lnTo>
                  <a:pt x="412242" y="86867"/>
                </a:lnTo>
                <a:close/>
              </a:path>
              <a:path w="462914" h="144779">
                <a:moveTo>
                  <a:pt x="407582" y="77148"/>
                </a:moveTo>
                <a:lnTo>
                  <a:pt x="376222" y="78402"/>
                </a:lnTo>
                <a:lnTo>
                  <a:pt x="406908" y="81533"/>
                </a:lnTo>
                <a:lnTo>
                  <a:pt x="407582" y="77148"/>
                </a:lnTo>
                <a:close/>
              </a:path>
              <a:path w="462914" h="144779">
                <a:moveTo>
                  <a:pt x="462534" y="78485"/>
                </a:moveTo>
                <a:lnTo>
                  <a:pt x="460248" y="76199"/>
                </a:lnTo>
                <a:lnTo>
                  <a:pt x="457200" y="76118"/>
                </a:lnTo>
                <a:lnTo>
                  <a:pt x="436626" y="73913"/>
                </a:lnTo>
                <a:lnTo>
                  <a:pt x="435864" y="83819"/>
                </a:lnTo>
                <a:lnTo>
                  <a:pt x="440436" y="84146"/>
                </a:lnTo>
                <a:lnTo>
                  <a:pt x="440436" y="76199"/>
                </a:lnTo>
                <a:lnTo>
                  <a:pt x="457200" y="76199"/>
                </a:lnTo>
                <a:lnTo>
                  <a:pt x="457200" y="85343"/>
                </a:lnTo>
                <a:lnTo>
                  <a:pt x="460248" y="85343"/>
                </a:lnTo>
                <a:lnTo>
                  <a:pt x="461772" y="83057"/>
                </a:lnTo>
                <a:lnTo>
                  <a:pt x="461772" y="80771"/>
                </a:lnTo>
                <a:lnTo>
                  <a:pt x="462534" y="78485"/>
                </a:lnTo>
                <a:close/>
              </a:path>
              <a:path w="462914" h="144779">
                <a:moveTo>
                  <a:pt x="457200" y="85343"/>
                </a:moveTo>
                <a:lnTo>
                  <a:pt x="457200" y="76199"/>
                </a:lnTo>
                <a:lnTo>
                  <a:pt x="440436" y="76199"/>
                </a:lnTo>
                <a:lnTo>
                  <a:pt x="440436" y="84146"/>
                </a:lnTo>
                <a:lnTo>
                  <a:pt x="457200" y="85343"/>
                </a:lnTo>
                <a:close/>
              </a:path>
              <a:path w="462914" h="144779">
                <a:moveTo>
                  <a:pt x="457200" y="85343"/>
                </a:moveTo>
                <a:lnTo>
                  <a:pt x="440436" y="84146"/>
                </a:lnTo>
                <a:lnTo>
                  <a:pt x="440436" y="86105"/>
                </a:lnTo>
                <a:lnTo>
                  <a:pt x="457200" y="85343"/>
                </a:lnTo>
                <a:close/>
              </a:path>
              <a:path w="462914" h="144779">
                <a:moveTo>
                  <a:pt x="345186" y="88391"/>
                </a:moveTo>
                <a:lnTo>
                  <a:pt x="345186" y="79247"/>
                </a:lnTo>
                <a:lnTo>
                  <a:pt x="307086" y="80009"/>
                </a:lnTo>
                <a:lnTo>
                  <a:pt x="307086" y="89915"/>
                </a:lnTo>
                <a:lnTo>
                  <a:pt x="345186" y="88391"/>
                </a:lnTo>
                <a:close/>
              </a:path>
              <a:path w="462914" h="144779">
                <a:moveTo>
                  <a:pt x="278892" y="90677"/>
                </a:moveTo>
                <a:lnTo>
                  <a:pt x="278892" y="80772"/>
                </a:lnTo>
                <a:lnTo>
                  <a:pt x="240792" y="82296"/>
                </a:lnTo>
                <a:lnTo>
                  <a:pt x="240792" y="91439"/>
                </a:lnTo>
                <a:lnTo>
                  <a:pt x="278892" y="90677"/>
                </a:lnTo>
                <a:close/>
              </a:path>
              <a:path w="462914" h="144779">
                <a:moveTo>
                  <a:pt x="211836" y="92201"/>
                </a:moveTo>
                <a:lnTo>
                  <a:pt x="211836" y="83057"/>
                </a:lnTo>
                <a:lnTo>
                  <a:pt x="173736" y="83819"/>
                </a:lnTo>
                <a:lnTo>
                  <a:pt x="173736" y="93725"/>
                </a:lnTo>
                <a:lnTo>
                  <a:pt x="211836" y="92201"/>
                </a:lnTo>
                <a:close/>
              </a:path>
              <a:path w="462914" h="144779">
                <a:moveTo>
                  <a:pt x="145542" y="94488"/>
                </a:moveTo>
                <a:lnTo>
                  <a:pt x="145542" y="84581"/>
                </a:lnTo>
                <a:lnTo>
                  <a:pt x="107442" y="86105"/>
                </a:lnTo>
                <a:lnTo>
                  <a:pt x="107442" y="95249"/>
                </a:lnTo>
                <a:lnTo>
                  <a:pt x="145542" y="94488"/>
                </a:lnTo>
                <a:close/>
              </a:path>
              <a:path w="462914" h="144779">
                <a:moveTo>
                  <a:pt x="79248" y="96012"/>
                </a:moveTo>
                <a:lnTo>
                  <a:pt x="78486" y="86868"/>
                </a:lnTo>
                <a:lnTo>
                  <a:pt x="40386" y="87630"/>
                </a:lnTo>
                <a:lnTo>
                  <a:pt x="41148" y="97536"/>
                </a:lnTo>
                <a:lnTo>
                  <a:pt x="79248" y="96012"/>
                </a:lnTo>
                <a:close/>
              </a:path>
              <a:path w="462914" h="144779">
                <a:moveTo>
                  <a:pt x="25908" y="109728"/>
                </a:moveTo>
                <a:lnTo>
                  <a:pt x="17526" y="105918"/>
                </a:lnTo>
                <a:lnTo>
                  <a:pt x="1524" y="140970"/>
                </a:lnTo>
                <a:lnTo>
                  <a:pt x="10668" y="144780"/>
                </a:lnTo>
                <a:lnTo>
                  <a:pt x="25908" y="10972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5" name="object 33"/>
          <p:cNvSpPr/>
          <p:nvPr/>
        </p:nvSpPr>
        <p:spPr>
          <a:xfrm>
            <a:off x="4807055" y="3521073"/>
            <a:ext cx="155105" cy="423887"/>
          </a:xfrm>
          <a:custGeom>
            <a:avLst/>
            <a:gdLst/>
            <a:ahLst/>
            <a:cxnLst/>
            <a:rect l="l" t="t" r="r" b="b"/>
            <a:pathLst>
              <a:path w="212089" h="915670">
                <a:moveTo>
                  <a:pt x="211836" y="38100"/>
                </a:moveTo>
                <a:lnTo>
                  <a:pt x="211836" y="0"/>
                </a:lnTo>
                <a:lnTo>
                  <a:pt x="201930" y="0"/>
                </a:lnTo>
                <a:lnTo>
                  <a:pt x="201930" y="38100"/>
                </a:lnTo>
                <a:lnTo>
                  <a:pt x="211836" y="38100"/>
                </a:lnTo>
                <a:close/>
              </a:path>
              <a:path w="212089" h="915670">
                <a:moveTo>
                  <a:pt x="211836" y="105155"/>
                </a:moveTo>
                <a:lnTo>
                  <a:pt x="211836" y="67055"/>
                </a:lnTo>
                <a:lnTo>
                  <a:pt x="201930" y="67055"/>
                </a:lnTo>
                <a:lnTo>
                  <a:pt x="201930" y="105155"/>
                </a:lnTo>
                <a:lnTo>
                  <a:pt x="211836" y="105155"/>
                </a:lnTo>
                <a:close/>
              </a:path>
              <a:path w="212089" h="915670">
                <a:moveTo>
                  <a:pt x="211836" y="171450"/>
                </a:moveTo>
                <a:lnTo>
                  <a:pt x="211836" y="133350"/>
                </a:lnTo>
                <a:lnTo>
                  <a:pt x="201930" y="133350"/>
                </a:lnTo>
                <a:lnTo>
                  <a:pt x="201930" y="171450"/>
                </a:lnTo>
                <a:lnTo>
                  <a:pt x="211836" y="171450"/>
                </a:lnTo>
                <a:close/>
              </a:path>
              <a:path w="212089" h="915670">
                <a:moveTo>
                  <a:pt x="203454" y="208025"/>
                </a:moveTo>
                <a:lnTo>
                  <a:pt x="183642" y="225551"/>
                </a:lnTo>
                <a:lnTo>
                  <a:pt x="189737" y="233171"/>
                </a:lnTo>
                <a:lnTo>
                  <a:pt x="201930" y="221917"/>
                </a:lnTo>
                <a:lnTo>
                  <a:pt x="201930" y="211074"/>
                </a:lnTo>
                <a:lnTo>
                  <a:pt x="203454" y="208025"/>
                </a:lnTo>
                <a:close/>
              </a:path>
              <a:path w="212089" h="915670">
                <a:moveTo>
                  <a:pt x="211836" y="212598"/>
                </a:moveTo>
                <a:lnTo>
                  <a:pt x="211836" y="200405"/>
                </a:lnTo>
                <a:lnTo>
                  <a:pt x="201930" y="200405"/>
                </a:lnTo>
                <a:lnTo>
                  <a:pt x="201930" y="209374"/>
                </a:lnTo>
                <a:lnTo>
                  <a:pt x="203454" y="208025"/>
                </a:lnTo>
                <a:lnTo>
                  <a:pt x="203454" y="220511"/>
                </a:lnTo>
                <a:lnTo>
                  <a:pt x="209550" y="214883"/>
                </a:lnTo>
                <a:lnTo>
                  <a:pt x="211074" y="214121"/>
                </a:lnTo>
                <a:lnTo>
                  <a:pt x="211836" y="212598"/>
                </a:lnTo>
                <a:close/>
              </a:path>
              <a:path w="212089" h="915670">
                <a:moveTo>
                  <a:pt x="203454" y="220511"/>
                </a:moveTo>
                <a:lnTo>
                  <a:pt x="203454" y="208025"/>
                </a:lnTo>
                <a:lnTo>
                  <a:pt x="201930" y="211074"/>
                </a:lnTo>
                <a:lnTo>
                  <a:pt x="201930" y="221917"/>
                </a:lnTo>
                <a:lnTo>
                  <a:pt x="203454" y="220511"/>
                </a:lnTo>
                <a:close/>
              </a:path>
              <a:path w="212089" h="915670">
                <a:moveTo>
                  <a:pt x="168401" y="251460"/>
                </a:moveTo>
                <a:lnTo>
                  <a:pt x="162306" y="244601"/>
                </a:lnTo>
                <a:lnTo>
                  <a:pt x="133350" y="269748"/>
                </a:lnTo>
                <a:lnTo>
                  <a:pt x="140208" y="277367"/>
                </a:lnTo>
                <a:lnTo>
                  <a:pt x="168401" y="251460"/>
                </a:lnTo>
                <a:close/>
              </a:path>
              <a:path w="212089" h="915670">
                <a:moveTo>
                  <a:pt x="118872" y="295655"/>
                </a:moveTo>
                <a:lnTo>
                  <a:pt x="112013" y="288798"/>
                </a:lnTo>
                <a:lnTo>
                  <a:pt x="83820" y="313943"/>
                </a:lnTo>
                <a:lnTo>
                  <a:pt x="89915" y="321563"/>
                </a:lnTo>
                <a:lnTo>
                  <a:pt x="118872" y="295655"/>
                </a:lnTo>
                <a:close/>
              </a:path>
              <a:path w="212089" h="915670">
                <a:moveTo>
                  <a:pt x="68580" y="340613"/>
                </a:moveTo>
                <a:lnTo>
                  <a:pt x="62484" y="332993"/>
                </a:lnTo>
                <a:lnTo>
                  <a:pt x="34289" y="358139"/>
                </a:lnTo>
                <a:lnTo>
                  <a:pt x="40386" y="365760"/>
                </a:lnTo>
                <a:lnTo>
                  <a:pt x="68580" y="340613"/>
                </a:lnTo>
                <a:close/>
              </a:path>
              <a:path w="212089" h="915670">
                <a:moveTo>
                  <a:pt x="19050" y="384810"/>
                </a:moveTo>
                <a:lnTo>
                  <a:pt x="12954" y="377189"/>
                </a:lnTo>
                <a:lnTo>
                  <a:pt x="2286" y="387095"/>
                </a:lnTo>
                <a:lnTo>
                  <a:pt x="762" y="387857"/>
                </a:lnTo>
                <a:lnTo>
                  <a:pt x="0" y="389381"/>
                </a:lnTo>
                <a:lnTo>
                  <a:pt x="0" y="390143"/>
                </a:lnTo>
                <a:lnTo>
                  <a:pt x="762" y="414527"/>
                </a:lnTo>
                <a:lnTo>
                  <a:pt x="8382" y="414527"/>
                </a:lnTo>
                <a:lnTo>
                  <a:pt x="8382" y="393953"/>
                </a:lnTo>
                <a:lnTo>
                  <a:pt x="9906" y="390143"/>
                </a:lnTo>
                <a:lnTo>
                  <a:pt x="9906" y="392647"/>
                </a:lnTo>
                <a:lnTo>
                  <a:pt x="19050" y="384810"/>
                </a:lnTo>
                <a:close/>
              </a:path>
              <a:path w="212089" h="915670">
                <a:moveTo>
                  <a:pt x="9906" y="392647"/>
                </a:moveTo>
                <a:lnTo>
                  <a:pt x="9906" y="390143"/>
                </a:lnTo>
                <a:lnTo>
                  <a:pt x="8382" y="393953"/>
                </a:lnTo>
                <a:lnTo>
                  <a:pt x="9906" y="392647"/>
                </a:lnTo>
                <a:close/>
              </a:path>
              <a:path w="212089" h="915670">
                <a:moveTo>
                  <a:pt x="9906" y="414527"/>
                </a:moveTo>
                <a:lnTo>
                  <a:pt x="9906" y="392647"/>
                </a:lnTo>
                <a:lnTo>
                  <a:pt x="8382" y="393953"/>
                </a:lnTo>
                <a:lnTo>
                  <a:pt x="8382" y="414527"/>
                </a:lnTo>
                <a:lnTo>
                  <a:pt x="9906" y="414527"/>
                </a:lnTo>
                <a:close/>
              </a:path>
              <a:path w="212089" h="915670">
                <a:moveTo>
                  <a:pt x="9906" y="480821"/>
                </a:moveTo>
                <a:lnTo>
                  <a:pt x="9906" y="442721"/>
                </a:lnTo>
                <a:lnTo>
                  <a:pt x="762" y="442721"/>
                </a:lnTo>
                <a:lnTo>
                  <a:pt x="762" y="480821"/>
                </a:lnTo>
                <a:lnTo>
                  <a:pt x="9906" y="480821"/>
                </a:lnTo>
                <a:close/>
              </a:path>
              <a:path w="212089" h="915670">
                <a:moveTo>
                  <a:pt x="10668" y="547877"/>
                </a:moveTo>
                <a:lnTo>
                  <a:pt x="10668" y="509777"/>
                </a:lnTo>
                <a:lnTo>
                  <a:pt x="762" y="509777"/>
                </a:lnTo>
                <a:lnTo>
                  <a:pt x="762" y="547877"/>
                </a:lnTo>
                <a:lnTo>
                  <a:pt x="10668" y="547877"/>
                </a:lnTo>
                <a:close/>
              </a:path>
              <a:path w="212089" h="915670">
                <a:moveTo>
                  <a:pt x="10668" y="614171"/>
                </a:moveTo>
                <a:lnTo>
                  <a:pt x="10668" y="576071"/>
                </a:lnTo>
                <a:lnTo>
                  <a:pt x="1524" y="576071"/>
                </a:lnTo>
                <a:lnTo>
                  <a:pt x="1524" y="614171"/>
                </a:lnTo>
                <a:lnTo>
                  <a:pt x="10668" y="614171"/>
                </a:lnTo>
                <a:close/>
              </a:path>
              <a:path w="212089" h="915670">
                <a:moveTo>
                  <a:pt x="11430" y="681227"/>
                </a:moveTo>
                <a:lnTo>
                  <a:pt x="10668" y="643127"/>
                </a:lnTo>
                <a:lnTo>
                  <a:pt x="1524" y="643127"/>
                </a:lnTo>
                <a:lnTo>
                  <a:pt x="1524" y="681227"/>
                </a:lnTo>
                <a:lnTo>
                  <a:pt x="11430" y="681227"/>
                </a:lnTo>
                <a:close/>
              </a:path>
              <a:path w="212089" h="915670">
                <a:moveTo>
                  <a:pt x="11430" y="747521"/>
                </a:moveTo>
                <a:lnTo>
                  <a:pt x="11430" y="709421"/>
                </a:lnTo>
                <a:lnTo>
                  <a:pt x="1524" y="709421"/>
                </a:lnTo>
                <a:lnTo>
                  <a:pt x="2286" y="747521"/>
                </a:lnTo>
                <a:lnTo>
                  <a:pt x="11430" y="747521"/>
                </a:lnTo>
                <a:close/>
              </a:path>
              <a:path w="212089" h="915670">
                <a:moveTo>
                  <a:pt x="11430" y="814577"/>
                </a:moveTo>
                <a:lnTo>
                  <a:pt x="11430" y="776477"/>
                </a:lnTo>
                <a:lnTo>
                  <a:pt x="2286" y="776477"/>
                </a:lnTo>
                <a:lnTo>
                  <a:pt x="2286" y="814577"/>
                </a:lnTo>
                <a:lnTo>
                  <a:pt x="11430" y="814577"/>
                </a:lnTo>
                <a:close/>
              </a:path>
              <a:path w="212089" h="915670">
                <a:moveTo>
                  <a:pt x="12192" y="880871"/>
                </a:moveTo>
                <a:lnTo>
                  <a:pt x="12192" y="842771"/>
                </a:lnTo>
                <a:lnTo>
                  <a:pt x="2286" y="842771"/>
                </a:lnTo>
                <a:lnTo>
                  <a:pt x="2286" y="880871"/>
                </a:lnTo>
                <a:lnTo>
                  <a:pt x="12192" y="880871"/>
                </a:lnTo>
                <a:close/>
              </a:path>
              <a:path w="212089" h="915670">
                <a:moveTo>
                  <a:pt x="12192" y="915162"/>
                </a:moveTo>
                <a:lnTo>
                  <a:pt x="12192" y="909827"/>
                </a:lnTo>
                <a:lnTo>
                  <a:pt x="2286" y="909827"/>
                </a:lnTo>
                <a:lnTo>
                  <a:pt x="3048" y="915162"/>
                </a:lnTo>
                <a:lnTo>
                  <a:pt x="12192" y="91516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6" name="object 34"/>
          <p:cNvSpPr/>
          <p:nvPr/>
        </p:nvSpPr>
        <p:spPr>
          <a:xfrm>
            <a:off x="4809285" y="3061793"/>
            <a:ext cx="488998" cy="426239"/>
          </a:xfrm>
          <a:custGeom>
            <a:avLst/>
            <a:gdLst/>
            <a:ahLst/>
            <a:cxnLst/>
            <a:rect l="l" t="t" r="r" b="b"/>
            <a:pathLst>
              <a:path w="668654" h="920750">
                <a:moveTo>
                  <a:pt x="668274" y="920496"/>
                </a:moveTo>
                <a:lnTo>
                  <a:pt x="660654" y="0"/>
                </a:lnTo>
                <a:lnTo>
                  <a:pt x="6858" y="3048"/>
                </a:lnTo>
                <a:lnTo>
                  <a:pt x="0" y="425196"/>
                </a:lnTo>
                <a:lnTo>
                  <a:pt x="203454" y="637032"/>
                </a:lnTo>
                <a:lnTo>
                  <a:pt x="208026" y="828294"/>
                </a:lnTo>
                <a:lnTo>
                  <a:pt x="217932" y="873252"/>
                </a:lnTo>
                <a:lnTo>
                  <a:pt x="668274" y="920496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7" name="object 35"/>
          <p:cNvSpPr/>
          <p:nvPr/>
        </p:nvSpPr>
        <p:spPr>
          <a:xfrm>
            <a:off x="4812627" y="3491090"/>
            <a:ext cx="483890" cy="445640"/>
          </a:xfrm>
          <a:custGeom>
            <a:avLst/>
            <a:gdLst/>
            <a:ahLst/>
            <a:cxnLst/>
            <a:rect l="l" t="t" r="r" b="b"/>
            <a:pathLst>
              <a:path w="661670" h="962660">
                <a:moveTo>
                  <a:pt x="206502" y="960828"/>
                </a:moveTo>
                <a:lnTo>
                  <a:pt x="206502" y="268985"/>
                </a:lnTo>
                <a:lnTo>
                  <a:pt x="0" y="460247"/>
                </a:lnTo>
                <a:lnTo>
                  <a:pt x="2286" y="960119"/>
                </a:lnTo>
                <a:lnTo>
                  <a:pt x="206502" y="960828"/>
                </a:lnTo>
                <a:close/>
              </a:path>
              <a:path w="661670" h="962660">
                <a:moveTo>
                  <a:pt x="661416" y="962405"/>
                </a:moveTo>
                <a:lnTo>
                  <a:pt x="653796" y="0"/>
                </a:lnTo>
                <a:lnTo>
                  <a:pt x="211074" y="15239"/>
                </a:lnTo>
                <a:lnTo>
                  <a:pt x="203454" y="97535"/>
                </a:lnTo>
                <a:lnTo>
                  <a:pt x="206502" y="268985"/>
                </a:lnTo>
                <a:lnTo>
                  <a:pt x="206502" y="960828"/>
                </a:lnTo>
                <a:lnTo>
                  <a:pt x="661416" y="962405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8" name="object 36"/>
          <p:cNvSpPr/>
          <p:nvPr/>
        </p:nvSpPr>
        <p:spPr>
          <a:xfrm>
            <a:off x="3459593" y="3063204"/>
            <a:ext cx="210831" cy="880697"/>
          </a:xfrm>
          <a:custGeom>
            <a:avLst/>
            <a:gdLst/>
            <a:ahLst/>
            <a:cxnLst/>
            <a:rect l="l" t="t" r="r" b="b"/>
            <a:pathLst>
              <a:path w="288289" h="1902460">
                <a:moveTo>
                  <a:pt x="0" y="0"/>
                </a:moveTo>
                <a:lnTo>
                  <a:pt x="0" y="1901952"/>
                </a:lnTo>
                <a:lnTo>
                  <a:pt x="288035" y="1901952"/>
                </a:lnTo>
                <a:lnTo>
                  <a:pt x="288035" y="0"/>
                </a:lnTo>
                <a:lnTo>
                  <a:pt x="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89" name="object 37"/>
          <p:cNvSpPr/>
          <p:nvPr/>
        </p:nvSpPr>
        <p:spPr>
          <a:xfrm>
            <a:off x="3456249" y="3060735"/>
            <a:ext cx="218262" cy="885107"/>
          </a:xfrm>
          <a:custGeom>
            <a:avLst/>
            <a:gdLst/>
            <a:ahLst/>
            <a:cxnLst/>
            <a:rect l="l" t="t" r="r" b="b"/>
            <a:pathLst>
              <a:path w="298450" h="1911985">
                <a:moveTo>
                  <a:pt x="297941" y="1911858"/>
                </a:moveTo>
                <a:lnTo>
                  <a:pt x="297941" y="0"/>
                </a:lnTo>
                <a:lnTo>
                  <a:pt x="0" y="0"/>
                </a:lnTo>
                <a:lnTo>
                  <a:pt x="0" y="1911858"/>
                </a:lnTo>
                <a:lnTo>
                  <a:pt x="4572" y="1911858"/>
                </a:lnTo>
                <a:lnTo>
                  <a:pt x="4572" y="9905"/>
                </a:lnTo>
                <a:lnTo>
                  <a:pt x="9143" y="5333"/>
                </a:lnTo>
                <a:lnTo>
                  <a:pt x="9143" y="9905"/>
                </a:lnTo>
                <a:lnTo>
                  <a:pt x="288035" y="9905"/>
                </a:lnTo>
                <a:lnTo>
                  <a:pt x="288035" y="5333"/>
                </a:lnTo>
                <a:lnTo>
                  <a:pt x="292607" y="9905"/>
                </a:lnTo>
                <a:lnTo>
                  <a:pt x="292607" y="1911858"/>
                </a:lnTo>
                <a:lnTo>
                  <a:pt x="297941" y="1911858"/>
                </a:lnTo>
                <a:close/>
              </a:path>
              <a:path w="298450" h="1911985">
                <a:moveTo>
                  <a:pt x="9143" y="9905"/>
                </a:moveTo>
                <a:lnTo>
                  <a:pt x="9143" y="5333"/>
                </a:lnTo>
                <a:lnTo>
                  <a:pt x="4572" y="9905"/>
                </a:lnTo>
                <a:lnTo>
                  <a:pt x="9143" y="9905"/>
                </a:lnTo>
                <a:close/>
              </a:path>
              <a:path w="298450" h="1911985">
                <a:moveTo>
                  <a:pt x="9143" y="1901952"/>
                </a:moveTo>
                <a:lnTo>
                  <a:pt x="9143" y="9905"/>
                </a:lnTo>
                <a:lnTo>
                  <a:pt x="4572" y="9905"/>
                </a:lnTo>
                <a:lnTo>
                  <a:pt x="4572" y="1901952"/>
                </a:lnTo>
                <a:lnTo>
                  <a:pt x="9143" y="1901952"/>
                </a:lnTo>
                <a:close/>
              </a:path>
              <a:path w="298450" h="1911985">
                <a:moveTo>
                  <a:pt x="292607" y="1901952"/>
                </a:moveTo>
                <a:lnTo>
                  <a:pt x="4572" y="1901952"/>
                </a:lnTo>
                <a:lnTo>
                  <a:pt x="9143" y="1907286"/>
                </a:lnTo>
                <a:lnTo>
                  <a:pt x="9143" y="1911858"/>
                </a:lnTo>
                <a:lnTo>
                  <a:pt x="288035" y="1911858"/>
                </a:lnTo>
                <a:lnTo>
                  <a:pt x="288035" y="1907286"/>
                </a:lnTo>
                <a:lnTo>
                  <a:pt x="292607" y="1901952"/>
                </a:lnTo>
                <a:close/>
              </a:path>
              <a:path w="298450" h="1911985">
                <a:moveTo>
                  <a:pt x="9143" y="1911858"/>
                </a:moveTo>
                <a:lnTo>
                  <a:pt x="9143" y="1907286"/>
                </a:lnTo>
                <a:lnTo>
                  <a:pt x="4572" y="1901952"/>
                </a:lnTo>
                <a:lnTo>
                  <a:pt x="4572" y="1911858"/>
                </a:lnTo>
                <a:lnTo>
                  <a:pt x="9143" y="1911858"/>
                </a:lnTo>
                <a:close/>
              </a:path>
              <a:path w="298450" h="1911985">
                <a:moveTo>
                  <a:pt x="292607" y="9905"/>
                </a:moveTo>
                <a:lnTo>
                  <a:pt x="288035" y="5333"/>
                </a:lnTo>
                <a:lnTo>
                  <a:pt x="288035" y="9905"/>
                </a:lnTo>
                <a:lnTo>
                  <a:pt x="292607" y="9905"/>
                </a:lnTo>
                <a:close/>
              </a:path>
              <a:path w="298450" h="1911985">
                <a:moveTo>
                  <a:pt x="292607" y="1901952"/>
                </a:moveTo>
                <a:lnTo>
                  <a:pt x="292607" y="9905"/>
                </a:lnTo>
                <a:lnTo>
                  <a:pt x="288035" y="9905"/>
                </a:lnTo>
                <a:lnTo>
                  <a:pt x="288035" y="1901952"/>
                </a:lnTo>
                <a:lnTo>
                  <a:pt x="292607" y="1901952"/>
                </a:lnTo>
                <a:close/>
              </a:path>
              <a:path w="298450" h="1911985">
                <a:moveTo>
                  <a:pt x="292607" y="1911858"/>
                </a:moveTo>
                <a:lnTo>
                  <a:pt x="292607" y="1901952"/>
                </a:lnTo>
                <a:lnTo>
                  <a:pt x="288035" y="1907286"/>
                </a:lnTo>
                <a:lnTo>
                  <a:pt x="288035" y="1911858"/>
                </a:lnTo>
                <a:lnTo>
                  <a:pt x="292607" y="19118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0" name="object 38"/>
          <p:cNvSpPr/>
          <p:nvPr/>
        </p:nvSpPr>
        <p:spPr>
          <a:xfrm>
            <a:off x="3671910" y="3284026"/>
            <a:ext cx="104951" cy="391258"/>
          </a:xfrm>
          <a:custGeom>
            <a:avLst/>
            <a:gdLst/>
            <a:ahLst/>
            <a:cxnLst/>
            <a:rect l="l" t="t" r="r" b="b"/>
            <a:pathLst>
              <a:path w="143510" h="845185">
                <a:moveTo>
                  <a:pt x="143256" y="163830"/>
                </a:moveTo>
                <a:lnTo>
                  <a:pt x="0" y="0"/>
                </a:lnTo>
                <a:lnTo>
                  <a:pt x="0" y="845058"/>
                </a:lnTo>
                <a:lnTo>
                  <a:pt x="134112" y="703326"/>
                </a:lnTo>
                <a:lnTo>
                  <a:pt x="143256" y="16383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1" name="object 39"/>
          <p:cNvSpPr/>
          <p:nvPr/>
        </p:nvSpPr>
        <p:spPr>
          <a:xfrm>
            <a:off x="3668567" y="3281556"/>
            <a:ext cx="111452" cy="396255"/>
          </a:xfrm>
          <a:custGeom>
            <a:avLst/>
            <a:gdLst/>
            <a:ahLst/>
            <a:cxnLst/>
            <a:rect l="l" t="t" r="r" b="b"/>
            <a:pathLst>
              <a:path w="152400" h="855979">
                <a:moveTo>
                  <a:pt x="152400" y="169164"/>
                </a:moveTo>
                <a:lnTo>
                  <a:pt x="152400" y="166878"/>
                </a:lnTo>
                <a:lnTo>
                  <a:pt x="151638" y="166116"/>
                </a:lnTo>
                <a:lnTo>
                  <a:pt x="8382" y="2286"/>
                </a:lnTo>
                <a:lnTo>
                  <a:pt x="6858" y="762"/>
                </a:lnTo>
                <a:lnTo>
                  <a:pt x="5334" y="0"/>
                </a:lnTo>
                <a:lnTo>
                  <a:pt x="3047" y="762"/>
                </a:lnTo>
                <a:lnTo>
                  <a:pt x="1523" y="1524"/>
                </a:lnTo>
                <a:lnTo>
                  <a:pt x="0" y="3048"/>
                </a:lnTo>
                <a:lnTo>
                  <a:pt x="0" y="852678"/>
                </a:lnTo>
                <a:lnTo>
                  <a:pt x="1524" y="854202"/>
                </a:lnTo>
                <a:lnTo>
                  <a:pt x="1524" y="8382"/>
                </a:lnTo>
                <a:lnTo>
                  <a:pt x="9906" y="5334"/>
                </a:lnTo>
                <a:lnTo>
                  <a:pt x="9905" y="18019"/>
                </a:lnTo>
                <a:lnTo>
                  <a:pt x="143219" y="171294"/>
                </a:lnTo>
                <a:lnTo>
                  <a:pt x="143256" y="169164"/>
                </a:lnTo>
                <a:lnTo>
                  <a:pt x="144018" y="172212"/>
                </a:lnTo>
                <a:lnTo>
                  <a:pt x="144018" y="663701"/>
                </a:lnTo>
                <a:lnTo>
                  <a:pt x="152400" y="169164"/>
                </a:lnTo>
                <a:close/>
              </a:path>
              <a:path w="152400" h="855979">
                <a:moveTo>
                  <a:pt x="9906" y="18019"/>
                </a:moveTo>
                <a:lnTo>
                  <a:pt x="9906" y="5334"/>
                </a:lnTo>
                <a:lnTo>
                  <a:pt x="1524" y="8382"/>
                </a:lnTo>
                <a:lnTo>
                  <a:pt x="9906" y="18019"/>
                </a:lnTo>
                <a:close/>
              </a:path>
              <a:path w="152400" h="855979">
                <a:moveTo>
                  <a:pt x="9906" y="838435"/>
                </a:moveTo>
                <a:lnTo>
                  <a:pt x="9906" y="18019"/>
                </a:lnTo>
                <a:lnTo>
                  <a:pt x="1524" y="8382"/>
                </a:lnTo>
                <a:lnTo>
                  <a:pt x="1524" y="847344"/>
                </a:lnTo>
                <a:lnTo>
                  <a:pt x="9906" y="838435"/>
                </a:lnTo>
                <a:close/>
              </a:path>
              <a:path w="152400" h="855979">
                <a:moveTo>
                  <a:pt x="134874" y="719759"/>
                </a:moveTo>
                <a:lnTo>
                  <a:pt x="134874" y="705612"/>
                </a:lnTo>
                <a:lnTo>
                  <a:pt x="134112" y="708660"/>
                </a:lnTo>
                <a:lnTo>
                  <a:pt x="134112" y="706421"/>
                </a:lnTo>
                <a:lnTo>
                  <a:pt x="1524" y="847344"/>
                </a:lnTo>
                <a:lnTo>
                  <a:pt x="9906" y="850392"/>
                </a:lnTo>
                <a:lnTo>
                  <a:pt x="9906" y="852582"/>
                </a:lnTo>
                <a:lnTo>
                  <a:pt x="134112" y="720568"/>
                </a:lnTo>
                <a:lnTo>
                  <a:pt x="134112" y="708660"/>
                </a:lnTo>
                <a:lnTo>
                  <a:pt x="134150" y="706380"/>
                </a:lnTo>
                <a:lnTo>
                  <a:pt x="134150" y="720527"/>
                </a:lnTo>
                <a:lnTo>
                  <a:pt x="134874" y="719759"/>
                </a:lnTo>
                <a:close/>
              </a:path>
              <a:path w="152400" h="855979">
                <a:moveTo>
                  <a:pt x="9906" y="852582"/>
                </a:moveTo>
                <a:lnTo>
                  <a:pt x="9906" y="850392"/>
                </a:lnTo>
                <a:lnTo>
                  <a:pt x="1524" y="847344"/>
                </a:lnTo>
                <a:lnTo>
                  <a:pt x="1524" y="854202"/>
                </a:lnTo>
                <a:lnTo>
                  <a:pt x="3048" y="854964"/>
                </a:lnTo>
                <a:lnTo>
                  <a:pt x="5334" y="855726"/>
                </a:lnTo>
                <a:lnTo>
                  <a:pt x="8382" y="854202"/>
                </a:lnTo>
                <a:lnTo>
                  <a:pt x="9906" y="852582"/>
                </a:lnTo>
                <a:close/>
              </a:path>
              <a:path w="152400" h="855979">
                <a:moveTo>
                  <a:pt x="134874" y="705612"/>
                </a:moveTo>
                <a:lnTo>
                  <a:pt x="134150" y="706380"/>
                </a:lnTo>
                <a:lnTo>
                  <a:pt x="134112" y="708660"/>
                </a:lnTo>
                <a:lnTo>
                  <a:pt x="134874" y="705612"/>
                </a:lnTo>
                <a:close/>
              </a:path>
              <a:path w="152400" h="855979">
                <a:moveTo>
                  <a:pt x="144018" y="663701"/>
                </a:moveTo>
                <a:lnTo>
                  <a:pt x="144018" y="172212"/>
                </a:lnTo>
                <a:lnTo>
                  <a:pt x="143219" y="171294"/>
                </a:lnTo>
                <a:lnTo>
                  <a:pt x="134150" y="706380"/>
                </a:lnTo>
                <a:lnTo>
                  <a:pt x="134874" y="705612"/>
                </a:lnTo>
                <a:lnTo>
                  <a:pt x="134874" y="719759"/>
                </a:lnTo>
                <a:lnTo>
                  <a:pt x="141732" y="712470"/>
                </a:lnTo>
                <a:lnTo>
                  <a:pt x="142494" y="711708"/>
                </a:lnTo>
                <a:lnTo>
                  <a:pt x="143256" y="710184"/>
                </a:lnTo>
                <a:lnTo>
                  <a:pt x="143256" y="708660"/>
                </a:lnTo>
                <a:lnTo>
                  <a:pt x="144018" y="663701"/>
                </a:lnTo>
                <a:close/>
              </a:path>
              <a:path w="152400" h="855979">
                <a:moveTo>
                  <a:pt x="144018" y="172212"/>
                </a:moveTo>
                <a:lnTo>
                  <a:pt x="143256" y="169164"/>
                </a:lnTo>
                <a:lnTo>
                  <a:pt x="143219" y="171294"/>
                </a:lnTo>
                <a:lnTo>
                  <a:pt x="144018" y="17221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2" name="object 40"/>
          <p:cNvSpPr/>
          <p:nvPr/>
        </p:nvSpPr>
        <p:spPr>
          <a:xfrm>
            <a:off x="2711188" y="2935156"/>
            <a:ext cx="391013" cy="1150551"/>
          </a:xfrm>
          <a:custGeom>
            <a:avLst/>
            <a:gdLst/>
            <a:ahLst/>
            <a:cxnLst/>
            <a:rect l="l" t="t" r="r" b="b"/>
            <a:pathLst>
              <a:path w="534669" h="2485390">
                <a:moveTo>
                  <a:pt x="534162" y="2464308"/>
                </a:moveTo>
                <a:lnTo>
                  <a:pt x="122682" y="0"/>
                </a:lnTo>
                <a:lnTo>
                  <a:pt x="0" y="20574"/>
                </a:lnTo>
                <a:lnTo>
                  <a:pt x="412242" y="2484882"/>
                </a:lnTo>
                <a:lnTo>
                  <a:pt x="534162" y="2464308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3" name="object 41"/>
          <p:cNvSpPr/>
          <p:nvPr/>
        </p:nvSpPr>
        <p:spPr>
          <a:xfrm>
            <a:off x="2706731" y="2932687"/>
            <a:ext cx="399836" cy="1155254"/>
          </a:xfrm>
          <a:custGeom>
            <a:avLst/>
            <a:gdLst/>
            <a:ahLst/>
            <a:cxnLst/>
            <a:rect l="l" t="t" r="r" b="b"/>
            <a:pathLst>
              <a:path w="546735" h="2495550">
                <a:moveTo>
                  <a:pt x="546354" y="2473452"/>
                </a:moveTo>
                <a:lnTo>
                  <a:pt x="132588" y="0"/>
                </a:lnTo>
                <a:lnTo>
                  <a:pt x="0" y="21336"/>
                </a:lnTo>
                <a:lnTo>
                  <a:pt x="6857" y="62345"/>
                </a:lnTo>
                <a:lnTo>
                  <a:pt x="6858" y="30480"/>
                </a:lnTo>
                <a:lnTo>
                  <a:pt x="10668" y="25146"/>
                </a:lnTo>
                <a:lnTo>
                  <a:pt x="11431" y="29712"/>
                </a:lnTo>
                <a:lnTo>
                  <a:pt x="123444" y="10928"/>
                </a:lnTo>
                <a:lnTo>
                  <a:pt x="123444" y="6096"/>
                </a:lnTo>
                <a:lnTo>
                  <a:pt x="129539" y="9906"/>
                </a:lnTo>
                <a:lnTo>
                  <a:pt x="129539" y="42536"/>
                </a:lnTo>
                <a:lnTo>
                  <a:pt x="534918" y="2465813"/>
                </a:lnTo>
                <a:lnTo>
                  <a:pt x="539496" y="2465070"/>
                </a:lnTo>
                <a:lnTo>
                  <a:pt x="539496" y="2474595"/>
                </a:lnTo>
                <a:lnTo>
                  <a:pt x="546354" y="2473452"/>
                </a:lnTo>
                <a:close/>
              </a:path>
              <a:path w="546735" h="2495550">
                <a:moveTo>
                  <a:pt x="11431" y="29712"/>
                </a:moveTo>
                <a:lnTo>
                  <a:pt x="10668" y="25146"/>
                </a:lnTo>
                <a:lnTo>
                  <a:pt x="6858" y="30480"/>
                </a:lnTo>
                <a:lnTo>
                  <a:pt x="11431" y="29712"/>
                </a:lnTo>
                <a:close/>
              </a:path>
              <a:path w="546735" h="2495550">
                <a:moveTo>
                  <a:pt x="422024" y="2484159"/>
                </a:moveTo>
                <a:lnTo>
                  <a:pt x="11431" y="29712"/>
                </a:lnTo>
                <a:lnTo>
                  <a:pt x="6858" y="30480"/>
                </a:lnTo>
                <a:lnTo>
                  <a:pt x="6857" y="62345"/>
                </a:lnTo>
                <a:lnTo>
                  <a:pt x="413766" y="2495550"/>
                </a:lnTo>
                <a:lnTo>
                  <a:pt x="417576" y="2494915"/>
                </a:lnTo>
                <a:lnTo>
                  <a:pt x="417576" y="2484882"/>
                </a:lnTo>
                <a:lnTo>
                  <a:pt x="422024" y="2484159"/>
                </a:lnTo>
                <a:close/>
              </a:path>
              <a:path w="546735" h="2495550">
                <a:moveTo>
                  <a:pt x="129539" y="9906"/>
                </a:moveTo>
                <a:lnTo>
                  <a:pt x="123444" y="6096"/>
                </a:lnTo>
                <a:lnTo>
                  <a:pt x="124230" y="10796"/>
                </a:lnTo>
                <a:lnTo>
                  <a:pt x="129539" y="9906"/>
                </a:lnTo>
                <a:close/>
              </a:path>
              <a:path w="546735" h="2495550">
                <a:moveTo>
                  <a:pt x="124230" y="10796"/>
                </a:moveTo>
                <a:lnTo>
                  <a:pt x="123444" y="6096"/>
                </a:lnTo>
                <a:lnTo>
                  <a:pt x="123444" y="10928"/>
                </a:lnTo>
                <a:lnTo>
                  <a:pt x="124230" y="10796"/>
                </a:lnTo>
                <a:close/>
              </a:path>
              <a:path w="546735" h="2495550">
                <a:moveTo>
                  <a:pt x="129539" y="42536"/>
                </a:moveTo>
                <a:lnTo>
                  <a:pt x="129539" y="9906"/>
                </a:lnTo>
                <a:lnTo>
                  <a:pt x="124230" y="10796"/>
                </a:lnTo>
                <a:lnTo>
                  <a:pt x="129539" y="42536"/>
                </a:lnTo>
                <a:close/>
              </a:path>
              <a:path w="546735" h="2495550">
                <a:moveTo>
                  <a:pt x="422910" y="2489454"/>
                </a:moveTo>
                <a:lnTo>
                  <a:pt x="422024" y="2484159"/>
                </a:lnTo>
                <a:lnTo>
                  <a:pt x="417576" y="2484882"/>
                </a:lnTo>
                <a:lnTo>
                  <a:pt x="422910" y="2489454"/>
                </a:lnTo>
                <a:close/>
              </a:path>
              <a:path w="546735" h="2495550">
                <a:moveTo>
                  <a:pt x="422910" y="2494026"/>
                </a:moveTo>
                <a:lnTo>
                  <a:pt x="422910" y="2489454"/>
                </a:lnTo>
                <a:lnTo>
                  <a:pt x="417576" y="2484882"/>
                </a:lnTo>
                <a:lnTo>
                  <a:pt x="417576" y="2494915"/>
                </a:lnTo>
                <a:lnTo>
                  <a:pt x="422910" y="2494026"/>
                </a:lnTo>
                <a:close/>
              </a:path>
              <a:path w="546735" h="2495550">
                <a:moveTo>
                  <a:pt x="539496" y="2474595"/>
                </a:moveTo>
                <a:lnTo>
                  <a:pt x="539496" y="2465070"/>
                </a:lnTo>
                <a:lnTo>
                  <a:pt x="535686" y="2470404"/>
                </a:lnTo>
                <a:lnTo>
                  <a:pt x="534918" y="2465813"/>
                </a:lnTo>
                <a:lnTo>
                  <a:pt x="422024" y="2484159"/>
                </a:lnTo>
                <a:lnTo>
                  <a:pt x="422910" y="2489454"/>
                </a:lnTo>
                <a:lnTo>
                  <a:pt x="422910" y="2494026"/>
                </a:lnTo>
                <a:lnTo>
                  <a:pt x="539496" y="2474595"/>
                </a:lnTo>
                <a:close/>
              </a:path>
              <a:path w="546735" h="2495550">
                <a:moveTo>
                  <a:pt x="539496" y="2465070"/>
                </a:moveTo>
                <a:lnTo>
                  <a:pt x="534918" y="2465813"/>
                </a:lnTo>
                <a:lnTo>
                  <a:pt x="535686" y="2470404"/>
                </a:lnTo>
                <a:lnTo>
                  <a:pt x="539496" y="246507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4" name="object 42"/>
          <p:cNvSpPr/>
          <p:nvPr/>
        </p:nvSpPr>
        <p:spPr>
          <a:xfrm>
            <a:off x="2697257" y="2870251"/>
            <a:ext cx="586984" cy="614666"/>
          </a:xfrm>
          <a:custGeom>
            <a:avLst/>
            <a:gdLst/>
            <a:ahLst/>
            <a:cxnLst/>
            <a:rect l="l" t="t" r="r" b="b"/>
            <a:pathLst>
              <a:path w="802639" h="1327785">
                <a:moveTo>
                  <a:pt x="802386" y="1216914"/>
                </a:moveTo>
                <a:lnTo>
                  <a:pt x="240792" y="0"/>
                </a:lnTo>
                <a:lnTo>
                  <a:pt x="0" y="111251"/>
                </a:lnTo>
                <a:lnTo>
                  <a:pt x="561594" y="1327404"/>
                </a:lnTo>
                <a:lnTo>
                  <a:pt x="802386" y="1216914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5" name="object 43"/>
          <p:cNvSpPr/>
          <p:nvPr/>
        </p:nvSpPr>
        <p:spPr>
          <a:xfrm>
            <a:off x="2692799" y="2867429"/>
            <a:ext cx="595807" cy="620545"/>
          </a:xfrm>
          <a:custGeom>
            <a:avLst/>
            <a:gdLst/>
            <a:ahLst/>
            <a:cxnLst/>
            <a:rect l="l" t="t" r="r" b="b"/>
            <a:pathLst>
              <a:path w="814705" h="1340485">
                <a:moveTo>
                  <a:pt x="814578" y="1225296"/>
                </a:moveTo>
                <a:lnTo>
                  <a:pt x="249174" y="0"/>
                </a:lnTo>
                <a:lnTo>
                  <a:pt x="0" y="115062"/>
                </a:lnTo>
                <a:lnTo>
                  <a:pt x="7620" y="131575"/>
                </a:lnTo>
                <a:lnTo>
                  <a:pt x="7620" y="121920"/>
                </a:lnTo>
                <a:lnTo>
                  <a:pt x="10668" y="115062"/>
                </a:lnTo>
                <a:lnTo>
                  <a:pt x="12740" y="119553"/>
                </a:lnTo>
                <a:lnTo>
                  <a:pt x="242315" y="13484"/>
                </a:lnTo>
                <a:lnTo>
                  <a:pt x="242315" y="8382"/>
                </a:lnTo>
                <a:lnTo>
                  <a:pt x="248411" y="10667"/>
                </a:lnTo>
                <a:lnTo>
                  <a:pt x="248412" y="21583"/>
                </a:lnTo>
                <a:lnTo>
                  <a:pt x="801994" y="1220385"/>
                </a:lnTo>
                <a:lnTo>
                  <a:pt x="806196" y="1218438"/>
                </a:lnTo>
                <a:lnTo>
                  <a:pt x="806196" y="1229166"/>
                </a:lnTo>
                <a:lnTo>
                  <a:pt x="814578" y="1225296"/>
                </a:lnTo>
                <a:close/>
              </a:path>
              <a:path w="814705" h="1340485">
                <a:moveTo>
                  <a:pt x="12740" y="119553"/>
                </a:moveTo>
                <a:lnTo>
                  <a:pt x="10668" y="115062"/>
                </a:lnTo>
                <a:lnTo>
                  <a:pt x="7620" y="121920"/>
                </a:lnTo>
                <a:lnTo>
                  <a:pt x="12740" y="119553"/>
                </a:lnTo>
                <a:close/>
              </a:path>
              <a:path w="814705" h="1340485">
                <a:moveTo>
                  <a:pt x="570318" y="1327765"/>
                </a:moveTo>
                <a:lnTo>
                  <a:pt x="12740" y="119553"/>
                </a:lnTo>
                <a:lnTo>
                  <a:pt x="7620" y="121920"/>
                </a:lnTo>
                <a:lnTo>
                  <a:pt x="7620" y="131575"/>
                </a:lnTo>
                <a:lnTo>
                  <a:pt x="565404" y="1340358"/>
                </a:lnTo>
                <a:lnTo>
                  <a:pt x="566166" y="1340006"/>
                </a:lnTo>
                <a:lnTo>
                  <a:pt x="566166" y="1329690"/>
                </a:lnTo>
                <a:lnTo>
                  <a:pt x="570318" y="1327765"/>
                </a:lnTo>
                <a:close/>
              </a:path>
              <a:path w="814705" h="1340485">
                <a:moveTo>
                  <a:pt x="248411" y="10667"/>
                </a:moveTo>
                <a:lnTo>
                  <a:pt x="242315" y="8382"/>
                </a:lnTo>
                <a:lnTo>
                  <a:pt x="244257" y="12587"/>
                </a:lnTo>
                <a:lnTo>
                  <a:pt x="248411" y="10667"/>
                </a:lnTo>
                <a:close/>
              </a:path>
              <a:path w="814705" h="1340485">
                <a:moveTo>
                  <a:pt x="244257" y="12587"/>
                </a:moveTo>
                <a:lnTo>
                  <a:pt x="242315" y="8382"/>
                </a:lnTo>
                <a:lnTo>
                  <a:pt x="242315" y="13484"/>
                </a:lnTo>
                <a:lnTo>
                  <a:pt x="244257" y="12587"/>
                </a:lnTo>
                <a:close/>
              </a:path>
              <a:path w="814705" h="1340485">
                <a:moveTo>
                  <a:pt x="248412" y="21583"/>
                </a:moveTo>
                <a:lnTo>
                  <a:pt x="248411" y="10667"/>
                </a:lnTo>
                <a:lnTo>
                  <a:pt x="244257" y="12587"/>
                </a:lnTo>
                <a:lnTo>
                  <a:pt x="248412" y="21583"/>
                </a:lnTo>
                <a:close/>
              </a:path>
              <a:path w="814705" h="1340485">
                <a:moveTo>
                  <a:pt x="572262" y="1331976"/>
                </a:moveTo>
                <a:lnTo>
                  <a:pt x="570318" y="1327765"/>
                </a:lnTo>
                <a:lnTo>
                  <a:pt x="566166" y="1329690"/>
                </a:lnTo>
                <a:lnTo>
                  <a:pt x="572262" y="1331976"/>
                </a:lnTo>
                <a:close/>
              </a:path>
              <a:path w="814705" h="1340485">
                <a:moveTo>
                  <a:pt x="572262" y="1337191"/>
                </a:moveTo>
                <a:lnTo>
                  <a:pt x="572262" y="1331976"/>
                </a:lnTo>
                <a:lnTo>
                  <a:pt x="566166" y="1329690"/>
                </a:lnTo>
                <a:lnTo>
                  <a:pt x="566166" y="1340006"/>
                </a:lnTo>
                <a:lnTo>
                  <a:pt x="572262" y="1337191"/>
                </a:lnTo>
                <a:close/>
              </a:path>
              <a:path w="814705" h="1340485">
                <a:moveTo>
                  <a:pt x="806196" y="1229166"/>
                </a:moveTo>
                <a:lnTo>
                  <a:pt x="806196" y="1218438"/>
                </a:lnTo>
                <a:lnTo>
                  <a:pt x="803910" y="1224534"/>
                </a:lnTo>
                <a:lnTo>
                  <a:pt x="801994" y="1220385"/>
                </a:lnTo>
                <a:lnTo>
                  <a:pt x="570318" y="1327765"/>
                </a:lnTo>
                <a:lnTo>
                  <a:pt x="572262" y="1331976"/>
                </a:lnTo>
                <a:lnTo>
                  <a:pt x="572262" y="1337191"/>
                </a:lnTo>
                <a:lnTo>
                  <a:pt x="806196" y="1229166"/>
                </a:lnTo>
                <a:close/>
              </a:path>
              <a:path w="814705" h="1340485">
                <a:moveTo>
                  <a:pt x="806196" y="1218438"/>
                </a:moveTo>
                <a:lnTo>
                  <a:pt x="801994" y="1220385"/>
                </a:lnTo>
                <a:lnTo>
                  <a:pt x="803910" y="1224534"/>
                </a:lnTo>
                <a:lnTo>
                  <a:pt x="806196" y="121843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6" name="object 44"/>
          <p:cNvSpPr/>
          <p:nvPr/>
        </p:nvSpPr>
        <p:spPr>
          <a:xfrm>
            <a:off x="3107960" y="3422303"/>
            <a:ext cx="211296" cy="163440"/>
          </a:xfrm>
          <a:custGeom>
            <a:avLst/>
            <a:gdLst/>
            <a:ahLst/>
            <a:cxnLst/>
            <a:rect l="l" t="t" r="r" b="b"/>
            <a:pathLst>
              <a:path w="288925" h="353060">
                <a:moveTo>
                  <a:pt x="288798" y="96774"/>
                </a:moveTo>
                <a:lnTo>
                  <a:pt x="236982" y="37338"/>
                </a:lnTo>
                <a:lnTo>
                  <a:pt x="84581" y="0"/>
                </a:lnTo>
                <a:lnTo>
                  <a:pt x="19049" y="69342"/>
                </a:lnTo>
                <a:lnTo>
                  <a:pt x="0" y="153924"/>
                </a:lnTo>
                <a:lnTo>
                  <a:pt x="47244" y="193548"/>
                </a:lnTo>
                <a:lnTo>
                  <a:pt x="67818" y="228600"/>
                </a:lnTo>
                <a:lnTo>
                  <a:pt x="105918" y="236220"/>
                </a:lnTo>
                <a:lnTo>
                  <a:pt x="152400" y="228600"/>
                </a:lnTo>
                <a:lnTo>
                  <a:pt x="230124" y="313182"/>
                </a:lnTo>
                <a:lnTo>
                  <a:pt x="283464" y="352806"/>
                </a:lnTo>
                <a:lnTo>
                  <a:pt x="288798" y="96774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7" name="object 45"/>
          <p:cNvSpPr/>
          <p:nvPr/>
        </p:nvSpPr>
        <p:spPr>
          <a:xfrm>
            <a:off x="3303559" y="2942211"/>
            <a:ext cx="156034" cy="1147494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8" name="object 46"/>
          <p:cNvSpPr/>
          <p:nvPr/>
        </p:nvSpPr>
        <p:spPr>
          <a:xfrm>
            <a:off x="3300216" y="2940095"/>
            <a:ext cx="162999" cy="1151727"/>
          </a:xfrm>
          <a:custGeom>
            <a:avLst/>
            <a:gdLst/>
            <a:ahLst/>
            <a:cxnLst/>
            <a:rect l="l" t="t" r="r" b="b"/>
            <a:pathLst>
              <a:path w="222885" h="2487929">
                <a:moveTo>
                  <a:pt x="222504" y="2487930"/>
                </a:moveTo>
                <a:lnTo>
                  <a:pt x="222504" y="0"/>
                </a:lnTo>
                <a:lnTo>
                  <a:pt x="0" y="0"/>
                </a:lnTo>
                <a:lnTo>
                  <a:pt x="0" y="2487930"/>
                </a:lnTo>
                <a:lnTo>
                  <a:pt x="4572" y="2487930"/>
                </a:lnTo>
                <a:lnTo>
                  <a:pt x="4571" y="9144"/>
                </a:lnTo>
                <a:lnTo>
                  <a:pt x="9143" y="4572"/>
                </a:lnTo>
                <a:lnTo>
                  <a:pt x="9143" y="9144"/>
                </a:lnTo>
                <a:lnTo>
                  <a:pt x="213359" y="9143"/>
                </a:lnTo>
                <a:lnTo>
                  <a:pt x="213359" y="4572"/>
                </a:lnTo>
                <a:lnTo>
                  <a:pt x="217931" y="9143"/>
                </a:lnTo>
                <a:lnTo>
                  <a:pt x="217932" y="2487930"/>
                </a:lnTo>
                <a:lnTo>
                  <a:pt x="222504" y="2487930"/>
                </a:lnTo>
                <a:close/>
              </a:path>
              <a:path w="222885" h="2487929">
                <a:moveTo>
                  <a:pt x="9143" y="9144"/>
                </a:moveTo>
                <a:lnTo>
                  <a:pt x="9143" y="4572"/>
                </a:lnTo>
                <a:lnTo>
                  <a:pt x="4571" y="9144"/>
                </a:lnTo>
                <a:lnTo>
                  <a:pt x="9143" y="9144"/>
                </a:lnTo>
                <a:close/>
              </a:path>
              <a:path w="222885" h="2487929">
                <a:moveTo>
                  <a:pt x="9144" y="2478786"/>
                </a:moveTo>
                <a:lnTo>
                  <a:pt x="9143" y="9144"/>
                </a:lnTo>
                <a:lnTo>
                  <a:pt x="4571" y="9144"/>
                </a:lnTo>
                <a:lnTo>
                  <a:pt x="4572" y="2478786"/>
                </a:lnTo>
                <a:lnTo>
                  <a:pt x="9144" y="2478786"/>
                </a:lnTo>
                <a:close/>
              </a:path>
              <a:path w="222885" h="2487929">
                <a:moveTo>
                  <a:pt x="217932" y="2478786"/>
                </a:moveTo>
                <a:lnTo>
                  <a:pt x="4572" y="2478786"/>
                </a:lnTo>
                <a:lnTo>
                  <a:pt x="9144" y="2483358"/>
                </a:lnTo>
                <a:lnTo>
                  <a:pt x="9144" y="2487930"/>
                </a:lnTo>
                <a:lnTo>
                  <a:pt x="213360" y="2487930"/>
                </a:lnTo>
                <a:lnTo>
                  <a:pt x="213360" y="2483358"/>
                </a:lnTo>
                <a:lnTo>
                  <a:pt x="217932" y="2478786"/>
                </a:lnTo>
                <a:close/>
              </a:path>
              <a:path w="222885" h="2487929">
                <a:moveTo>
                  <a:pt x="9144" y="2487930"/>
                </a:moveTo>
                <a:lnTo>
                  <a:pt x="9144" y="2483358"/>
                </a:lnTo>
                <a:lnTo>
                  <a:pt x="4572" y="2478786"/>
                </a:lnTo>
                <a:lnTo>
                  <a:pt x="4572" y="2487930"/>
                </a:lnTo>
                <a:lnTo>
                  <a:pt x="9144" y="2487930"/>
                </a:lnTo>
                <a:close/>
              </a:path>
              <a:path w="222885" h="2487929">
                <a:moveTo>
                  <a:pt x="217931" y="9143"/>
                </a:moveTo>
                <a:lnTo>
                  <a:pt x="213359" y="4572"/>
                </a:lnTo>
                <a:lnTo>
                  <a:pt x="213359" y="9143"/>
                </a:lnTo>
                <a:lnTo>
                  <a:pt x="217931" y="9143"/>
                </a:lnTo>
                <a:close/>
              </a:path>
              <a:path w="222885" h="2487929">
                <a:moveTo>
                  <a:pt x="217932" y="2478786"/>
                </a:moveTo>
                <a:lnTo>
                  <a:pt x="217931" y="9143"/>
                </a:lnTo>
                <a:lnTo>
                  <a:pt x="213359" y="9143"/>
                </a:lnTo>
                <a:lnTo>
                  <a:pt x="213360" y="2478786"/>
                </a:lnTo>
                <a:lnTo>
                  <a:pt x="217932" y="2478786"/>
                </a:lnTo>
                <a:close/>
              </a:path>
              <a:path w="222885" h="2487929">
                <a:moveTo>
                  <a:pt x="217932" y="2487930"/>
                </a:moveTo>
                <a:lnTo>
                  <a:pt x="217932" y="2478786"/>
                </a:lnTo>
                <a:lnTo>
                  <a:pt x="213360" y="2483358"/>
                </a:lnTo>
                <a:lnTo>
                  <a:pt x="213360" y="2487930"/>
                </a:lnTo>
                <a:lnTo>
                  <a:pt x="217932" y="24879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199" name="object 47"/>
          <p:cNvSpPr/>
          <p:nvPr/>
        </p:nvSpPr>
        <p:spPr>
          <a:xfrm>
            <a:off x="3253406" y="3429358"/>
            <a:ext cx="52011" cy="23517"/>
          </a:xfrm>
          <a:custGeom>
            <a:avLst/>
            <a:gdLst/>
            <a:ahLst/>
            <a:cxnLst/>
            <a:rect l="l" t="t" r="r" b="b"/>
            <a:pathLst>
              <a:path w="71119" h="50800">
                <a:moveTo>
                  <a:pt x="70865" y="42671"/>
                </a:moveTo>
                <a:lnTo>
                  <a:pt x="5333" y="0"/>
                </a:lnTo>
                <a:lnTo>
                  <a:pt x="0" y="8381"/>
                </a:lnTo>
                <a:lnTo>
                  <a:pt x="66293" y="50291"/>
                </a:lnTo>
                <a:lnTo>
                  <a:pt x="70865" y="426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0" name="object 48"/>
          <p:cNvSpPr/>
          <p:nvPr/>
        </p:nvSpPr>
        <p:spPr>
          <a:xfrm>
            <a:off x="3205480" y="3527422"/>
            <a:ext cx="100307" cy="55558"/>
          </a:xfrm>
          <a:custGeom>
            <a:avLst/>
            <a:gdLst/>
            <a:ahLst/>
            <a:cxnLst/>
            <a:rect l="l" t="t" r="r" b="b"/>
            <a:pathLst>
              <a:path w="137160" h="120014">
                <a:moveTo>
                  <a:pt x="137159" y="112014"/>
                </a:moveTo>
                <a:lnTo>
                  <a:pt x="6095" y="0"/>
                </a:lnTo>
                <a:lnTo>
                  <a:pt x="0" y="7620"/>
                </a:lnTo>
                <a:lnTo>
                  <a:pt x="131063" y="119634"/>
                </a:lnTo>
                <a:lnTo>
                  <a:pt x="137159" y="11201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1" name="object 49"/>
          <p:cNvSpPr/>
          <p:nvPr/>
        </p:nvSpPr>
        <p:spPr>
          <a:xfrm>
            <a:off x="3086631" y="3389416"/>
            <a:ext cx="174144" cy="141981"/>
          </a:xfrm>
          <a:custGeom>
            <a:avLst/>
            <a:gdLst/>
            <a:ahLst/>
            <a:cxnLst/>
            <a:rect l="l" t="t" r="r" b="b"/>
            <a:pathLst>
              <a:path w="238125" h="306704">
                <a:moveTo>
                  <a:pt x="237953" y="79425"/>
                </a:moveTo>
                <a:lnTo>
                  <a:pt x="237191" y="77901"/>
                </a:lnTo>
                <a:lnTo>
                  <a:pt x="237191" y="75615"/>
                </a:lnTo>
                <a:lnTo>
                  <a:pt x="236429" y="73329"/>
                </a:lnTo>
                <a:lnTo>
                  <a:pt x="214445" y="25937"/>
                </a:lnTo>
                <a:lnTo>
                  <a:pt x="165563" y="4749"/>
                </a:lnTo>
                <a:lnTo>
                  <a:pt x="122145" y="39"/>
                </a:lnTo>
                <a:lnTo>
                  <a:pt x="120541" y="0"/>
                </a:lnTo>
                <a:lnTo>
                  <a:pt x="84929" y="7020"/>
                </a:lnTo>
                <a:lnTo>
                  <a:pt x="30689" y="40563"/>
                </a:lnTo>
                <a:lnTo>
                  <a:pt x="10115" y="78663"/>
                </a:lnTo>
                <a:lnTo>
                  <a:pt x="0" y="156534"/>
                </a:lnTo>
                <a:lnTo>
                  <a:pt x="7108" y="199083"/>
                </a:lnTo>
                <a:lnTo>
                  <a:pt x="9310" y="204602"/>
                </a:lnTo>
                <a:lnTo>
                  <a:pt x="9310" y="156382"/>
                </a:lnTo>
                <a:lnTo>
                  <a:pt x="9936" y="116743"/>
                </a:lnTo>
                <a:lnTo>
                  <a:pt x="27641" y="62661"/>
                </a:lnTo>
                <a:lnTo>
                  <a:pt x="57729" y="28874"/>
                </a:lnTo>
                <a:lnTo>
                  <a:pt x="122145" y="9044"/>
                </a:lnTo>
                <a:lnTo>
                  <a:pt x="148037" y="10845"/>
                </a:lnTo>
                <a:lnTo>
                  <a:pt x="190700" y="22722"/>
                </a:lnTo>
                <a:lnTo>
                  <a:pt x="218843" y="48783"/>
                </a:lnTo>
                <a:lnTo>
                  <a:pt x="227285" y="75615"/>
                </a:lnTo>
                <a:lnTo>
                  <a:pt x="228047" y="77901"/>
                </a:lnTo>
                <a:lnTo>
                  <a:pt x="228047" y="80187"/>
                </a:lnTo>
                <a:lnTo>
                  <a:pt x="228809" y="81711"/>
                </a:lnTo>
                <a:lnTo>
                  <a:pt x="237953" y="79425"/>
                </a:lnTo>
                <a:close/>
              </a:path>
              <a:path w="238125" h="306704">
                <a:moveTo>
                  <a:pt x="163277" y="297357"/>
                </a:moveTo>
                <a:lnTo>
                  <a:pt x="159467" y="296595"/>
                </a:lnTo>
                <a:lnTo>
                  <a:pt x="154133" y="295071"/>
                </a:lnTo>
                <a:lnTo>
                  <a:pt x="148799" y="294309"/>
                </a:lnTo>
                <a:lnTo>
                  <a:pt x="89573" y="274411"/>
                </a:lnTo>
                <a:lnTo>
                  <a:pt x="38309" y="240969"/>
                </a:lnTo>
                <a:lnTo>
                  <a:pt x="15945" y="195642"/>
                </a:lnTo>
                <a:lnTo>
                  <a:pt x="9310" y="156382"/>
                </a:lnTo>
                <a:lnTo>
                  <a:pt x="9310" y="204602"/>
                </a:lnTo>
                <a:lnTo>
                  <a:pt x="25355" y="240207"/>
                </a:lnTo>
                <a:lnTo>
                  <a:pt x="56265" y="267359"/>
                </a:lnTo>
                <a:lnTo>
                  <a:pt x="115691" y="295046"/>
                </a:lnTo>
                <a:lnTo>
                  <a:pt x="147275" y="303453"/>
                </a:lnTo>
                <a:lnTo>
                  <a:pt x="152609" y="304977"/>
                </a:lnTo>
                <a:lnTo>
                  <a:pt x="157181" y="305739"/>
                </a:lnTo>
                <a:lnTo>
                  <a:pt x="160991" y="306501"/>
                </a:lnTo>
                <a:lnTo>
                  <a:pt x="163277" y="2973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2" name="object 50"/>
          <p:cNvSpPr/>
          <p:nvPr/>
        </p:nvSpPr>
        <p:spPr>
          <a:xfrm>
            <a:off x="3155884" y="3452662"/>
            <a:ext cx="54054" cy="37411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3" name="object 51"/>
          <p:cNvSpPr/>
          <p:nvPr/>
        </p:nvSpPr>
        <p:spPr>
          <a:xfrm>
            <a:off x="2289341" y="2902350"/>
            <a:ext cx="583269" cy="615254"/>
          </a:xfrm>
          <a:custGeom>
            <a:avLst/>
            <a:gdLst/>
            <a:ahLst/>
            <a:cxnLst/>
            <a:rect l="l" t="t" r="r" b="b"/>
            <a:pathLst>
              <a:path w="797560" h="1329054">
                <a:moveTo>
                  <a:pt x="797051" y="109727"/>
                </a:moveTo>
                <a:lnTo>
                  <a:pt x="556259" y="0"/>
                </a:lnTo>
                <a:lnTo>
                  <a:pt x="0" y="1218438"/>
                </a:lnTo>
                <a:lnTo>
                  <a:pt x="240791" y="1328928"/>
                </a:lnTo>
                <a:lnTo>
                  <a:pt x="797051" y="109727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4" name="object 52"/>
          <p:cNvSpPr/>
          <p:nvPr/>
        </p:nvSpPr>
        <p:spPr>
          <a:xfrm>
            <a:off x="2284325" y="2899175"/>
            <a:ext cx="592556" cy="621427"/>
          </a:xfrm>
          <a:custGeom>
            <a:avLst/>
            <a:gdLst/>
            <a:ahLst/>
            <a:cxnLst/>
            <a:rect l="l" t="t" r="r" b="b"/>
            <a:pathLst>
              <a:path w="810260" h="1342389">
                <a:moveTo>
                  <a:pt x="810006" y="114299"/>
                </a:moveTo>
                <a:lnTo>
                  <a:pt x="560832" y="0"/>
                </a:lnTo>
                <a:lnTo>
                  <a:pt x="0" y="1227582"/>
                </a:lnTo>
                <a:lnTo>
                  <a:pt x="8382" y="1231415"/>
                </a:lnTo>
                <a:lnTo>
                  <a:pt x="8382" y="1221486"/>
                </a:lnTo>
                <a:lnTo>
                  <a:pt x="12579" y="1223392"/>
                </a:lnTo>
                <a:lnTo>
                  <a:pt x="560832" y="21743"/>
                </a:lnTo>
                <a:lnTo>
                  <a:pt x="560832" y="10668"/>
                </a:lnTo>
                <a:lnTo>
                  <a:pt x="566927" y="8382"/>
                </a:lnTo>
                <a:lnTo>
                  <a:pt x="566928" y="13456"/>
                </a:lnTo>
                <a:lnTo>
                  <a:pt x="797275" y="118820"/>
                </a:lnTo>
                <a:lnTo>
                  <a:pt x="799338" y="114299"/>
                </a:lnTo>
                <a:lnTo>
                  <a:pt x="802385" y="121157"/>
                </a:lnTo>
                <a:lnTo>
                  <a:pt x="802385" y="131001"/>
                </a:lnTo>
                <a:lnTo>
                  <a:pt x="810006" y="114299"/>
                </a:lnTo>
                <a:close/>
              </a:path>
              <a:path w="810260" h="1342389">
                <a:moveTo>
                  <a:pt x="12579" y="1223392"/>
                </a:moveTo>
                <a:lnTo>
                  <a:pt x="8382" y="1221486"/>
                </a:lnTo>
                <a:lnTo>
                  <a:pt x="10668" y="1227582"/>
                </a:lnTo>
                <a:lnTo>
                  <a:pt x="12579" y="1223392"/>
                </a:lnTo>
                <a:close/>
              </a:path>
              <a:path w="810260" h="1342389">
                <a:moveTo>
                  <a:pt x="245119" y="1329025"/>
                </a:moveTo>
                <a:lnTo>
                  <a:pt x="12579" y="1223392"/>
                </a:lnTo>
                <a:lnTo>
                  <a:pt x="10668" y="1227582"/>
                </a:lnTo>
                <a:lnTo>
                  <a:pt x="8382" y="1221486"/>
                </a:lnTo>
                <a:lnTo>
                  <a:pt x="8382" y="1231415"/>
                </a:lnTo>
                <a:lnTo>
                  <a:pt x="243078" y="1338745"/>
                </a:lnTo>
                <a:lnTo>
                  <a:pt x="243078" y="1333500"/>
                </a:lnTo>
                <a:lnTo>
                  <a:pt x="245119" y="1329025"/>
                </a:lnTo>
                <a:close/>
              </a:path>
              <a:path w="810260" h="1342389">
                <a:moveTo>
                  <a:pt x="249936" y="1331214"/>
                </a:moveTo>
                <a:lnTo>
                  <a:pt x="245119" y="1329025"/>
                </a:lnTo>
                <a:lnTo>
                  <a:pt x="243078" y="1333500"/>
                </a:lnTo>
                <a:lnTo>
                  <a:pt x="249936" y="1331214"/>
                </a:lnTo>
                <a:close/>
              </a:path>
              <a:path w="810260" h="1342389">
                <a:moveTo>
                  <a:pt x="249936" y="1341882"/>
                </a:moveTo>
                <a:lnTo>
                  <a:pt x="249936" y="1331214"/>
                </a:lnTo>
                <a:lnTo>
                  <a:pt x="243078" y="1333500"/>
                </a:lnTo>
                <a:lnTo>
                  <a:pt x="243078" y="1338745"/>
                </a:lnTo>
                <a:lnTo>
                  <a:pt x="249936" y="1341882"/>
                </a:lnTo>
                <a:close/>
              </a:path>
              <a:path w="810260" h="1342389">
                <a:moveTo>
                  <a:pt x="802385" y="131001"/>
                </a:moveTo>
                <a:lnTo>
                  <a:pt x="802385" y="121157"/>
                </a:lnTo>
                <a:lnTo>
                  <a:pt x="797275" y="118820"/>
                </a:lnTo>
                <a:lnTo>
                  <a:pt x="245119" y="1329025"/>
                </a:lnTo>
                <a:lnTo>
                  <a:pt x="249936" y="1331214"/>
                </a:lnTo>
                <a:lnTo>
                  <a:pt x="249936" y="1341882"/>
                </a:lnTo>
                <a:lnTo>
                  <a:pt x="802385" y="131001"/>
                </a:lnTo>
                <a:close/>
              </a:path>
              <a:path w="810260" h="1342389">
                <a:moveTo>
                  <a:pt x="566927" y="8382"/>
                </a:moveTo>
                <a:lnTo>
                  <a:pt x="560832" y="10668"/>
                </a:lnTo>
                <a:lnTo>
                  <a:pt x="565012" y="12580"/>
                </a:lnTo>
                <a:lnTo>
                  <a:pt x="566927" y="8382"/>
                </a:lnTo>
                <a:close/>
              </a:path>
              <a:path w="810260" h="1342389">
                <a:moveTo>
                  <a:pt x="565012" y="12580"/>
                </a:moveTo>
                <a:lnTo>
                  <a:pt x="560832" y="10668"/>
                </a:lnTo>
                <a:lnTo>
                  <a:pt x="560832" y="21743"/>
                </a:lnTo>
                <a:lnTo>
                  <a:pt x="565012" y="12580"/>
                </a:lnTo>
                <a:close/>
              </a:path>
              <a:path w="810260" h="1342389">
                <a:moveTo>
                  <a:pt x="566928" y="13456"/>
                </a:moveTo>
                <a:lnTo>
                  <a:pt x="566927" y="8382"/>
                </a:lnTo>
                <a:lnTo>
                  <a:pt x="565012" y="12580"/>
                </a:lnTo>
                <a:lnTo>
                  <a:pt x="566928" y="13456"/>
                </a:lnTo>
                <a:close/>
              </a:path>
              <a:path w="810260" h="1342389">
                <a:moveTo>
                  <a:pt x="802385" y="121157"/>
                </a:moveTo>
                <a:lnTo>
                  <a:pt x="799338" y="114299"/>
                </a:lnTo>
                <a:lnTo>
                  <a:pt x="797275" y="118820"/>
                </a:lnTo>
                <a:lnTo>
                  <a:pt x="802385" y="1211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5" name="object 53"/>
          <p:cNvSpPr/>
          <p:nvPr/>
        </p:nvSpPr>
        <p:spPr>
          <a:xfrm>
            <a:off x="2650447" y="2835328"/>
            <a:ext cx="243338" cy="153152"/>
          </a:xfrm>
          <a:custGeom>
            <a:avLst/>
            <a:gdLst/>
            <a:ahLst/>
            <a:cxnLst/>
            <a:rect l="l" t="t" r="r" b="b"/>
            <a:pathLst>
              <a:path w="332739" h="330835">
                <a:moveTo>
                  <a:pt x="332232" y="165353"/>
                </a:moveTo>
                <a:lnTo>
                  <a:pt x="326330" y="121355"/>
                </a:lnTo>
                <a:lnTo>
                  <a:pt x="309654" y="81844"/>
                </a:lnTo>
                <a:lnTo>
                  <a:pt x="283749" y="48386"/>
                </a:lnTo>
                <a:lnTo>
                  <a:pt x="250161" y="22549"/>
                </a:lnTo>
                <a:lnTo>
                  <a:pt x="210435" y="5898"/>
                </a:lnTo>
                <a:lnTo>
                  <a:pt x="166116" y="0"/>
                </a:lnTo>
                <a:lnTo>
                  <a:pt x="121796" y="5898"/>
                </a:lnTo>
                <a:lnTo>
                  <a:pt x="82070" y="22549"/>
                </a:lnTo>
                <a:lnTo>
                  <a:pt x="48482" y="48386"/>
                </a:lnTo>
                <a:lnTo>
                  <a:pt x="22577" y="81844"/>
                </a:lnTo>
                <a:lnTo>
                  <a:pt x="5901" y="121355"/>
                </a:lnTo>
                <a:lnTo>
                  <a:pt x="0" y="165353"/>
                </a:lnTo>
                <a:lnTo>
                  <a:pt x="5901" y="209087"/>
                </a:lnTo>
                <a:lnTo>
                  <a:pt x="22577" y="248524"/>
                </a:lnTo>
                <a:lnTo>
                  <a:pt x="48482" y="282035"/>
                </a:lnTo>
                <a:lnTo>
                  <a:pt x="82070" y="307989"/>
                </a:lnTo>
                <a:lnTo>
                  <a:pt x="121796" y="324756"/>
                </a:lnTo>
                <a:lnTo>
                  <a:pt x="166116" y="330707"/>
                </a:lnTo>
                <a:lnTo>
                  <a:pt x="210435" y="324756"/>
                </a:lnTo>
                <a:lnTo>
                  <a:pt x="250161" y="307989"/>
                </a:lnTo>
                <a:lnTo>
                  <a:pt x="283749" y="282035"/>
                </a:lnTo>
                <a:lnTo>
                  <a:pt x="309654" y="248524"/>
                </a:lnTo>
                <a:lnTo>
                  <a:pt x="326330" y="209087"/>
                </a:lnTo>
                <a:lnTo>
                  <a:pt x="332232" y="165353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6" name="object 54"/>
          <p:cNvSpPr/>
          <p:nvPr/>
        </p:nvSpPr>
        <p:spPr>
          <a:xfrm>
            <a:off x="2646546" y="2833155"/>
            <a:ext cx="250768" cy="156973"/>
          </a:xfrm>
          <a:custGeom>
            <a:avLst/>
            <a:gdLst/>
            <a:ahLst/>
            <a:cxnLst/>
            <a:rect l="l" t="t" r="r" b="b"/>
            <a:pathLst>
              <a:path w="342900" h="339089">
                <a:moveTo>
                  <a:pt x="762" y="178431"/>
                </a:moveTo>
                <a:lnTo>
                  <a:pt x="761" y="160905"/>
                </a:lnTo>
                <a:lnTo>
                  <a:pt x="0" y="170049"/>
                </a:lnTo>
                <a:lnTo>
                  <a:pt x="762" y="178431"/>
                </a:lnTo>
                <a:close/>
              </a:path>
              <a:path w="342900" h="339089">
                <a:moveTo>
                  <a:pt x="342900" y="169287"/>
                </a:moveTo>
                <a:lnTo>
                  <a:pt x="342138" y="160905"/>
                </a:lnTo>
                <a:lnTo>
                  <a:pt x="342138" y="152523"/>
                </a:lnTo>
                <a:lnTo>
                  <a:pt x="332137" y="112077"/>
                </a:lnTo>
                <a:lnTo>
                  <a:pt x="293335" y="49836"/>
                </a:lnTo>
                <a:lnTo>
                  <a:pt x="236835" y="12473"/>
                </a:lnTo>
                <a:lnTo>
                  <a:pt x="171483" y="0"/>
                </a:lnTo>
                <a:lnTo>
                  <a:pt x="138252" y="3100"/>
                </a:lnTo>
                <a:lnTo>
                  <a:pt x="76209" y="27984"/>
                </a:lnTo>
                <a:lnTo>
                  <a:pt x="27431" y="77788"/>
                </a:lnTo>
                <a:lnTo>
                  <a:pt x="761" y="152523"/>
                </a:lnTo>
                <a:lnTo>
                  <a:pt x="762" y="187575"/>
                </a:lnTo>
                <a:lnTo>
                  <a:pt x="2286" y="195957"/>
                </a:lnTo>
                <a:lnTo>
                  <a:pt x="9906" y="221242"/>
                </a:lnTo>
                <a:lnTo>
                  <a:pt x="9906" y="161667"/>
                </a:lnTo>
                <a:lnTo>
                  <a:pt x="10667" y="153285"/>
                </a:lnTo>
                <a:lnTo>
                  <a:pt x="21193" y="111526"/>
                </a:lnTo>
                <a:lnTo>
                  <a:pt x="39212" y="76981"/>
                </a:lnTo>
                <a:lnTo>
                  <a:pt x="92153" y="29373"/>
                </a:lnTo>
                <a:lnTo>
                  <a:pt x="158328" y="10141"/>
                </a:lnTo>
                <a:lnTo>
                  <a:pt x="192889" y="11066"/>
                </a:lnTo>
                <a:lnTo>
                  <a:pt x="257984" y="33798"/>
                </a:lnTo>
                <a:lnTo>
                  <a:pt x="308407" y="84105"/>
                </a:lnTo>
                <a:lnTo>
                  <a:pt x="324627" y="119500"/>
                </a:lnTo>
                <a:lnTo>
                  <a:pt x="332994" y="161667"/>
                </a:lnTo>
                <a:lnTo>
                  <a:pt x="332994" y="222447"/>
                </a:lnTo>
                <a:lnTo>
                  <a:pt x="337039" y="211472"/>
                </a:lnTo>
                <a:lnTo>
                  <a:pt x="342900" y="169287"/>
                </a:lnTo>
                <a:close/>
              </a:path>
              <a:path w="342900" h="339089">
                <a:moveTo>
                  <a:pt x="332994" y="222447"/>
                </a:moveTo>
                <a:lnTo>
                  <a:pt x="332994" y="178431"/>
                </a:lnTo>
                <a:lnTo>
                  <a:pt x="324770" y="219718"/>
                </a:lnTo>
                <a:lnTo>
                  <a:pt x="308981" y="254545"/>
                </a:lnTo>
                <a:lnTo>
                  <a:pt x="259958" y="304580"/>
                </a:lnTo>
                <a:lnTo>
                  <a:pt x="196427" y="328067"/>
                </a:lnTo>
                <a:lnTo>
                  <a:pt x="162502" y="329709"/>
                </a:lnTo>
                <a:lnTo>
                  <a:pt x="128888" y="324538"/>
                </a:lnTo>
                <a:lnTo>
                  <a:pt x="67845" y="293522"/>
                </a:lnTo>
                <a:lnTo>
                  <a:pt x="23798" y="234550"/>
                </a:lnTo>
                <a:lnTo>
                  <a:pt x="11430" y="194433"/>
                </a:lnTo>
                <a:lnTo>
                  <a:pt x="9906" y="177669"/>
                </a:lnTo>
                <a:lnTo>
                  <a:pt x="9906" y="221242"/>
                </a:lnTo>
                <a:lnTo>
                  <a:pt x="33385" y="270495"/>
                </a:lnTo>
                <a:lnTo>
                  <a:pt x="85991" y="317710"/>
                </a:lnTo>
                <a:lnTo>
                  <a:pt x="150712" y="338325"/>
                </a:lnTo>
                <a:lnTo>
                  <a:pt x="184680" y="338885"/>
                </a:lnTo>
                <a:lnTo>
                  <a:pt x="218155" y="333066"/>
                </a:lnTo>
                <a:lnTo>
                  <a:pt x="249962" y="320960"/>
                </a:lnTo>
                <a:lnTo>
                  <a:pt x="278928" y="302657"/>
                </a:lnTo>
                <a:lnTo>
                  <a:pt x="303879" y="278248"/>
                </a:lnTo>
                <a:lnTo>
                  <a:pt x="323640" y="247823"/>
                </a:lnTo>
                <a:lnTo>
                  <a:pt x="332994" y="22244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7" name="object 55"/>
          <p:cNvSpPr/>
          <p:nvPr/>
        </p:nvSpPr>
        <p:spPr>
          <a:xfrm>
            <a:off x="2749639" y="2896345"/>
            <a:ext cx="55169" cy="37799"/>
          </a:xfrm>
          <a:prstGeom prst="rect">
            <a:avLst/>
          </a:prstGeom>
          <a:blipFill>
            <a:blip r:embed="rId3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8" name="object 56"/>
          <p:cNvSpPr/>
          <p:nvPr/>
        </p:nvSpPr>
        <p:spPr>
          <a:xfrm>
            <a:off x="2296027" y="3458989"/>
            <a:ext cx="88698" cy="131399"/>
          </a:xfrm>
          <a:custGeom>
            <a:avLst/>
            <a:gdLst/>
            <a:ahLst/>
            <a:cxnLst/>
            <a:rect l="l" t="t" r="r" b="b"/>
            <a:pathLst>
              <a:path w="121284" h="283845">
                <a:moveTo>
                  <a:pt x="121158" y="166877"/>
                </a:moveTo>
                <a:lnTo>
                  <a:pt x="119645" y="118764"/>
                </a:lnTo>
                <a:lnTo>
                  <a:pt x="115919" y="88868"/>
                </a:lnTo>
                <a:lnTo>
                  <a:pt x="106048" y="63686"/>
                </a:lnTo>
                <a:lnTo>
                  <a:pt x="86106" y="29717"/>
                </a:lnTo>
                <a:lnTo>
                  <a:pt x="80462" y="18002"/>
                </a:lnTo>
                <a:lnTo>
                  <a:pt x="68389" y="9143"/>
                </a:lnTo>
                <a:lnTo>
                  <a:pt x="53744" y="3143"/>
                </a:lnTo>
                <a:lnTo>
                  <a:pt x="40386" y="0"/>
                </a:lnTo>
                <a:lnTo>
                  <a:pt x="32408" y="2190"/>
                </a:lnTo>
                <a:lnTo>
                  <a:pt x="17883" y="7715"/>
                </a:lnTo>
                <a:lnTo>
                  <a:pt x="9906" y="9905"/>
                </a:lnTo>
                <a:lnTo>
                  <a:pt x="3095" y="15275"/>
                </a:lnTo>
                <a:lnTo>
                  <a:pt x="0" y="17430"/>
                </a:lnTo>
                <a:lnTo>
                  <a:pt x="904" y="17728"/>
                </a:lnTo>
                <a:lnTo>
                  <a:pt x="6096" y="17525"/>
                </a:lnTo>
                <a:lnTo>
                  <a:pt x="6096" y="281953"/>
                </a:lnTo>
                <a:lnTo>
                  <a:pt x="16299" y="271843"/>
                </a:lnTo>
                <a:lnTo>
                  <a:pt x="28670" y="260794"/>
                </a:lnTo>
                <a:lnTo>
                  <a:pt x="41755" y="251745"/>
                </a:lnTo>
                <a:lnTo>
                  <a:pt x="55626" y="246125"/>
                </a:lnTo>
                <a:lnTo>
                  <a:pt x="70794" y="224206"/>
                </a:lnTo>
                <a:lnTo>
                  <a:pt x="88392" y="207359"/>
                </a:lnTo>
                <a:lnTo>
                  <a:pt x="105989" y="190083"/>
                </a:lnTo>
                <a:lnTo>
                  <a:pt x="121158" y="166877"/>
                </a:lnTo>
                <a:close/>
              </a:path>
              <a:path w="121284" h="283845">
                <a:moveTo>
                  <a:pt x="6096" y="281953"/>
                </a:moveTo>
                <a:lnTo>
                  <a:pt x="6096" y="17525"/>
                </a:lnTo>
                <a:lnTo>
                  <a:pt x="3157" y="70786"/>
                </a:lnTo>
                <a:lnTo>
                  <a:pt x="1609" y="123754"/>
                </a:lnTo>
                <a:lnTo>
                  <a:pt x="1377" y="176686"/>
                </a:lnTo>
                <a:lnTo>
                  <a:pt x="2389" y="229837"/>
                </a:lnTo>
                <a:lnTo>
                  <a:pt x="4572" y="283463"/>
                </a:lnTo>
                <a:lnTo>
                  <a:pt x="6096" y="281953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09" name="object 57"/>
          <p:cNvSpPr/>
          <p:nvPr/>
        </p:nvSpPr>
        <p:spPr>
          <a:xfrm>
            <a:off x="2109901" y="3966595"/>
            <a:ext cx="3443329" cy="51854"/>
          </a:xfrm>
          <a:prstGeom prst="rect">
            <a:avLst/>
          </a:prstGeom>
          <a:blipFill>
            <a:blip r:embed="rId4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0" name="object 58"/>
          <p:cNvSpPr/>
          <p:nvPr/>
        </p:nvSpPr>
        <p:spPr>
          <a:xfrm>
            <a:off x="2106558" y="3964479"/>
            <a:ext cx="3450387" cy="56146"/>
          </a:xfrm>
          <a:custGeom>
            <a:avLst/>
            <a:gdLst/>
            <a:ahLst/>
            <a:cxnLst/>
            <a:rect l="l" t="t" r="r" b="b"/>
            <a:pathLst>
              <a:path w="4718050" h="121285">
                <a:moveTo>
                  <a:pt x="4717541" y="121158"/>
                </a:moveTo>
                <a:lnTo>
                  <a:pt x="4717541" y="0"/>
                </a:lnTo>
                <a:lnTo>
                  <a:pt x="0" y="0"/>
                </a:lnTo>
                <a:lnTo>
                  <a:pt x="0" y="121158"/>
                </a:lnTo>
                <a:lnTo>
                  <a:pt x="4572" y="121158"/>
                </a:lnTo>
                <a:lnTo>
                  <a:pt x="4571" y="9144"/>
                </a:lnTo>
                <a:lnTo>
                  <a:pt x="9143" y="4572"/>
                </a:lnTo>
                <a:lnTo>
                  <a:pt x="9144" y="9144"/>
                </a:lnTo>
                <a:lnTo>
                  <a:pt x="4708398" y="9144"/>
                </a:lnTo>
                <a:lnTo>
                  <a:pt x="4708398" y="4572"/>
                </a:lnTo>
                <a:lnTo>
                  <a:pt x="4712970" y="9144"/>
                </a:lnTo>
                <a:lnTo>
                  <a:pt x="4712970" y="121158"/>
                </a:lnTo>
                <a:lnTo>
                  <a:pt x="4717541" y="121158"/>
                </a:lnTo>
                <a:close/>
              </a:path>
              <a:path w="4718050" h="121285">
                <a:moveTo>
                  <a:pt x="9143" y="9144"/>
                </a:moveTo>
                <a:lnTo>
                  <a:pt x="9143" y="4572"/>
                </a:lnTo>
                <a:lnTo>
                  <a:pt x="4571" y="9144"/>
                </a:lnTo>
                <a:lnTo>
                  <a:pt x="9143" y="9144"/>
                </a:lnTo>
                <a:close/>
              </a:path>
              <a:path w="4718050" h="121285">
                <a:moveTo>
                  <a:pt x="9143" y="111252"/>
                </a:moveTo>
                <a:lnTo>
                  <a:pt x="9143" y="9144"/>
                </a:lnTo>
                <a:lnTo>
                  <a:pt x="4571" y="9144"/>
                </a:lnTo>
                <a:lnTo>
                  <a:pt x="4571" y="111252"/>
                </a:lnTo>
                <a:lnTo>
                  <a:pt x="9143" y="111252"/>
                </a:lnTo>
                <a:close/>
              </a:path>
              <a:path w="4718050" h="121285">
                <a:moveTo>
                  <a:pt x="4712970" y="111252"/>
                </a:moveTo>
                <a:lnTo>
                  <a:pt x="4571" y="111252"/>
                </a:lnTo>
                <a:lnTo>
                  <a:pt x="9143" y="116586"/>
                </a:lnTo>
                <a:lnTo>
                  <a:pt x="9143" y="121158"/>
                </a:lnTo>
                <a:lnTo>
                  <a:pt x="4708398" y="121158"/>
                </a:lnTo>
                <a:lnTo>
                  <a:pt x="4708398" y="116586"/>
                </a:lnTo>
                <a:lnTo>
                  <a:pt x="4712970" y="111252"/>
                </a:lnTo>
                <a:close/>
              </a:path>
              <a:path w="4718050" h="121285">
                <a:moveTo>
                  <a:pt x="9143" y="121158"/>
                </a:moveTo>
                <a:lnTo>
                  <a:pt x="9143" y="116586"/>
                </a:lnTo>
                <a:lnTo>
                  <a:pt x="4571" y="111252"/>
                </a:lnTo>
                <a:lnTo>
                  <a:pt x="4572" y="121158"/>
                </a:lnTo>
                <a:lnTo>
                  <a:pt x="9143" y="121158"/>
                </a:lnTo>
                <a:close/>
              </a:path>
              <a:path w="4718050" h="121285">
                <a:moveTo>
                  <a:pt x="4712970" y="9144"/>
                </a:moveTo>
                <a:lnTo>
                  <a:pt x="4708398" y="4572"/>
                </a:lnTo>
                <a:lnTo>
                  <a:pt x="4708398" y="9144"/>
                </a:lnTo>
                <a:lnTo>
                  <a:pt x="4712970" y="9144"/>
                </a:lnTo>
                <a:close/>
              </a:path>
              <a:path w="4718050" h="121285">
                <a:moveTo>
                  <a:pt x="4712970" y="111252"/>
                </a:moveTo>
                <a:lnTo>
                  <a:pt x="4712970" y="9144"/>
                </a:lnTo>
                <a:lnTo>
                  <a:pt x="4708398" y="9144"/>
                </a:lnTo>
                <a:lnTo>
                  <a:pt x="4708398" y="111252"/>
                </a:lnTo>
                <a:lnTo>
                  <a:pt x="4712970" y="111252"/>
                </a:lnTo>
                <a:close/>
              </a:path>
              <a:path w="4718050" h="121285">
                <a:moveTo>
                  <a:pt x="4712970" y="121158"/>
                </a:moveTo>
                <a:lnTo>
                  <a:pt x="4712970" y="111252"/>
                </a:lnTo>
                <a:lnTo>
                  <a:pt x="4708398" y="116586"/>
                </a:lnTo>
                <a:lnTo>
                  <a:pt x="4708398" y="121158"/>
                </a:lnTo>
                <a:lnTo>
                  <a:pt x="4712970" y="1211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1" name="object 59"/>
          <p:cNvSpPr/>
          <p:nvPr/>
        </p:nvSpPr>
        <p:spPr>
          <a:xfrm>
            <a:off x="2118818" y="2974311"/>
            <a:ext cx="3442770" cy="51854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2" name="object 60"/>
          <p:cNvSpPr/>
          <p:nvPr/>
        </p:nvSpPr>
        <p:spPr>
          <a:xfrm>
            <a:off x="2114917" y="2972195"/>
            <a:ext cx="3450851" cy="56146"/>
          </a:xfrm>
          <a:custGeom>
            <a:avLst/>
            <a:gdLst/>
            <a:ahLst/>
            <a:cxnLst/>
            <a:rect l="l" t="t" r="r" b="b"/>
            <a:pathLst>
              <a:path w="4718685" h="121285">
                <a:moveTo>
                  <a:pt x="4718304" y="121158"/>
                </a:moveTo>
                <a:lnTo>
                  <a:pt x="4718304" y="0"/>
                </a:lnTo>
                <a:lnTo>
                  <a:pt x="0" y="0"/>
                </a:lnTo>
                <a:lnTo>
                  <a:pt x="0" y="121158"/>
                </a:lnTo>
                <a:lnTo>
                  <a:pt x="5333" y="121158"/>
                </a:lnTo>
                <a:lnTo>
                  <a:pt x="5334" y="9906"/>
                </a:lnTo>
                <a:lnTo>
                  <a:pt x="9906" y="4572"/>
                </a:lnTo>
                <a:lnTo>
                  <a:pt x="9906" y="9906"/>
                </a:lnTo>
                <a:lnTo>
                  <a:pt x="4708397" y="9906"/>
                </a:lnTo>
                <a:lnTo>
                  <a:pt x="4708397" y="4572"/>
                </a:lnTo>
                <a:lnTo>
                  <a:pt x="4712970" y="9906"/>
                </a:lnTo>
                <a:lnTo>
                  <a:pt x="4712970" y="121158"/>
                </a:lnTo>
                <a:lnTo>
                  <a:pt x="4718304" y="121158"/>
                </a:lnTo>
                <a:close/>
              </a:path>
              <a:path w="4718685" h="121285">
                <a:moveTo>
                  <a:pt x="9906" y="9906"/>
                </a:moveTo>
                <a:lnTo>
                  <a:pt x="9906" y="4572"/>
                </a:lnTo>
                <a:lnTo>
                  <a:pt x="5334" y="9906"/>
                </a:lnTo>
                <a:lnTo>
                  <a:pt x="9906" y="9906"/>
                </a:lnTo>
                <a:close/>
              </a:path>
              <a:path w="4718685" h="121285">
                <a:moveTo>
                  <a:pt x="9906" y="112014"/>
                </a:moveTo>
                <a:lnTo>
                  <a:pt x="9906" y="9906"/>
                </a:lnTo>
                <a:lnTo>
                  <a:pt x="5334" y="9906"/>
                </a:lnTo>
                <a:lnTo>
                  <a:pt x="5334" y="112014"/>
                </a:lnTo>
                <a:lnTo>
                  <a:pt x="9906" y="112014"/>
                </a:lnTo>
                <a:close/>
              </a:path>
              <a:path w="4718685" h="121285">
                <a:moveTo>
                  <a:pt x="4712970" y="112014"/>
                </a:moveTo>
                <a:lnTo>
                  <a:pt x="5334" y="112014"/>
                </a:lnTo>
                <a:lnTo>
                  <a:pt x="9906" y="116586"/>
                </a:lnTo>
                <a:lnTo>
                  <a:pt x="9906" y="121158"/>
                </a:lnTo>
                <a:lnTo>
                  <a:pt x="4708397" y="121158"/>
                </a:lnTo>
                <a:lnTo>
                  <a:pt x="4708397" y="116586"/>
                </a:lnTo>
                <a:lnTo>
                  <a:pt x="4712970" y="112014"/>
                </a:lnTo>
                <a:close/>
              </a:path>
              <a:path w="4718685" h="121285">
                <a:moveTo>
                  <a:pt x="9906" y="121158"/>
                </a:moveTo>
                <a:lnTo>
                  <a:pt x="9906" y="116586"/>
                </a:lnTo>
                <a:lnTo>
                  <a:pt x="5334" y="112014"/>
                </a:lnTo>
                <a:lnTo>
                  <a:pt x="5333" y="121158"/>
                </a:lnTo>
                <a:lnTo>
                  <a:pt x="9906" y="121158"/>
                </a:lnTo>
                <a:close/>
              </a:path>
              <a:path w="4718685" h="121285">
                <a:moveTo>
                  <a:pt x="4712970" y="9906"/>
                </a:moveTo>
                <a:lnTo>
                  <a:pt x="4708397" y="4572"/>
                </a:lnTo>
                <a:lnTo>
                  <a:pt x="4708397" y="9906"/>
                </a:lnTo>
                <a:lnTo>
                  <a:pt x="4712970" y="9906"/>
                </a:lnTo>
                <a:close/>
              </a:path>
              <a:path w="4718685" h="121285">
                <a:moveTo>
                  <a:pt x="4712970" y="112014"/>
                </a:moveTo>
                <a:lnTo>
                  <a:pt x="4712970" y="9906"/>
                </a:lnTo>
                <a:lnTo>
                  <a:pt x="4708397" y="9906"/>
                </a:lnTo>
                <a:lnTo>
                  <a:pt x="4708397" y="112014"/>
                </a:lnTo>
                <a:lnTo>
                  <a:pt x="4712970" y="112014"/>
                </a:lnTo>
                <a:close/>
              </a:path>
              <a:path w="4718685" h="121285">
                <a:moveTo>
                  <a:pt x="4712970" y="121158"/>
                </a:moveTo>
                <a:lnTo>
                  <a:pt x="4712970" y="112014"/>
                </a:lnTo>
                <a:lnTo>
                  <a:pt x="4708397" y="116586"/>
                </a:lnTo>
                <a:lnTo>
                  <a:pt x="4708397" y="121158"/>
                </a:lnTo>
                <a:lnTo>
                  <a:pt x="4712970" y="1211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3" name="object 61"/>
          <p:cNvSpPr/>
          <p:nvPr/>
        </p:nvSpPr>
        <p:spPr>
          <a:xfrm>
            <a:off x="2173429" y="2931981"/>
            <a:ext cx="127056" cy="1147494"/>
          </a:xfrm>
          <a:prstGeom prst="rect">
            <a:avLst/>
          </a:prstGeom>
          <a:blipFill>
            <a:blip r:embed="rId4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4" name="object 62"/>
          <p:cNvSpPr/>
          <p:nvPr/>
        </p:nvSpPr>
        <p:spPr>
          <a:xfrm>
            <a:off x="2170086" y="2929513"/>
            <a:ext cx="133743" cy="1152315"/>
          </a:xfrm>
          <a:custGeom>
            <a:avLst/>
            <a:gdLst/>
            <a:ahLst/>
            <a:cxnLst/>
            <a:rect l="l" t="t" r="r" b="b"/>
            <a:pathLst>
              <a:path w="182880" h="2489200">
                <a:moveTo>
                  <a:pt x="182880" y="2488692"/>
                </a:moveTo>
                <a:lnTo>
                  <a:pt x="182880" y="0"/>
                </a:lnTo>
                <a:lnTo>
                  <a:pt x="0" y="0"/>
                </a:lnTo>
                <a:lnTo>
                  <a:pt x="0" y="2488692"/>
                </a:lnTo>
                <a:lnTo>
                  <a:pt x="4572" y="2488692"/>
                </a:lnTo>
                <a:lnTo>
                  <a:pt x="4571" y="9906"/>
                </a:lnTo>
                <a:lnTo>
                  <a:pt x="9143" y="5334"/>
                </a:lnTo>
                <a:lnTo>
                  <a:pt x="9143" y="9906"/>
                </a:lnTo>
                <a:lnTo>
                  <a:pt x="173736" y="9906"/>
                </a:lnTo>
                <a:lnTo>
                  <a:pt x="173736" y="5334"/>
                </a:lnTo>
                <a:lnTo>
                  <a:pt x="178308" y="9906"/>
                </a:lnTo>
                <a:lnTo>
                  <a:pt x="178308" y="2488692"/>
                </a:lnTo>
                <a:lnTo>
                  <a:pt x="182880" y="2488692"/>
                </a:lnTo>
                <a:close/>
              </a:path>
              <a:path w="182880" h="2489200">
                <a:moveTo>
                  <a:pt x="9143" y="9906"/>
                </a:moveTo>
                <a:lnTo>
                  <a:pt x="9143" y="5334"/>
                </a:lnTo>
                <a:lnTo>
                  <a:pt x="4571" y="9906"/>
                </a:lnTo>
                <a:lnTo>
                  <a:pt x="9143" y="9906"/>
                </a:lnTo>
                <a:close/>
              </a:path>
              <a:path w="182880" h="2489200">
                <a:moveTo>
                  <a:pt x="9144" y="2478786"/>
                </a:moveTo>
                <a:lnTo>
                  <a:pt x="9143" y="9906"/>
                </a:lnTo>
                <a:lnTo>
                  <a:pt x="4571" y="9906"/>
                </a:lnTo>
                <a:lnTo>
                  <a:pt x="4572" y="2478786"/>
                </a:lnTo>
                <a:lnTo>
                  <a:pt x="9144" y="2478786"/>
                </a:lnTo>
                <a:close/>
              </a:path>
              <a:path w="182880" h="2489200">
                <a:moveTo>
                  <a:pt x="178308" y="2478786"/>
                </a:moveTo>
                <a:lnTo>
                  <a:pt x="4572" y="2478786"/>
                </a:lnTo>
                <a:lnTo>
                  <a:pt x="9144" y="2484120"/>
                </a:lnTo>
                <a:lnTo>
                  <a:pt x="9144" y="2488692"/>
                </a:lnTo>
                <a:lnTo>
                  <a:pt x="173736" y="2488692"/>
                </a:lnTo>
                <a:lnTo>
                  <a:pt x="173736" y="2484120"/>
                </a:lnTo>
                <a:lnTo>
                  <a:pt x="178308" y="2478786"/>
                </a:lnTo>
                <a:close/>
              </a:path>
              <a:path w="182880" h="2489200">
                <a:moveTo>
                  <a:pt x="9144" y="2488692"/>
                </a:moveTo>
                <a:lnTo>
                  <a:pt x="9144" y="2484120"/>
                </a:lnTo>
                <a:lnTo>
                  <a:pt x="4572" y="2478786"/>
                </a:lnTo>
                <a:lnTo>
                  <a:pt x="4572" y="2488692"/>
                </a:lnTo>
                <a:lnTo>
                  <a:pt x="9144" y="2488692"/>
                </a:lnTo>
                <a:close/>
              </a:path>
              <a:path w="182880" h="2489200">
                <a:moveTo>
                  <a:pt x="178308" y="9906"/>
                </a:moveTo>
                <a:lnTo>
                  <a:pt x="173736" y="5334"/>
                </a:lnTo>
                <a:lnTo>
                  <a:pt x="173736" y="9906"/>
                </a:lnTo>
                <a:lnTo>
                  <a:pt x="178308" y="9906"/>
                </a:lnTo>
                <a:close/>
              </a:path>
              <a:path w="182880" h="2489200">
                <a:moveTo>
                  <a:pt x="178308" y="2478786"/>
                </a:moveTo>
                <a:lnTo>
                  <a:pt x="178308" y="9906"/>
                </a:lnTo>
                <a:lnTo>
                  <a:pt x="173736" y="9906"/>
                </a:lnTo>
                <a:lnTo>
                  <a:pt x="173736" y="2478786"/>
                </a:lnTo>
                <a:lnTo>
                  <a:pt x="178308" y="2478786"/>
                </a:lnTo>
                <a:close/>
              </a:path>
              <a:path w="182880" h="2489200">
                <a:moveTo>
                  <a:pt x="178308" y="2488692"/>
                </a:moveTo>
                <a:lnTo>
                  <a:pt x="178308" y="2478786"/>
                </a:lnTo>
                <a:lnTo>
                  <a:pt x="173736" y="2484120"/>
                </a:lnTo>
                <a:lnTo>
                  <a:pt x="173736" y="2488692"/>
                </a:lnTo>
                <a:lnTo>
                  <a:pt x="178308" y="24886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5" name="object 63"/>
          <p:cNvSpPr/>
          <p:nvPr/>
        </p:nvSpPr>
        <p:spPr>
          <a:xfrm>
            <a:off x="2321104" y="3397314"/>
            <a:ext cx="172751" cy="151976"/>
          </a:xfrm>
          <a:custGeom>
            <a:avLst/>
            <a:gdLst/>
            <a:ahLst/>
            <a:cxnLst/>
            <a:rect l="l" t="t" r="r" b="b"/>
            <a:pathLst>
              <a:path w="236219" h="328295">
                <a:moveTo>
                  <a:pt x="236112" y="144696"/>
                </a:moveTo>
                <a:lnTo>
                  <a:pt x="228778" y="99036"/>
                </a:lnTo>
                <a:lnTo>
                  <a:pt x="210466" y="54078"/>
                </a:lnTo>
                <a:lnTo>
                  <a:pt x="183630" y="23491"/>
                </a:lnTo>
                <a:lnTo>
                  <a:pt x="145411" y="6988"/>
                </a:lnTo>
                <a:lnTo>
                  <a:pt x="111585" y="0"/>
                </a:lnTo>
                <a:lnTo>
                  <a:pt x="94869" y="833"/>
                </a:lnTo>
                <a:lnTo>
                  <a:pt x="49863" y="12561"/>
                </a:lnTo>
                <a:lnTo>
                  <a:pt x="16001" y="36456"/>
                </a:lnTo>
                <a:lnTo>
                  <a:pt x="0" y="87510"/>
                </a:lnTo>
                <a:lnTo>
                  <a:pt x="61722" y="320682"/>
                </a:lnTo>
                <a:lnTo>
                  <a:pt x="72747" y="322385"/>
                </a:lnTo>
                <a:lnTo>
                  <a:pt x="87630" y="325731"/>
                </a:lnTo>
                <a:lnTo>
                  <a:pt x="104798" y="328076"/>
                </a:lnTo>
                <a:lnTo>
                  <a:pt x="122682" y="326778"/>
                </a:lnTo>
                <a:lnTo>
                  <a:pt x="142196" y="319420"/>
                </a:lnTo>
                <a:lnTo>
                  <a:pt x="183225" y="294417"/>
                </a:lnTo>
                <a:lnTo>
                  <a:pt x="209752" y="267069"/>
                </a:lnTo>
                <a:lnTo>
                  <a:pt x="229361" y="215526"/>
                </a:lnTo>
                <a:lnTo>
                  <a:pt x="235362" y="169521"/>
                </a:lnTo>
                <a:lnTo>
                  <a:pt x="236112" y="144696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6" name="object 64"/>
          <p:cNvSpPr/>
          <p:nvPr/>
        </p:nvSpPr>
        <p:spPr>
          <a:xfrm>
            <a:off x="2317761" y="3395494"/>
            <a:ext cx="179253" cy="156092"/>
          </a:xfrm>
          <a:custGeom>
            <a:avLst/>
            <a:gdLst/>
            <a:ahLst/>
            <a:cxnLst/>
            <a:rect l="l" t="t" r="r" b="b"/>
            <a:pathLst>
              <a:path w="245110" h="337185">
                <a:moveTo>
                  <a:pt x="245047" y="142249"/>
                </a:moveTo>
                <a:lnTo>
                  <a:pt x="237744" y="101345"/>
                </a:lnTo>
                <a:lnTo>
                  <a:pt x="219456" y="55625"/>
                </a:lnTo>
                <a:lnTo>
                  <a:pt x="166820" y="11206"/>
                </a:lnTo>
                <a:lnTo>
                  <a:pt x="98298" y="0"/>
                </a:lnTo>
                <a:lnTo>
                  <a:pt x="89916" y="1523"/>
                </a:lnTo>
                <a:lnTo>
                  <a:pt x="48831" y="13830"/>
                </a:lnTo>
                <a:lnTo>
                  <a:pt x="10735" y="49855"/>
                </a:lnTo>
                <a:lnTo>
                  <a:pt x="1523" y="83819"/>
                </a:lnTo>
                <a:lnTo>
                  <a:pt x="0" y="88391"/>
                </a:lnTo>
                <a:lnTo>
                  <a:pt x="0" y="89915"/>
                </a:lnTo>
                <a:lnTo>
                  <a:pt x="9144" y="92963"/>
                </a:lnTo>
                <a:lnTo>
                  <a:pt x="9144" y="90677"/>
                </a:lnTo>
                <a:lnTo>
                  <a:pt x="10668" y="86105"/>
                </a:lnTo>
                <a:lnTo>
                  <a:pt x="34942" y="32361"/>
                </a:lnTo>
                <a:lnTo>
                  <a:pt x="92202" y="10667"/>
                </a:lnTo>
                <a:lnTo>
                  <a:pt x="108204" y="8381"/>
                </a:lnTo>
                <a:lnTo>
                  <a:pt x="140821" y="12978"/>
                </a:lnTo>
                <a:lnTo>
                  <a:pt x="198870" y="42859"/>
                </a:lnTo>
                <a:lnTo>
                  <a:pt x="220979" y="81533"/>
                </a:lnTo>
                <a:lnTo>
                  <a:pt x="235919" y="154743"/>
                </a:lnTo>
                <a:lnTo>
                  <a:pt x="235919" y="227792"/>
                </a:lnTo>
                <a:lnTo>
                  <a:pt x="243235" y="193405"/>
                </a:lnTo>
                <a:lnTo>
                  <a:pt x="245047" y="142249"/>
                </a:lnTo>
                <a:close/>
              </a:path>
              <a:path w="245110" h="337185">
                <a:moveTo>
                  <a:pt x="235919" y="227792"/>
                </a:moveTo>
                <a:lnTo>
                  <a:pt x="235919" y="154743"/>
                </a:lnTo>
                <a:lnTo>
                  <a:pt x="232324" y="202430"/>
                </a:lnTo>
                <a:lnTo>
                  <a:pt x="220389" y="248342"/>
                </a:lnTo>
                <a:lnTo>
                  <a:pt x="199644" y="281939"/>
                </a:lnTo>
                <a:lnTo>
                  <a:pt x="165227" y="308217"/>
                </a:lnTo>
                <a:lnTo>
                  <a:pt x="111295" y="326864"/>
                </a:lnTo>
                <a:lnTo>
                  <a:pt x="78486" y="321563"/>
                </a:lnTo>
                <a:lnTo>
                  <a:pt x="71628" y="320801"/>
                </a:lnTo>
                <a:lnTo>
                  <a:pt x="68580" y="320039"/>
                </a:lnTo>
                <a:lnTo>
                  <a:pt x="66294" y="320039"/>
                </a:lnTo>
                <a:lnTo>
                  <a:pt x="65532" y="329183"/>
                </a:lnTo>
                <a:lnTo>
                  <a:pt x="67818" y="329183"/>
                </a:lnTo>
                <a:lnTo>
                  <a:pt x="70104" y="329945"/>
                </a:lnTo>
                <a:lnTo>
                  <a:pt x="76200" y="330707"/>
                </a:lnTo>
                <a:lnTo>
                  <a:pt x="112240" y="336840"/>
                </a:lnTo>
                <a:lnTo>
                  <a:pt x="144241" y="330193"/>
                </a:lnTo>
                <a:lnTo>
                  <a:pt x="174035" y="314088"/>
                </a:lnTo>
                <a:lnTo>
                  <a:pt x="203454" y="291845"/>
                </a:lnTo>
                <a:lnTo>
                  <a:pt x="206502" y="288035"/>
                </a:lnTo>
                <a:lnTo>
                  <a:pt x="213360" y="281177"/>
                </a:lnTo>
                <a:lnTo>
                  <a:pt x="232580" y="243488"/>
                </a:lnTo>
                <a:lnTo>
                  <a:pt x="235919" y="2277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7" name="object 65"/>
          <p:cNvSpPr/>
          <p:nvPr/>
        </p:nvSpPr>
        <p:spPr>
          <a:xfrm>
            <a:off x="2380731" y="3456835"/>
            <a:ext cx="55204" cy="37781"/>
          </a:xfrm>
          <a:prstGeom prst="rect">
            <a:avLst/>
          </a:prstGeom>
          <a:blipFill>
            <a:blip r:embed="rId4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8" name="object 66"/>
          <p:cNvSpPr/>
          <p:nvPr/>
        </p:nvSpPr>
        <p:spPr>
          <a:xfrm>
            <a:off x="7701479" y="3423479"/>
            <a:ext cx="212865" cy="118758"/>
          </a:xfrm>
          <a:prstGeom prst="rect">
            <a:avLst/>
          </a:prstGeom>
          <a:blipFill>
            <a:blip r:embed="rId4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19" name="object 67"/>
          <p:cNvSpPr/>
          <p:nvPr/>
        </p:nvSpPr>
        <p:spPr>
          <a:xfrm>
            <a:off x="7697012" y="3420540"/>
            <a:ext cx="221512" cy="124050"/>
          </a:xfrm>
          <a:custGeom>
            <a:avLst/>
            <a:gdLst/>
            <a:ahLst/>
            <a:cxnLst/>
            <a:rect l="l" t="t" r="r" b="b"/>
            <a:pathLst>
              <a:path w="302895" h="267970">
                <a:moveTo>
                  <a:pt x="250386" y="242875"/>
                </a:moveTo>
                <a:lnTo>
                  <a:pt x="92963" y="2285"/>
                </a:lnTo>
                <a:lnTo>
                  <a:pt x="91439" y="761"/>
                </a:lnTo>
                <a:lnTo>
                  <a:pt x="89915" y="0"/>
                </a:lnTo>
                <a:lnTo>
                  <a:pt x="84581" y="38"/>
                </a:lnTo>
                <a:lnTo>
                  <a:pt x="17525" y="715"/>
                </a:lnTo>
                <a:lnTo>
                  <a:pt x="10667" y="761"/>
                </a:lnTo>
                <a:lnTo>
                  <a:pt x="8381" y="2285"/>
                </a:lnTo>
                <a:lnTo>
                  <a:pt x="8381" y="4571"/>
                </a:lnTo>
                <a:lnTo>
                  <a:pt x="761" y="31241"/>
                </a:lnTo>
                <a:lnTo>
                  <a:pt x="0" y="32765"/>
                </a:lnTo>
                <a:lnTo>
                  <a:pt x="761" y="34289"/>
                </a:lnTo>
                <a:lnTo>
                  <a:pt x="1523" y="35051"/>
                </a:lnTo>
                <a:lnTo>
                  <a:pt x="2285" y="36575"/>
                </a:lnTo>
                <a:lnTo>
                  <a:pt x="3809" y="37337"/>
                </a:lnTo>
                <a:lnTo>
                  <a:pt x="5333" y="37337"/>
                </a:lnTo>
                <a:lnTo>
                  <a:pt x="5333" y="27431"/>
                </a:lnTo>
                <a:lnTo>
                  <a:pt x="11647" y="27431"/>
                </a:lnTo>
                <a:lnTo>
                  <a:pt x="12953" y="22859"/>
                </a:lnTo>
                <a:lnTo>
                  <a:pt x="12953" y="10667"/>
                </a:lnTo>
                <a:lnTo>
                  <a:pt x="17525" y="6857"/>
                </a:lnTo>
                <a:lnTo>
                  <a:pt x="17525" y="10621"/>
                </a:lnTo>
                <a:lnTo>
                  <a:pt x="40869" y="10386"/>
                </a:lnTo>
                <a:lnTo>
                  <a:pt x="41909" y="5333"/>
                </a:lnTo>
                <a:lnTo>
                  <a:pt x="42671" y="3047"/>
                </a:lnTo>
                <a:lnTo>
                  <a:pt x="44195" y="1523"/>
                </a:lnTo>
                <a:lnTo>
                  <a:pt x="45719" y="1523"/>
                </a:lnTo>
                <a:lnTo>
                  <a:pt x="48005" y="761"/>
                </a:lnTo>
                <a:lnTo>
                  <a:pt x="49529" y="1523"/>
                </a:lnTo>
                <a:lnTo>
                  <a:pt x="51053" y="3047"/>
                </a:lnTo>
                <a:lnTo>
                  <a:pt x="55732" y="10235"/>
                </a:lnTo>
                <a:lnTo>
                  <a:pt x="84581" y="9944"/>
                </a:lnTo>
                <a:lnTo>
                  <a:pt x="84581" y="7619"/>
                </a:lnTo>
                <a:lnTo>
                  <a:pt x="88391" y="9905"/>
                </a:lnTo>
                <a:lnTo>
                  <a:pt x="88391" y="13397"/>
                </a:lnTo>
                <a:lnTo>
                  <a:pt x="246887" y="253745"/>
                </a:lnTo>
                <a:lnTo>
                  <a:pt x="246887" y="249173"/>
                </a:lnTo>
                <a:lnTo>
                  <a:pt x="250386" y="242875"/>
                </a:lnTo>
                <a:close/>
              </a:path>
              <a:path w="302895" h="267970">
                <a:moveTo>
                  <a:pt x="11647" y="27431"/>
                </a:moveTo>
                <a:lnTo>
                  <a:pt x="5333" y="27431"/>
                </a:lnTo>
                <a:lnTo>
                  <a:pt x="9905" y="33527"/>
                </a:lnTo>
                <a:lnTo>
                  <a:pt x="11647" y="27431"/>
                </a:lnTo>
                <a:close/>
              </a:path>
              <a:path w="302895" h="267970">
                <a:moveTo>
                  <a:pt x="37360" y="27431"/>
                </a:moveTo>
                <a:lnTo>
                  <a:pt x="11647" y="27431"/>
                </a:lnTo>
                <a:lnTo>
                  <a:pt x="9905" y="33527"/>
                </a:lnTo>
                <a:lnTo>
                  <a:pt x="5333" y="27431"/>
                </a:lnTo>
                <a:lnTo>
                  <a:pt x="5333" y="37337"/>
                </a:lnTo>
                <a:lnTo>
                  <a:pt x="36575" y="37337"/>
                </a:lnTo>
                <a:lnTo>
                  <a:pt x="36575" y="31241"/>
                </a:lnTo>
                <a:lnTo>
                  <a:pt x="37360" y="27431"/>
                </a:lnTo>
                <a:close/>
              </a:path>
              <a:path w="302895" h="267970">
                <a:moveTo>
                  <a:pt x="17525" y="6857"/>
                </a:moveTo>
                <a:lnTo>
                  <a:pt x="12953" y="10667"/>
                </a:lnTo>
                <a:lnTo>
                  <a:pt x="16447" y="10632"/>
                </a:lnTo>
                <a:lnTo>
                  <a:pt x="17525" y="6857"/>
                </a:lnTo>
                <a:close/>
              </a:path>
              <a:path w="302895" h="267970">
                <a:moveTo>
                  <a:pt x="16447" y="10632"/>
                </a:moveTo>
                <a:lnTo>
                  <a:pt x="12953" y="10667"/>
                </a:lnTo>
                <a:lnTo>
                  <a:pt x="12953" y="22859"/>
                </a:lnTo>
                <a:lnTo>
                  <a:pt x="16447" y="10632"/>
                </a:lnTo>
                <a:close/>
              </a:path>
              <a:path w="302895" h="267970">
                <a:moveTo>
                  <a:pt x="17525" y="10621"/>
                </a:moveTo>
                <a:lnTo>
                  <a:pt x="17525" y="6857"/>
                </a:lnTo>
                <a:lnTo>
                  <a:pt x="16447" y="10632"/>
                </a:lnTo>
                <a:lnTo>
                  <a:pt x="17525" y="10621"/>
                </a:lnTo>
                <a:close/>
              </a:path>
              <a:path w="302895" h="267970">
                <a:moveTo>
                  <a:pt x="41147" y="27431"/>
                </a:moveTo>
                <a:lnTo>
                  <a:pt x="37360" y="27431"/>
                </a:lnTo>
                <a:lnTo>
                  <a:pt x="36575" y="31241"/>
                </a:lnTo>
                <a:lnTo>
                  <a:pt x="41147" y="27431"/>
                </a:lnTo>
                <a:close/>
              </a:path>
              <a:path w="302895" h="267970">
                <a:moveTo>
                  <a:pt x="41147" y="37337"/>
                </a:moveTo>
                <a:lnTo>
                  <a:pt x="41147" y="27431"/>
                </a:lnTo>
                <a:lnTo>
                  <a:pt x="36575" y="31241"/>
                </a:lnTo>
                <a:lnTo>
                  <a:pt x="36575" y="37337"/>
                </a:lnTo>
                <a:lnTo>
                  <a:pt x="41147" y="37337"/>
                </a:lnTo>
                <a:close/>
              </a:path>
              <a:path w="302895" h="267970">
                <a:moveTo>
                  <a:pt x="49186" y="18361"/>
                </a:moveTo>
                <a:lnTo>
                  <a:pt x="43959" y="10354"/>
                </a:lnTo>
                <a:lnTo>
                  <a:pt x="40869" y="10386"/>
                </a:lnTo>
                <a:lnTo>
                  <a:pt x="37360" y="27431"/>
                </a:lnTo>
                <a:lnTo>
                  <a:pt x="41147" y="27431"/>
                </a:lnTo>
                <a:lnTo>
                  <a:pt x="41147" y="37337"/>
                </a:lnTo>
                <a:lnTo>
                  <a:pt x="43433" y="37337"/>
                </a:lnTo>
                <a:lnTo>
                  <a:pt x="44957" y="35813"/>
                </a:lnTo>
                <a:lnTo>
                  <a:pt x="45719" y="33527"/>
                </a:lnTo>
                <a:lnTo>
                  <a:pt x="49186" y="18361"/>
                </a:lnTo>
                <a:close/>
              </a:path>
              <a:path w="302895" h="267970">
                <a:moveTo>
                  <a:pt x="55732" y="10235"/>
                </a:moveTo>
                <a:lnTo>
                  <a:pt x="51033" y="3027"/>
                </a:lnTo>
                <a:lnTo>
                  <a:pt x="49529" y="1523"/>
                </a:lnTo>
                <a:lnTo>
                  <a:pt x="48005" y="761"/>
                </a:lnTo>
                <a:lnTo>
                  <a:pt x="45719" y="1523"/>
                </a:lnTo>
                <a:lnTo>
                  <a:pt x="44195" y="1523"/>
                </a:lnTo>
                <a:lnTo>
                  <a:pt x="42671" y="3047"/>
                </a:lnTo>
                <a:lnTo>
                  <a:pt x="41909" y="5333"/>
                </a:lnTo>
                <a:lnTo>
                  <a:pt x="40869" y="10386"/>
                </a:lnTo>
                <a:lnTo>
                  <a:pt x="42671" y="10367"/>
                </a:lnTo>
                <a:lnTo>
                  <a:pt x="42671" y="8381"/>
                </a:lnTo>
                <a:lnTo>
                  <a:pt x="51815" y="6857"/>
                </a:lnTo>
                <a:lnTo>
                  <a:pt x="51815" y="10275"/>
                </a:lnTo>
                <a:lnTo>
                  <a:pt x="55732" y="10235"/>
                </a:lnTo>
                <a:close/>
              </a:path>
              <a:path w="302895" h="267970">
                <a:moveTo>
                  <a:pt x="51815" y="6857"/>
                </a:moveTo>
                <a:lnTo>
                  <a:pt x="42671" y="8381"/>
                </a:lnTo>
                <a:lnTo>
                  <a:pt x="43959" y="10354"/>
                </a:lnTo>
                <a:lnTo>
                  <a:pt x="51033" y="10283"/>
                </a:lnTo>
                <a:lnTo>
                  <a:pt x="51815" y="6857"/>
                </a:lnTo>
                <a:close/>
              </a:path>
              <a:path w="302895" h="267970">
                <a:moveTo>
                  <a:pt x="43959" y="10354"/>
                </a:moveTo>
                <a:lnTo>
                  <a:pt x="42671" y="8381"/>
                </a:lnTo>
                <a:lnTo>
                  <a:pt x="42671" y="10367"/>
                </a:lnTo>
                <a:lnTo>
                  <a:pt x="43959" y="10354"/>
                </a:lnTo>
                <a:close/>
              </a:path>
              <a:path w="302895" h="267970">
                <a:moveTo>
                  <a:pt x="51033" y="10283"/>
                </a:moveTo>
                <a:lnTo>
                  <a:pt x="43959" y="10354"/>
                </a:lnTo>
                <a:lnTo>
                  <a:pt x="49186" y="18361"/>
                </a:lnTo>
                <a:lnTo>
                  <a:pt x="51033" y="10283"/>
                </a:lnTo>
                <a:close/>
              </a:path>
              <a:path w="302895" h="267970">
                <a:moveTo>
                  <a:pt x="217172" y="258267"/>
                </a:moveTo>
                <a:lnTo>
                  <a:pt x="55732" y="10235"/>
                </a:lnTo>
                <a:lnTo>
                  <a:pt x="51033" y="10283"/>
                </a:lnTo>
                <a:lnTo>
                  <a:pt x="49186" y="18361"/>
                </a:lnTo>
                <a:lnTo>
                  <a:pt x="210311" y="265176"/>
                </a:lnTo>
                <a:lnTo>
                  <a:pt x="211835" y="266699"/>
                </a:lnTo>
                <a:lnTo>
                  <a:pt x="213359" y="267462"/>
                </a:lnTo>
                <a:lnTo>
                  <a:pt x="214883" y="267462"/>
                </a:lnTo>
                <a:lnTo>
                  <a:pt x="214883" y="258317"/>
                </a:lnTo>
                <a:lnTo>
                  <a:pt x="217172" y="258267"/>
                </a:lnTo>
                <a:close/>
              </a:path>
              <a:path w="302895" h="267970">
                <a:moveTo>
                  <a:pt x="51815" y="10275"/>
                </a:moveTo>
                <a:lnTo>
                  <a:pt x="51815" y="6857"/>
                </a:lnTo>
                <a:lnTo>
                  <a:pt x="51033" y="10283"/>
                </a:lnTo>
                <a:lnTo>
                  <a:pt x="51815" y="10275"/>
                </a:lnTo>
                <a:close/>
              </a:path>
              <a:path w="302895" h="267970">
                <a:moveTo>
                  <a:pt x="88391" y="9905"/>
                </a:moveTo>
                <a:lnTo>
                  <a:pt x="84581" y="7619"/>
                </a:lnTo>
                <a:lnTo>
                  <a:pt x="86104" y="9929"/>
                </a:lnTo>
                <a:lnTo>
                  <a:pt x="88391" y="9905"/>
                </a:lnTo>
                <a:close/>
              </a:path>
              <a:path w="302895" h="267970">
                <a:moveTo>
                  <a:pt x="86104" y="9929"/>
                </a:moveTo>
                <a:lnTo>
                  <a:pt x="84581" y="7619"/>
                </a:lnTo>
                <a:lnTo>
                  <a:pt x="84581" y="9944"/>
                </a:lnTo>
                <a:lnTo>
                  <a:pt x="86104" y="9929"/>
                </a:lnTo>
                <a:close/>
              </a:path>
              <a:path w="302895" h="267970">
                <a:moveTo>
                  <a:pt x="88391" y="13397"/>
                </a:moveTo>
                <a:lnTo>
                  <a:pt x="88391" y="9905"/>
                </a:lnTo>
                <a:lnTo>
                  <a:pt x="86104" y="9929"/>
                </a:lnTo>
                <a:lnTo>
                  <a:pt x="88391" y="13397"/>
                </a:lnTo>
                <a:close/>
              </a:path>
              <a:path w="302895" h="267970">
                <a:moveTo>
                  <a:pt x="218693" y="260603"/>
                </a:moveTo>
                <a:lnTo>
                  <a:pt x="217172" y="258267"/>
                </a:lnTo>
                <a:lnTo>
                  <a:pt x="214883" y="258317"/>
                </a:lnTo>
                <a:lnTo>
                  <a:pt x="218693" y="260603"/>
                </a:lnTo>
                <a:close/>
              </a:path>
              <a:path w="302895" h="267970">
                <a:moveTo>
                  <a:pt x="218693" y="267377"/>
                </a:moveTo>
                <a:lnTo>
                  <a:pt x="218693" y="260603"/>
                </a:lnTo>
                <a:lnTo>
                  <a:pt x="214883" y="258317"/>
                </a:lnTo>
                <a:lnTo>
                  <a:pt x="214883" y="267462"/>
                </a:lnTo>
                <a:lnTo>
                  <a:pt x="218693" y="267377"/>
                </a:lnTo>
                <a:close/>
              </a:path>
              <a:path w="302895" h="267970">
                <a:moveTo>
                  <a:pt x="283463" y="265938"/>
                </a:moveTo>
                <a:lnTo>
                  <a:pt x="283463" y="256794"/>
                </a:lnTo>
                <a:lnTo>
                  <a:pt x="278891" y="259079"/>
                </a:lnTo>
                <a:lnTo>
                  <a:pt x="278891" y="256895"/>
                </a:lnTo>
                <a:lnTo>
                  <a:pt x="217172" y="258267"/>
                </a:lnTo>
                <a:lnTo>
                  <a:pt x="218693" y="260603"/>
                </a:lnTo>
                <a:lnTo>
                  <a:pt x="218693" y="267377"/>
                </a:lnTo>
                <a:lnTo>
                  <a:pt x="278891" y="266039"/>
                </a:lnTo>
                <a:lnTo>
                  <a:pt x="278891" y="259079"/>
                </a:lnTo>
                <a:lnTo>
                  <a:pt x="279910" y="256872"/>
                </a:lnTo>
                <a:lnTo>
                  <a:pt x="279910" y="266016"/>
                </a:lnTo>
                <a:lnTo>
                  <a:pt x="283463" y="265938"/>
                </a:lnTo>
                <a:close/>
              </a:path>
              <a:path w="302895" h="267970">
                <a:moveTo>
                  <a:pt x="254507" y="249173"/>
                </a:moveTo>
                <a:lnTo>
                  <a:pt x="250386" y="242875"/>
                </a:lnTo>
                <a:lnTo>
                  <a:pt x="246887" y="249173"/>
                </a:lnTo>
                <a:lnTo>
                  <a:pt x="254507" y="249173"/>
                </a:lnTo>
                <a:close/>
              </a:path>
              <a:path w="302895" h="267970">
                <a:moveTo>
                  <a:pt x="254507" y="254507"/>
                </a:moveTo>
                <a:lnTo>
                  <a:pt x="254507" y="249173"/>
                </a:lnTo>
                <a:lnTo>
                  <a:pt x="246887" y="249173"/>
                </a:lnTo>
                <a:lnTo>
                  <a:pt x="246887" y="253745"/>
                </a:lnTo>
                <a:lnTo>
                  <a:pt x="247649" y="255269"/>
                </a:lnTo>
                <a:lnTo>
                  <a:pt x="249173" y="256031"/>
                </a:lnTo>
                <a:lnTo>
                  <a:pt x="252221" y="256031"/>
                </a:lnTo>
                <a:lnTo>
                  <a:pt x="253745" y="255269"/>
                </a:lnTo>
                <a:lnTo>
                  <a:pt x="254507" y="254507"/>
                </a:lnTo>
                <a:close/>
              </a:path>
              <a:path w="302895" h="267970">
                <a:moveTo>
                  <a:pt x="302513" y="231647"/>
                </a:moveTo>
                <a:lnTo>
                  <a:pt x="300227" y="227075"/>
                </a:lnTo>
                <a:lnTo>
                  <a:pt x="298703" y="226313"/>
                </a:lnTo>
                <a:lnTo>
                  <a:pt x="260603" y="226313"/>
                </a:lnTo>
                <a:lnTo>
                  <a:pt x="259079" y="227075"/>
                </a:lnTo>
                <a:lnTo>
                  <a:pt x="258317" y="228599"/>
                </a:lnTo>
                <a:lnTo>
                  <a:pt x="250386" y="242875"/>
                </a:lnTo>
                <a:lnTo>
                  <a:pt x="254507" y="249173"/>
                </a:lnTo>
                <a:lnTo>
                  <a:pt x="254507" y="254507"/>
                </a:lnTo>
                <a:lnTo>
                  <a:pt x="255269" y="253745"/>
                </a:lnTo>
                <a:lnTo>
                  <a:pt x="262127" y="241401"/>
                </a:lnTo>
                <a:lnTo>
                  <a:pt x="262127" y="235457"/>
                </a:lnTo>
                <a:lnTo>
                  <a:pt x="266699" y="233171"/>
                </a:lnTo>
                <a:lnTo>
                  <a:pt x="266699" y="235457"/>
                </a:lnTo>
                <a:lnTo>
                  <a:pt x="289794" y="235457"/>
                </a:lnTo>
                <a:lnTo>
                  <a:pt x="292607" y="229361"/>
                </a:lnTo>
                <a:lnTo>
                  <a:pt x="297179" y="235457"/>
                </a:lnTo>
                <a:lnTo>
                  <a:pt x="297179" y="242797"/>
                </a:lnTo>
                <a:lnTo>
                  <a:pt x="301751" y="233171"/>
                </a:lnTo>
                <a:lnTo>
                  <a:pt x="302513" y="231647"/>
                </a:lnTo>
                <a:close/>
              </a:path>
              <a:path w="302895" h="267970">
                <a:moveTo>
                  <a:pt x="266699" y="233171"/>
                </a:moveTo>
                <a:lnTo>
                  <a:pt x="262127" y="235457"/>
                </a:lnTo>
                <a:lnTo>
                  <a:pt x="265429" y="235457"/>
                </a:lnTo>
                <a:lnTo>
                  <a:pt x="266699" y="233171"/>
                </a:lnTo>
                <a:close/>
              </a:path>
              <a:path w="302895" h="267970">
                <a:moveTo>
                  <a:pt x="265429" y="235457"/>
                </a:moveTo>
                <a:lnTo>
                  <a:pt x="262127" y="235457"/>
                </a:lnTo>
                <a:lnTo>
                  <a:pt x="262127" y="241401"/>
                </a:lnTo>
                <a:lnTo>
                  <a:pt x="265429" y="235457"/>
                </a:lnTo>
                <a:close/>
              </a:path>
              <a:path w="302895" h="267970">
                <a:moveTo>
                  <a:pt x="266699" y="235457"/>
                </a:moveTo>
                <a:lnTo>
                  <a:pt x="266699" y="233171"/>
                </a:lnTo>
                <a:lnTo>
                  <a:pt x="265429" y="235457"/>
                </a:lnTo>
                <a:lnTo>
                  <a:pt x="266699" y="235457"/>
                </a:lnTo>
                <a:close/>
              </a:path>
              <a:path w="302895" h="267970">
                <a:moveTo>
                  <a:pt x="283463" y="256794"/>
                </a:moveTo>
                <a:lnTo>
                  <a:pt x="279910" y="256872"/>
                </a:lnTo>
                <a:lnTo>
                  <a:pt x="278891" y="259079"/>
                </a:lnTo>
                <a:lnTo>
                  <a:pt x="283463" y="256794"/>
                </a:lnTo>
                <a:close/>
              </a:path>
              <a:path w="302895" h="267970">
                <a:moveTo>
                  <a:pt x="297179" y="242797"/>
                </a:moveTo>
                <a:lnTo>
                  <a:pt x="297179" y="235457"/>
                </a:lnTo>
                <a:lnTo>
                  <a:pt x="289794" y="235457"/>
                </a:lnTo>
                <a:lnTo>
                  <a:pt x="279910" y="256872"/>
                </a:lnTo>
                <a:lnTo>
                  <a:pt x="283463" y="256794"/>
                </a:lnTo>
                <a:lnTo>
                  <a:pt x="283463" y="265938"/>
                </a:lnTo>
                <a:lnTo>
                  <a:pt x="284987" y="265938"/>
                </a:lnTo>
                <a:lnTo>
                  <a:pt x="286511" y="265176"/>
                </a:lnTo>
                <a:lnTo>
                  <a:pt x="287273" y="263652"/>
                </a:lnTo>
                <a:lnTo>
                  <a:pt x="297179" y="242797"/>
                </a:lnTo>
                <a:close/>
              </a:path>
              <a:path w="302895" h="267970">
                <a:moveTo>
                  <a:pt x="297179" y="235457"/>
                </a:moveTo>
                <a:lnTo>
                  <a:pt x="292607" y="229361"/>
                </a:lnTo>
                <a:lnTo>
                  <a:pt x="289794" y="235457"/>
                </a:lnTo>
                <a:lnTo>
                  <a:pt x="297179" y="2354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0" name="object 68"/>
          <p:cNvSpPr/>
          <p:nvPr/>
        </p:nvSpPr>
        <p:spPr>
          <a:xfrm>
            <a:off x="7563825" y="3437472"/>
            <a:ext cx="274740" cy="89951"/>
          </a:xfrm>
          <a:prstGeom prst="rect">
            <a:avLst/>
          </a:prstGeom>
          <a:blipFill>
            <a:blip r:embed="rId4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1" name="object 69"/>
          <p:cNvSpPr/>
          <p:nvPr/>
        </p:nvSpPr>
        <p:spPr>
          <a:xfrm>
            <a:off x="7560482" y="3435002"/>
            <a:ext cx="282347" cy="94654"/>
          </a:xfrm>
          <a:custGeom>
            <a:avLst/>
            <a:gdLst/>
            <a:ahLst/>
            <a:cxnLst/>
            <a:rect l="l" t="t" r="r" b="b"/>
            <a:pathLst>
              <a:path w="386079" h="204470">
                <a:moveTo>
                  <a:pt x="385572" y="200406"/>
                </a:moveTo>
                <a:lnTo>
                  <a:pt x="385572" y="198882"/>
                </a:lnTo>
                <a:lnTo>
                  <a:pt x="384048" y="197358"/>
                </a:lnTo>
                <a:lnTo>
                  <a:pt x="252222" y="2286"/>
                </a:lnTo>
                <a:lnTo>
                  <a:pt x="249936" y="0"/>
                </a:lnTo>
                <a:lnTo>
                  <a:pt x="3048" y="762"/>
                </a:lnTo>
                <a:lnTo>
                  <a:pt x="1524" y="1524"/>
                </a:lnTo>
                <a:lnTo>
                  <a:pt x="0" y="4572"/>
                </a:lnTo>
                <a:lnTo>
                  <a:pt x="0" y="6858"/>
                </a:lnTo>
                <a:lnTo>
                  <a:pt x="762" y="8382"/>
                </a:lnTo>
                <a:lnTo>
                  <a:pt x="4572" y="14234"/>
                </a:lnTo>
                <a:lnTo>
                  <a:pt x="4572" y="9906"/>
                </a:lnTo>
                <a:lnTo>
                  <a:pt x="9144" y="3048"/>
                </a:lnTo>
                <a:lnTo>
                  <a:pt x="13608" y="9906"/>
                </a:lnTo>
                <a:lnTo>
                  <a:pt x="244602" y="9906"/>
                </a:lnTo>
                <a:lnTo>
                  <a:pt x="244602" y="7620"/>
                </a:lnTo>
                <a:lnTo>
                  <a:pt x="248412" y="9906"/>
                </a:lnTo>
                <a:lnTo>
                  <a:pt x="248412" y="13257"/>
                </a:lnTo>
                <a:lnTo>
                  <a:pt x="371278" y="195072"/>
                </a:lnTo>
                <a:lnTo>
                  <a:pt x="380238" y="195072"/>
                </a:lnTo>
                <a:lnTo>
                  <a:pt x="380238" y="204216"/>
                </a:lnTo>
                <a:lnTo>
                  <a:pt x="382524" y="204216"/>
                </a:lnTo>
                <a:lnTo>
                  <a:pt x="384048" y="203454"/>
                </a:lnTo>
                <a:lnTo>
                  <a:pt x="385572" y="200406"/>
                </a:lnTo>
                <a:close/>
              </a:path>
              <a:path w="386079" h="204470">
                <a:moveTo>
                  <a:pt x="13608" y="9906"/>
                </a:moveTo>
                <a:lnTo>
                  <a:pt x="9144" y="3048"/>
                </a:lnTo>
                <a:lnTo>
                  <a:pt x="4572" y="9906"/>
                </a:lnTo>
                <a:lnTo>
                  <a:pt x="13608" y="9906"/>
                </a:lnTo>
                <a:close/>
              </a:path>
              <a:path w="386079" h="204470">
                <a:moveTo>
                  <a:pt x="134147" y="195072"/>
                </a:moveTo>
                <a:lnTo>
                  <a:pt x="13608" y="9906"/>
                </a:lnTo>
                <a:lnTo>
                  <a:pt x="4572" y="9906"/>
                </a:lnTo>
                <a:lnTo>
                  <a:pt x="4572" y="14234"/>
                </a:lnTo>
                <a:lnTo>
                  <a:pt x="127254" y="202692"/>
                </a:lnTo>
                <a:lnTo>
                  <a:pt x="128016" y="203454"/>
                </a:lnTo>
                <a:lnTo>
                  <a:pt x="129540" y="204216"/>
                </a:lnTo>
                <a:lnTo>
                  <a:pt x="131064" y="204216"/>
                </a:lnTo>
                <a:lnTo>
                  <a:pt x="131064" y="195072"/>
                </a:lnTo>
                <a:lnTo>
                  <a:pt x="134147" y="195072"/>
                </a:lnTo>
                <a:close/>
              </a:path>
              <a:path w="386079" h="204470">
                <a:moveTo>
                  <a:pt x="135636" y="197358"/>
                </a:moveTo>
                <a:lnTo>
                  <a:pt x="134147" y="195072"/>
                </a:lnTo>
                <a:lnTo>
                  <a:pt x="131064" y="195072"/>
                </a:lnTo>
                <a:lnTo>
                  <a:pt x="135636" y="197358"/>
                </a:lnTo>
                <a:close/>
              </a:path>
              <a:path w="386079" h="204470">
                <a:moveTo>
                  <a:pt x="135636" y="204216"/>
                </a:moveTo>
                <a:lnTo>
                  <a:pt x="135636" y="197358"/>
                </a:lnTo>
                <a:lnTo>
                  <a:pt x="131064" y="195072"/>
                </a:lnTo>
                <a:lnTo>
                  <a:pt x="131064" y="204216"/>
                </a:lnTo>
                <a:lnTo>
                  <a:pt x="135636" y="204216"/>
                </a:lnTo>
                <a:close/>
              </a:path>
              <a:path w="386079" h="204470">
                <a:moveTo>
                  <a:pt x="380238" y="204216"/>
                </a:moveTo>
                <a:lnTo>
                  <a:pt x="380238" y="195072"/>
                </a:lnTo>
                <a:lnTo>
                  <a:pt x="376428" y="202692"/>
                </a:lnTo>
                <a:lnTo>
                  <a:pt x="371278" y="195072"/>
                </a:lnTo>
                <a:lnTo>
                  <a:pt x="134147" y="195072"/>
                </a:lnTo>
                <a:lnTo>
                  <a:pt x="135636" y="197358"/>
                </a:lnTo>
                <a:lnTo>
                  <a:pt x="135636" y="204216"/>
                </a:lnTo>
                <a:lnTo>
                  <a:pt x="380238" y="204216"/>
                </a:lnTo>
                <a:close/>
              </a:path>
              <a:path w="386079" h="204470">
                <a:moveTo>
                  <a:pt x="248412" y="9906"/>
                </a:moveTo>
                <a:lnTo>
                  <a:pt x="244602" y="7620"/>
                </a:lnTo>
                <a:lnTo>
                  <a:pt x="246146" y="9906"/>
                </a:lnTo>
                <a:lnTo>
                  <a:pt x="248412" y="9906"/>
                </a:lnTo>
                <a:close/>
              </a:path>
              <a:path w="386079" h="204470">
                <a:moveTo>
                  <a:pt x="246146" y="9906"/>
                </a:moveTo>
                <a:lnTo>
                  <a:pt x="244602" y="7620"/>
                </a:lnTo>
                <a:lnTo>
                  <a:pt x="244602" y="9906"/>
                </a:lnTo>
                <a:lnTo>
                  <a:pt x="246146" y="9906"/>
                </a:lnTo>
                <a:close/>
              </a:path>
              <a:path w="386079" h="204470">
                <a:moveTo>
                  <a:pt x="248412" y="13257"/>
                </a:moveTo>
                <a:lnTo>
                  <a:pt x="248412" y="9906"/>
                </a:lnTo>
                <a:lnTo>
                  <a:pt x="246146" y="9906"/>
                </a:lnTo>
                <a:lnTo>
                  <a:pt x="248412" y="13257"/>
                </a:lnTo>
                <a:close/>
              </a:path>
              <a:path w="386079" h="204470">
                <a:moveTo>
                  <a:pt x="380238" y="195072"/>
                </a:moveTo>
                <a:lnTo>
                  <a:pt x="371278" y="195072"/>
                </a:lnTo>
                <a:lnTo>
                  <a:pt x="376428" y="202692"/>
                </a:lnTo>
                <a:lnTo>
                  <a:pt x="380238" y="1950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2" name="object 70"/>
          <p:cNvSpPr/>
          <p:nvPr/>
        </p:nvSpPr>
        <p:spPr>
          <a:xfrm>
            <a:off x="7914344" y="3423479"/>
            <a:ext cx="212883" cy="118758"/>
          </a:xfrm>
          <a:prstGeom prst="rect">
            <a:avLst/>
          </a:prstGeom>
          <a:blipFill>
            <a:blip r:embed="rId4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3" name="object 71"/>
          <p:cNvSpPr/>
          <p:nvPr/>
        </p:nvSpPr>
        <p:spPr>
          <a:xfrm>
            <a:off x="7909895" y="3420540"/>
            <a:ext cx="221048" cy="124050"/>
          </a:xfrm>
          <a:custGeom>
            <a:avLst/>
            <a:gdLst/>
            <a:ahLst/>
            <a:cxnLst/>
            <a:rect l="l" t="t" r="r" b="b"/>
            <a:pathLst>
              <a:path w="302259" h="267970">
                <a:moveTo>
                  <a:pt x="250378" y="242891"/>
                </a:moveTo>
                <a:lnTo>
                  <a:pt x="92201" y="2285"/>
                </a:lnTo>
                <a:lnTo>
                  <a:pt x="91439" y="761"/>
                </a:lnTo>
                <a:lnTo>
                  <a:pt x="89915" y="0"/>
                </a:lnTo>
                <a:lnTo>
                  <a:pt x="84581" y="38"/>
                </a:lnTo>
                <a:lnTo>
                  <a:pt x="17525" y="715"/>
                </a:lnTo>
                <a:lnTo>
                  <a:pt x="10667" y="761"/>
                </a:lnTo>
                <a:lnTo>
                  <a:pt x="8381" y="2285"/>
                </a:lnTo>
                <a:lnTo>
                  <a:pt x="8381" y="4571"/>
                </a:lnTo>
                <a:lnTo>
                  <a:pt x="761" y="31241"/>
                </a:lnTo>
                <a:lnTo>
                  <a:pt x="0" y="32765"/>
                </a:lnTo>
                <a:lnTo>
                  <a:pt x="761" y="34289"/>
                </a:lnTo>
                <a:lnTo>
                  <a:pt x="1523" y="35051"/>
                </a:lnTo>
                <a:lnTo>
                  <a:pt x="2285" y="36575"/>
                </a:lnTo>
                <a:lnTo>
                  <a:pt x="3809" y="37337"/>
                </a:lnTo>
                <a:lnTo>
                  <a:pt x="5333" y="37337"/>
                </a:lnTo>
                <a:lnTo>
                  <a:pt x="5333" y="27431"/>
                </a:lnTo>
                <a:lnTo>
                  <a:pt x="11647" y="27431"/>
                </a:lnTo>
                <a:lnTo>
                  <a:pt x="12953" y="22859"/>
                </a:lnTo>
                <a:lnTo>
                  <a:pt x="12953" y="10667"/>
                </a:lnTo>
                <a:lnTo>
                  <a:pt x="17525" y="6857"/>
                </a:lnTo>
                <a:lnTo>
                  <a:pt x="17525" y="10621"/>
                </a:lnTo>
                <a:lnTo>
                  <a:pt x="40869" y="10386"/>
                </a:lnTo>
                <a:lnTo>
                  <a:pt x="41909" y="5333"/>
                </a:lnTo>
                <a:lnTo>
                  <a:pt x="42671" y="3047"/>
                </a:lnTo>
                <a:lnTo>
                  <a:pt x="44195" y="1523"/>
                </a:lnTo>
                <a:lnTo>
                  <a:pt x="45719" y="1523"/>
                </a:lnTo>
                <a:lnTo>
                  <a:pt x="48005" y="761"/>
                </a:lnTo>
                <a:lnTo>
                  <a:pt x="49529" y="1523"/>
                </a:lnTo>
                <a:lnTo>
                  <a:pt x="51053" y="3047"/>
                </a:lnTo>
                <a:lnTo>
                  <a:pt x="55732" y="10235"/>
                </a:lnTo>
                <a:lnTo>
                  <a:pt x="84581" y="9944"/>
                </a:lnTo>
                <a:lnTo>
                  <a:pt x="84581" y="7619"/>
                </a:lnTo>
                <a:lnTo>
                  <a:pt x="88391" y="9905"/>
                </a:lnTo>
                <a:lnTo>
                  <a:pt x="88391" y="13397"/>
                </a:lnTo>
                <a:lnTo>
                  <a:pt x="246887" y="253745"/>
                </a:lnTo>
                <a:lnTo>
                  <a:pt x="246887" y="249173"/>
                </a:lnTo>
                <a:lnTo>
                  <a:pt x="250378" y="242891"/>
                </a:lnTo>
                <a:close/>
              </a:path>
              <a:path w="302259" h="267970">
                <a:moveTo>
                  <a:pt x="11647" y="27431"/>
                </a:moveTo>
                <a:lnTo>
                  <a:pt x="5333" y="27431"/>
                </a:lnTo>
                <a:lnTo>
                  <a:pt x="9905" y="33527"/>
                </a:lnTo>
                <a:lnTo>
                  <a:pt x="11647" y="27431"/>
                </a:lnTo>
                <a:close/>
              </a:path>
              <a:path w="302259" h="267970">
                <a:moveTo>
                  <a:pt x="37360" y="27431"/>
                </a:moveTo>
                <a:lnTo>
                  <a:pt x="11647" y="27431"/>
                </a:lnTo>
                <a:lnTo>
                  <a:pt x="9905" y="33527"/>
                </a:lnTo>
                <a:lnTo>
                  <a:pt x="5333" y="27431"/>
                </a:lnTo>
                <a:lnTo>
                  <a:pt x="5333" y="37337"/>
                </a:lnTo>
                <a:lnTo>
                  <a:pt x="36575" y="37337"/>
                </a:lnTo>
                <a:lnTo>
                  <a:pt x="36575" y="31241"/>
                </a:lnTo>
                <a:lnTo>
                  <a:pt x="37360" y="27431"/>
                </a:lnTo>
                <a:close/>
              </a:path>
              <a:path w="302259" h="267970">
                <a:moveTo>
                  <a:pt x="17525" y="6857"/>
                </a:moveTo>
                <a:lnTo>
                  <a:pt x="12953" y="10667"/>
                </a:lnTo>
                <a:lnTo>
                  <a:pt x="16447" y="10632"/>
                </a:lnTo>
                <a:lnTo>
                  <a:pt x="17525" y="6857"/>
                </a:lnTo>
                <a:close/>
              </a:path>
              <a:path w="302259" h="267970">
                <a:moveTo>
                  <a:pt x="16447" y="10632"/>
                </a:moveTo>
                <a:lnTo>
                  <a:pt x="12953" y="10667"/>
                </a:lnTo>
                <a:lnTo>
                  <a:pt x="12953" y="22859"/>
                </a:lnTo>
                <a:lnTo>
                  <a:pt x="16447" y="10632"/>
                </a:lnTo>
                <a:close/>
              </a:path>
              <a:path w="302259" h="267970">
                <a:moveTo>
                  <a:pt x="17525" y="10621"/>
                </a:moveTo>
                <a:lnTo>
                  <a:pt x="17525" y="6857"/>
                </a:lnTo>
                <a:lnTo>
                  <a:pt x="16447" y="10632"/>
                </a:lnTo>
                <a:lnTo>
                  <a:pt x="17525" y="10621"/>
                </a:lnTo>
                <a:close/>
              </a:path>
              <a:path w="302259" h="267970">
                <a:moveTo>
                  <a:pt x="41147" y="27431"/>
                </a:moveTo>
                <a:lnTo>
                  <a:pt x="37360" y="27431"/>
                </a:lnTo>
                <a:lnTo>
                  <a:pt x="36575" y="31241"/>
                </a:lnTo>
                <a:lnTo>
                  <a:pt x="41147" y="27431"/>
                </a:lnTo>
                <a:close/>
              </a:path>
              <a:path w="302259" h="267970">
                <a:moveTo>
                  <a:pt x="41147" y="37337"/>
                </a:moveTo>
                <a:lnTo>
                  <a:pt x="41147" y="27431"/>
                </a:lnTo>
                <a:lnTo>
                  <a:pt x="36575" y="31241"/>
                </a:lnTo>
                <a:lnTo>
                  <a:pt x="36575" y="37337"/>
                </a:lnTo>
                <a:lnTo>
                  <a:pt x="41147" y="37337"/>
                </a:lnTo>
                <a:close/>
              </a:path>
              <a:path w="302259" h="267970">
                <a:moveTo>
                  <a:pt x="48854" y="17853"/>
                </a:moveTo>
                <a:lnTo>
                  <a:pt x="43959" y="10354"/>
                </a:lnTo>
                <a:lnTo>
                  <a:pt x="40869" y="10386"/>
                </a:lnTo>
                <a:lnTo>
                  <a:pt x="37360" y="27431"/>
                </a:lnTo>
                <a:lnTo>
                  <a:pt x="41147" y="27431"/>
                </a:lnTo>
                <a:lnTo>
                  <a:pt x="41147" y="37337"/>
                </a:lnTo>
                <a:lnTo>
                  <a:pt x="43433" y="37337"/>
                </a:lnTo>
                <a:lnTo>
                  <a:pt x="44957" y="35813"/>
                </a:lnTo>
                <a:lnTo>
                  <a:pt x="45719" y="33527"/>
                </a:lnTo>
                <a:lnTo>
                  <a:pt x="48854" y="17853"/>
                </a:lnTo>
                <a:close/>
              </a:path>
              <a:path w="302259" h="267970">
                <a:moveTo>
                  <a:pt x="55732" y="10235"/>
                </a:moveTo>
                <a:lnTo>
                  <a:pt x="51053" y="3047"/>
                </a:lnTo>
                <a:lnTo>
                  <a:pt x="49529" y="1523"/>
                </a:lnTo>
                <a:lnTo>
                  <a:pt x="48005" y="761"/>
                </a:lnTo>
                <a:lnTo>
                  <a:pt x="45719" y="1523"/>
                </a:lnTo>
                <a:lnTo>
                  <a:pt x="44195" y="1523"/>
                </a:lnTo>
                <a:lnTo>
                  <a:pt x="42671" y="3047"/>
                </a:lnTo>
                <a:lnTo>
                  <a:pt x="41909" y="5333"/>
                </a:lnTo>
                <a:lnTo>
                  <a:pt x="40869" y="10386"/>
                </a:lnTo>
                <a:lnTo>
                  <a:pt x="42671" y="10367"/>
                </a:lnTo>
                <a:lnTo>
                  <a:pt x="42671" y="8381"/>
                </a:lnTo>
                <a:lnTo>
                  <a:pt x="51053" y="6857"/>
                </a:lnTo>
                <a:lnTo>
                  <a:pt x="51053" y="10283"/>
                </a:lnTo>
                <a:lnTo>
                  <a:pt x="55732" y="10235"/>
                </a:lnTo>
                <a:close/>
              </a:path>
              <a:path w="302259" h="267970">
                <a:moveTo>
                  <a:pt x="51053" y="6857"/>
                </a:moveTo>
                <a:lnTo>
                  <a:pt x="42671" y="8381"/>
                </a:lnTo>
                <a:lnTo>
                  <a:pt x="43959" y="10354"/>
                </a:lnTo>
                <a:lnTo>
                  <a:pt x="50367" y="10290"/>
                </a:lnTo>
                <a:lnTo>
                  <a:pt x="51053" y="6857"/>
                </a:lnTo>
                <a:close/>
              </a:path>
              <a:path w="302259" h="267970">
                <a:moveTo>
                  <a:pt x="43959" y="10354"/>
                </a:moveTo>
                <a:lnTo>
                  <a:pt x="42671" y="8381"/>
                </a:lnTo>
                <a:lnTo>
                  <a:pt x="42671" y="10367"/>
                </a:lnTo>
                <a:lnTo>
                  <a:pt x="43959" y="10354"/>
                </a:lnTo>
                <a:close/>
              </a:path>
              <a:path w="302259" h="267970">
                <a:moveTo>
                  <a:pt x="50367" y="10290"/>
                </a:moveTo>
                <a:lnTo>
                  <a:pt x="43959" y="10354"/>
                </a:lnTo>
                <a:lnTo>
                  <a:pt x="48854" y="17853"/>
                </a:lnTo>
                <a:lnTo>
                  <a:pt x="50367" y="10290"/>
                </a:lnTo>
                <a:close/>
              </a:path>
              <a:path w="302259" h="267970">
                <a:moveTo>
                  <a:pt x="217162" y="258250"/>
                </a:moveTo>
                <a:lnTo>
                  <a:pt x="55732" y="10235"/>
                </a:lnTo>
                <a:lnTo>
                  <a:pt x="50367" y="10290"/>
                </a:lnTo>
                <a:lnTo>
                  <a:pt x="48854" y="17853"/>
                </a:lnTo>
                <a:lnTo>
                  <a:pt x="210311" y="265176"/>
                </a:lnTo>
                <a:lnTo>
                  <a:pt x="211835" y="266699"/>
                </a:lnTo>
                <a:lnTo>
                  <a:pt x="213359" y="267462"/>
                </a:lnTo>
                <a:lnTo>
                  <a:pt x="214121" y="267462"/>
                </a:lnTo>
                <a:lnTo>
                  <a:pt x="214121" y="258317"/>
                </a:lnTo>
                <a:lnTo>
                  <a:pt x="217162" y="258250"/>
                </a:lnTo>
                <a:close/>
              </a:path>
              <a:path w="302259" h="267970">
                <a:moveTo>
                  <a:pt x="51053" y="10283"/>
                </a:moveTo>
                <a:lnTo>
                  <a:pt x="51053" y="6857"/>
                </a:lnTo>
                <a:lnTo>
                  <a:pt x="50367" y="10290"/>
                </a:lnTo>
                <a:lnTo>
                  <a:pt x="51053" y="10283"/>
                </a:lnTo>
                <a:close/>
              </a:path>
              <a:path w="302259" h="267970">
                <a:moveTo>
                  <a:pt x="88391" y="9905"/>
                </a:moveTo>
                <a:lnTo>
                  <a:pt x="84581" y="7619"/>
                </a:lnTo>
                <a:lnTo>
                  <a:pt x="86104" y="9929"/>
                </a:lnTo>
                <a:lnTo>
                  <a:pt x="88391" y="9905"/>
                </a:lnTo>
                <a:close/>
              </a:path>
              <a:path w="302259" h="267970">
                <a:moveTo>
                  <a:pt x="86104" y="9929"/>
                </a:moveTo>
                <a:lnTo>
                  <a:pt x="84581" y="7619"/>
                </a:lnTo>
                <a:lnTo>
                  <a:pt x="84581" y="9944"/>
                </a:lnTo>
                <a:lnTo>
                  <a:pt x="86104" y="9929"/>
                </a:lnTo>
                <a:close/>
              </a:path>
              <a:path w="302259" h="267970">
                <a:moveTo>
                  <a:pt x="88391" y="13397"/>
                </a:moveTo>
                <a:lnTo>
                  <a:pt x="88391" y="9905"/>
                </a:lnTo>
                <a:lnTo>
                  <a:pt x="86104" y="9929"/>
                </a:lnTo>
                <a:lnTo>
                  <a:pt x="88391" y="13397"/>
                </a:lnTo>
                <a:close/>
              </a:path>
              <a:path w="302259" h="267970">
                <a:moveTo>
                  <a:pt x="218693" y="260603"/>
                </a:moveTo>
                <a:lnTo>
                  <a:pt x="217162" y="258250"/>
                </a:lnTo>
                <a:lnTo>
                  <a:pt x="214121" y="258317"/>
                </a:lnTo>
                <a:lnTo>
                  <a:pt x="218693" y="260603"/>
                </a:lnTo>
                <a:close/>
              </a:path>
              <a:path w="302259" h="267970">
                <a:moveTo>
                  <a:pt x="218693" y="267377"/>
                </a:moveTo>
                <a:lnTo>
                  <a:pt x="218693" y="260603"/>
                </a:lnTo>
                <a:lnTo>
                  <a:pt x="214121" y="258317"/>
                </a:lnTo>
                <a:lnTo>
                  <a:pt x="214121" y="267462"/>
                </a:lnTo>
                <a:lnTo>
                  <a:pt x="218693" y="267377"/>
                </a:lnTo>
                <a:close/>
              </a:path>
              <a:path w="302259" h="267970">
                <a:moveTo>
                  <a:pt x="282701" y="265954"/>
                </a:moveTo>
                <a:lnTo>
                  <a:pt x="282701" y="256794"/>
                </a:lnTo>
                <a:lnTo>
                  <a:pt x="278891" y="259079"/>
                </a:lnTo>
                <a:lnTo>
                  <a:pt x="278891" y="256878"/>
                </a:lnTo>
                <a:lnTo>
                  <a:pt x="217162" y="258250"/>
                </a:lnTo>
                <a:lnTo>
                  <a:pt x="218693" y="260603"/>
                </a:lnTo>
                <a:lnTo>
                  <a:pt x="218693" y="267377"/>
                </a:lnTo>
                <a:lnTo>
                  <a:pt x="278891" y="266039"/>
                </a:lnTo>
                <a:lnTo>
                  <a:pt x="278891" y="259079"/>
                </a:lnTo>
                <a:lnTo>
                  <a:pt x="279918" y="256855"/>
                </a:lnTo>
                <a:lnTo>
                  <a:pt x="279918" y="266016"/>
                </a:lnTo>
                <a:lnTo>
                  <a:pt x="282701" y="265954"/>
                </a:lnTo>
                <a:close/>
              </a:path>
              <a:path w="302259" h="267970">
                <a:moveTo>
                  <a:pt x="254507" y="249173"/>
                </a:moveTo>
                <a:lnTo>
                  <a:pt x="250378" y="242891"/>
                </a:lnTo>
                <a:lnTo>
                  <a:pt x="246887" y="249173"/>
                </a:lnTo>
                <a:lnTo>
                  <a:pt x="254507" y="249173"/>
                </a:lnTo>
                <a:close/>
              </a:path>
              <a:path w="302259" h="267970">
                <a:moveTo>
                  <a:pt x="254507" y="253745"/>
                </a:moveTo>
                <a:lnTo>
                  <a:pt x="254507" y="249173"/>
                </a:lnTo>
                <a:lnTo>
                  <a:pt x="246887" y="249173"/>
                </a:lnTo>
                <a:lnTo>
                  <a:pt x="246887" y="253745"/>
                </a:lnTo>
                <a:lnTo>
                  <a:pt x="247649" y="255269"/>
                </a:lnTo>
                <a:lnTo>
                  <a:pt x="249173" y="256031"/>
                </a:lnTo>
                <a:lnTo>
                  <a:pt x="252221" y="256031"/>
                </a:lnTo>
                <a:lnTo>
                  <a:pt x="253745" y="255269"/>
                </a:lnTo>
                <a:lnTo>
                  <a:pt x="254507" y="253745"/>
                </a:lnTo>
                <a:close/>
              </a:path>
              <a:path w="302259" h="267970">
                <a:moveTo>
                  <a:pt x="301751" y="233171"/>
                </a:moveTo>
                <a:lnTo>
                  <a:pt x="301751" y="230123"/>
                </a:lnTo>
                <a:lnTo>
                  <a:pt x="300227" y="227075"/>
                </a:lnTo>
                <a:lnTo>
                  <a:pt x="298703" y="226313"/>
                </a:lnTo>
                <a:lnTo>
                  <a:pt x="260603" y="226313"/>
                </a:lnTo>
                <a:lnTo>
                  <a:pt x="259079" y="227075"/>
                </a:lnTo>
                <a:lnTo>
                  <a:pt x="258317" y="228599"/>
                </a:lnTo>
                <a:lnTo>
                  <a:pt x="250378" y="242891"/>
                </a:lnTo>
                <a:lnTo>
                  <a:pt x="254507" y="249173"/>
                </a:lnTo>
                <a:lnTo>
                  <a:pt x="254507" y="253745"/>
                </a:lnTo>
                <a:lnTo>
                  <a:pt x="262127" y="240029"/>
                </a:lnTo>
                <a:lnTo>
                  <a:pt x="262127" y="235457"/>
                </a:lnTo>
                <a:lnTo>
                  <a:pt x="265937" y="233171"/>
                </a:lnTo>
                <a:lnTo>
                  <a:pt x="265937" y="235457"/>
                </a:lnTo>
                <a:lnTo>
                  <a:pt x="289794" y="235457"/>
                </a:lnTo>
                <a:lnTo>
                  <a:pt x="292607" y="229361"/>
                </a:lnTo>
                <a:lnTo>
                  <a:pt x="297179" y="235457"/>
                </a:lnTo>
                <a:lnTo>
                  <a:pt x="297179" y="242797"/>
                </a:lnTo>
                <a:lnTo>
                  <a:pt x="301751" y="233171"/>
                </a:lnTo>
                <a:close/>
              </a:path>
              <a:path w="302259" h="267970">
                <a:moveTo>
                  <a:pt x="265937" y="233171"/>
                </a:moveTo>
                <a:lnTo>
                  <a:pt x="262127" y="235457"/>
                </a:lnTo>
                <a:lnTo>
                  <a:pt x="264667" y="235457"/>
                </a:lnTo>
                <a:lnTo>
                  <a:pt x="265937" y="233171"/>
                </a:lnTo>
                <a:close/>
              </a:path>
              <a:path w="302259" h="267970">
                <a:moveTo>
                  <a:pt x="264667" y="235457"/>
                </a:moveTo>
                <a:lnTo>
                  <a:pt x="262127" y="235457"/>
                </a:lnTo>
                <a:lnTo>
                  <a:pt x="262127" y="240029"/>
                </a:lnTo>
                <a:lnTo>
                  <a:pt x="264667" y="235457"/>
                </a:lnTo>
                <a:close/>
              </a:path>
              <a:path w="302259" h="267970">
                <a:moveTo>
                  <a:pt x="265937" y="235457"/>
                </a:moveTo>
                <a:lnTo>
                  <a:pt x="265937" y="233171"/>
                </a:lnTo>
                <a:lnTo>
                  <a:pt x="264667" y="235457"/>
                </a:lnTo>
                <a:lnTo>
                  <a:pt x="265937" y="235457"/>
                </a:lnTo>
                <a:close/>
              </a:path>
              <a:path w="302259" h="267970">
                <a:moveTo>
                  <a:pt x="282701" y="256794"/>
                </a:moveTo>
                <a:lnTo>
                  <a:pt x="279918" y="256855"/>
                </a:lnTo>
                <a:lnTo>
                  <a:pt x="278891" y="259079"/>
                </a:lnTo>
                <a:lnTo>
                  <a:pt x="282701" y="256794"/>
                </a:lnTo>
                <a:close/>
              </a:path>
              <a:path w="302259" h="267970">
                <a:moveTo>
                  <a:pt x="297179" y="242797"/>
                </a:moveTo>
                <a:lnTo>
                  <a:pt x="297179" y="235457"/>
                </a:lnTo>
                <a:lnTo>
                  <a:pt x="289794" y="235457"/>
                </a:lnTo>
                <a:lnTo>
                  <a:pt x="279918" y="256855"/>
                </a:lnTo>
                <a:lnTo>
                  <a:pt x="282701" y="256794"/>
                </a:lnTo>
                <a:lnTo>
                  <a:pt x="282701" y="265954"/>
                </a:lnTo>
                <a:lnTo>
                  <a:pt x="284987" y="265938"/>
                </a:lnTo>
                <a:lnTo>
                  <a:pt x="286511" y="265176"/>
                </a:lnTo>
                <a:lnTo>
                  <a:pt x="287273" y="263652"/>
                </a:lnTo>
                <a:lnTo>
                  <a:pt x="297179" y="242797"/>
                </a:lnTo>
                <a:close/>
              </a:path>
              <a:path w="302259" h="267970">
                <a:moveTo>
                  <a:pt x="297179" y="235457"/>
                </a:moveTo>
                <a:lnTo>
                  <a:pt x="292607" y="229361"/>
                </a:lnTo>
                <a:lnTo>
                  <a:pt x="289794" y="235457"/>
                </a:lnTo>
                <a:lnTo>
                  <a:pt x="297179" y="2354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4" name="object 72"/>
          <p:cNvSpPr/>
          <p:nvPr/>
        </p:nvSpPr>
        <p:spPr>
          <a:xfrm>
            <a:off x="7777257" y="3437472"/>
            <a:ext cx="274740" cy="89951"/>
          </a:xfrm>
          <a:prstGeom prst="rect">
            <a:avLst/>
          </a:prstGeom>
          <a:blipFill>
            <a:blip r:embed="rId4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5" name="object 73"/>
          <p:cNvSpPr/>
          <p:nvPr/>
        </p:nvSpPr>
        <p:spPr>
          <a:xfrm>
            <a:off x="7773913" y="3435002"/>
            <a:ext cx="282347" cy="94654"/>
          </a:xfrm>
          <a:custGeom>
            <a:avLst/>
            <a:gdLst/>
            <a:ahLst/>
            <a:cxnLst/>
            <a:rect l="l" t="t" r="r" b="b"/>
            <a:pathLst>
              <a:path w="386079" h="204470">
                <a:moveTo>
                  <a:pt x="385572" y="200406"/>
                </a:moveTo>
                <a:lnTo>
                  <a:pt x="385572" y="198120"/>
                </a:lnTo>
                <a:lnTo>
                  <a:pt x="384048" y="196596"/>
                </a:lnTo>
                <a:lnTo>
                  <a:pt x="252222" y="2286"/>
                </a:lnTo>
                <a:lnTo>
                  <a:pt x="251460" y="762"/>
                </a:lnTo>
                <a:lnTo>
                  <a:pt x="249936" y="0"/>
                </a:lnTo>
                <a:lnTo>
                  <a:pt x="4572" y="0"/>
                </a:lnTo>
                <a:lnTo>
                  <a:pt x="1524" y="1524"/>
                </a:lnTo>
                <a:lnTo>
                  <a:pt x="0" y="4572"/>
                </a:lnTo>
                <a:lnTo>
                  <a:pt x="0" y="6096"/>
                </a:lnTo>
                <a:lnTo>
                  <a:pt x="762" y="7620"/>
                </a:lnTo>
                <a:lnTo>
                  <a:pt x="4572" y="13472"/>
                </a:lnTo>
                <a:lnTo>
                  <a:pt x="4572" y="9906"/>
                </a:lnTo>
                <a:lnTo>
                  <a:pt x="9144" y="2286"/>
                </a:lnTo>
                <a:lnTo>
                  <a:pt x="14074" y="9906"/>
                </a:lnTo>
                <a:lnTo>
                  <a:pt x="244602" y="9906"/>
                </a:lnTo>
                <a:lnTo>
                  <a:pt x="244602" y="7620"/>
                </a:lnTo>
                <a:lnTo>
                  <a:pt x="248412" y="9906"/>
                </a:lnTo>
                <a:lnTo>
                  <a:pt x="248412" y="13235"/>
                </a:lnTo>
                <a:lnTo>
                  <a:pt x="371258" y="194310"/>
                </a:lnTo>
                <a:lnTo>
                  <a:pt x="380238" y="194310"/>
                </a:lnTo>
                <a:lnTo>
                  <a:pt x="380238" y="204216"/>
                </a:lnTo>
                <a:lnTo>
                  <a:pt x="381762" y="204216"/>
                </a:lnTo>
                <a:lnTo>
                  <a:pt x="384048" y="203454"/>
                </a:lnTo>
                <a:lnTo>
                  <a:pt x="385572" y="200406"/>
                </a:lnTo>
                <a:close/>
              </a:path>
              <a:path w="386079" h="204470">
                <a:moveTo>
                  <a:pt x="14074" y="9906"/>
                </a:moveTo>
                <a:lnTo>
                  <a:pt x="9144" y="2286"/>
                </a:lnTo>
                <a:lnTo>
                  <a:pt x="4572" y="9906"/>
                </a:lnTo>
                <a:lnTo>
                  <a:pt x="14074" y="9906"/>
                </a:lnTo>
                <a:close/>
              </a:path>
              <a:path w="386079" h="204470">
                <a:moveTo>
                  <a:pt x="133394" y="194310"/>
                </a:moveTo>
                <a:lnTo>
                  <a:pt x="14074" y="9906"/>
                </a:lnTo>
                <a:lnTo>
                  <a:pt x="4572" y="9906"/>
                </a:lnTo>
                <a:lnTo>
                  <a:pt x="4572" y="13472"/>
                </a:lnTo>
                <a:lnTo>
                  <a:pt x="127254" y="201930"/>
                </a:lnTo>
                <a:lnTo>
                  <a:pt x="128016" y="203454"/>
                </a:lnTo>
                <a:lnTo>
                  <a:pt x="129540" y="204216"/>
                </a:lnTo>
                <a:lnTo>
                  <a:pt x="131064" y="204216"/>
                </a:lnTo>
                <a:lnTo>
                  <a:pt x="131064" y="194310"/>
                </a:lnTo>
                <a:lnTo>
                  <a:pt x="133394" y="194310"/>
                </a:lnTo>
                <a:close/>
              </a:path>
              <a:path w="386079" h="204470">
                <a:moveTo>
                  <a:pt x="134874" y="196596"/>
                </a:moveTo>
                <a:lnTo>
                  <a:pt x="133394" y="194310"/>
                </a:lnTo>
                <a:lnTo>
                  <a:pt x="131064" y="194310"/>
                </a:lnTo>
                <a:lnTo>
                  <a:pt x="134874" y="196596"/>
                </a:lnTo>
                <a:close/>
              </a:path>
              <a:path w="386079" h="204470">
                <a:moveTo>
                  <a:pt x="134874" y="204216"/>
                </a:moveTo>
                <a:lnTo>
                  <a:pt x="134874" y="196596"/>
                </a:lnTo>
                <a:lnTo>
                  <a:pt x="131064" y="194310"/>
                </a:lnTo>
                <a:lnTo>
                  <a:pt x="131064" y="204216"/>
                </a:lnTo>
                <a:lnTo>
                  <a:pt x="134874" y="204216"/>
                </a:lnTo>
                <a:close/>
              </a:path>
              <a:path w="386079" h="204470">
                <a:moveTo>
                  <a:pt x="380238" y="204216"/>
                </a:moveTo>
                <a:lnTo>
                  <a:pt x="380238" y="194310"/>
                </a:lnTo>
                <a:lnTo>
                  <a:pt x="376428" y="201930"/>
                </a:lnTo>
                <a:lnTo>
                  <a:pt x="371258" y="194310"/>
                </a:lnTo>
                <a:lnTo>
                  <a:pt x="133394" y="194310"/>
                </a:lnTo>
                <a:lnTo>
                  <a:pt x="134874" y="196596"/>
                </a:lnTo>
                <a:lnTo>
                  <a:pt x="134874" y="204216"/>
                </a:lnTo>
                <a:lnTo>
                  <a:pt x="380238" y="204216"/>
                </a:lnTo>
                <a:close/>
              </a:path>
              <a:path w="386079" h="204470">
                <a:moveTo>
                  <a:pt x="248412" y="9906"/>
                </a:moveTo>
                <a:lnTo>
                  <a:pt x="244602" y="7620"/>
                </a:lnTo>
                <a:lnTo>
                  <a:pt x="246152" y="9906"/>
                </a:lnTo>
                <a:lnTo>
                  <a:pt x="248412" y="9906"/>
                </a:lnTo>
                <a:close/>
              </a:path>
              <a:path w="386079" h="204470">
                <a:moveTo>
                  <a:pt x="246152" y="9906"/>
                </a:moveTo>
                <a:lnTo>
                  <a:pt x="244602" y="7620"/>
                </a:lnTo>
                <a:lnTo>
                  <a:pt x="244602" y="9906"/>
                </a:lnTo>
                <a:lnTo>
                  <a:pt x="246152" y="9906"/>
                </a:lnTo>
                <a:close/>
              </a:path>
              <a:path w="386079" h="204470">
                <a:moveTo>
                  <a:pt x="248412" y="13235"/>
                </a:moveTo>
                <a:lnTo>
                  <a:pt x="248412" y="9906"/>
                </a:lnTo>
                <a:lnTo>
                  <a:pt x="246152" y="9906"/>
                </a:lnTo>
                <a:lnTo>
                  <a:pt x="248412" y="13235"/>
                </a:lnTo>
                <a:close/>
              </a:path>
              <a:path w="386079" h="204470">
                <a:moveTo>
                  <a:pt x="380238" y="194310"/>
                </a:moveTo>
                <a:lnTo>
                  <a:pt x="371258" y="194310"/>
                </a:lnTo>
                <a:lnTo>
                  <a:pt x="376428" y="201930"/>
                </a:lnTo>
                <a:lnTo>
                  <a:pt x="380238" y="19431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6" name="object 74"/>
          <p:cNvSpPr/>
          <p:nvPr/>
        </p:nvSpPr>
        <p:spPr>
          <a:xfrm>
            <a:off x="5656324" y="3438765"/>
            <a:ext cx="263019" cy="91127"/>
          </a:xfrm>
          <a:prstGeom prst="rect">
            <a:avLst/>
          </a:prstGeom>
          <a:blipFill>
            <a:blip r:embed="rId4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7" name="object 75"/>
          <p:cNvSpPr/>
          <p:nvPr/>
        </p:nvSpPr>
        <p:spPr>
          <a:xfrm>
            <a:off x="5652979" y="3436412"/>
            <a:ext cx="271201" cy="96125"/>
          </a:xfrm>
          <a:custGeom>
            <a:avLst/>
            <a:gdLst/>
            <a:ahLst/>
            <a:cxnLst/>
            <a:rect l="l" t="t" r="r" b="b"/>
            <a:pathLst>
              <a:path w="370839" h="207645">
                <a:moveTo>
                  <a:pt x="370332" y="202692"/>
                </a:moveTo>
                <a:lnTo>
                  <a:pt x="370332" y="201168"/>
                </a:lnTo>
                <a:lnTo>
                  <a:pt x="368808" y="199644"/>
                </a:lnTo>
                <a:lnTo>
                  <a:pt x="240792" y="2286"/>
                </a:lnTo>
                <a:lnTo>
                  <a:pt x="240030" y="762"/>
                </a:lnTo>
                <a:lnTo>
                  <a:pt x="238506" y="0"/>
                </a:lnTo>
                <a:lnTo>
                  <a:pt x="165354" y="0"/>
                </a:lnTo>
                <a:lnTo>
                  <a:pt x="164592" y="762"/>
                </a:lnTo>
                <a:lnTo>
                  <a:pt x="2286" y="94488"/>
                </a:lnTo>
                <a:lnTo>
                  <a:pt x="762" y="95250"/>
                </a:lnTo>
                <a:lnTo>
                  <a:pt x="0" y="96774"/>
                </a:lnTo>
                <a:lnTo>
                  <a:pt x="0" y="99822"/>
                </a:lnTo>
                <a:lnTo>
                  <a:pt x="1524" y="102870"/>
                </a:lnTo>
                <a:lnTo>
                  <a:pt x="6858" y="106259"/>
                </a:lnTo>
                <a:lnTo>
                  <a:pt x="6858" y="94488"/>
                </a:lnTo>
                <a:lnTo>
                  <a:pt x="13783" y="98889"/>
                </a:lnTo>
                <a:lnTo>
                  <a:pt x="167640" y="10457"/>
                </a:lnTo>
                <a:lnTo>
                  <a:pt x="167640" y="9144"/>
                </a:lnTo>
                <a:lnTo>
                  <a:pt x="233172" y="9144"/>
                </a:lnTo>
                <a:lnTo>
                  <a:pt x="233172" y="7620"/>
                </a:lnTo>
                <a:lnTo>
                  <a:pt x="236982" y="9144"/>
                </a:lnTo>
                <a:lnTo>
                  <a:pt x="236982" y="13493"/>
                </a:lnTo>
                <a:lnTo>
                  <a:pt x="356245" y="197358"/>
                </a:lnTo>
                <a:lnTo>
                  <a:pt x="364998" y="197358"/>
                </a:lnTo>
                <a:lnTo>
                  <a:pt x="364998" y="207264"/>
                </a:lnTo>
                <a:lnTo>
                  <a:pt x="366522" y="207264"/>
                </a:lnTo>
                <a:lnTo>
                  <a:pt x="368808" y="205740"/>
                </a:lnTo>
                <a:lnTo>
                  <a:pt x="370332" y="202692"/>
                </a:lnTo>
                <a:close/>
              </a:path>
              <a:path w="370839" h="207645">
                <a:moveTo>
                  <a:pt x="13783" y="98889"/>
                </a:moveTo>
                <a:lnTo>
                  <a:pt x="6858" y="94488"/>
                </a:lnTo>
                <a:lnTo>
                  <a:pt x="6858" y="102870"/>
                </a:lnTo>
                <a:lnTo>
                  <a:pt x="13783" y="98889"/>
                </a:lnTo>
                <a:close/>
              </a:path>
              <a:path w="370839" h="207645">
                <a:moveTo>
                  <a:pt x="168726" y="197358"/>
                </a:moveTo>
                <a:lnTo>
                  <a:pt x="13783" y="98889"/>
                </a:lnTo>
                <a:lnTo>
                  <a:pt x="6858" y="102870"/>
                </a:lnTo>
                <a:lnTo>
                  <a:pt x="6858" y="106259"/>
                </a:lnTo>
                <a:lnTo>
                  <a:pt x="164592" y="206502"/>
                </a:lnTo>
                <a:lnTo>
                  <a:pt x="165354" y="206502"/>
                </a:lnTo>
                <a:lnTo>
                  <a:pt x="166116" y="207264"/>
                </a:lnTo>
                <a:lnTo>
                  <a:pt x="167640" y="207264"/>
                </a:lnTo>
                <a:lnTo>
                  <a:pt x="167640" y="197358"/>
                </a:lnTo>
                <a:lnTo>
                  <a:pt x="168726" y="197358"/>
                </a:lnTo>
                <a:close/>
              </a:path>
              <a:path w="370839" h="207645">
                <a:moveTo>
                  <a:pt x="169926" y="9144"/>
                </a:moveTo>
                <a:lnTo>
                  <a:pt x="167640" y="9144"/>
                </a:lnTo>
                <a:lnTo>
                  <a:pt x="167640" y="10457"/>
                </a:lnTo>
                <a:lnTo>
                  <a:pt x="169926" y="9144"/>
                </a:lnTo>
                <a:close/>
              </a:path>
              <a:path w="370839" h="207645">
                <a:moveTo>
                  <a:pt x="169926" y="198120"/>
                </a:moveTo>
                <a:lnTo>
                  <a:pt x="168726" y="197358"/>
                </a:lnTo>
                <a:lnTo>
                  <a:pt x="167640" y="197358"/>
                </a:lnTo>
                <a:lnTo>
                  <a:pt x="169926" y="198120"/>
                </a:lnTo>
                <a:close/>
              </a:path>
              <a:path w="370839" h="207645">
                <a:moveTo>
                  <a:pt x="169926" y="207264"/>
                </a:moveTo>
                <a:lnTo>
                  <a:pt x="169926" y="198120"/>
                </a:lnTo>
                <a:lnTo>
                  <a:pt x="167640" y="197358"/>
                </a:lnTo>
                <a:lnTo>
                  <a:pt x="167640" y="207264"/>
                </a:lnTo>
                <a:lnTo>
                  <a:pt x="169926" y="207264"/>
                </a:lnTo>
                <a:close/>
              </a:path>
              <a:path w="370839" h="207645">
                <a:moveTo>
                  <a:pt x="364998" y="207264"/>
                </a:moveTo>
                <a:lnTo>
                  <a:pt x="364998" y="197358"/>
                </a:lnTo>
                <a:lnTo>
                  <a:pt x="361188" y="204978"/>
                </a:lnTo>
                <a:lnTo>
                  <a:pt x="356245" y="197358"/>
                </a:lnTo>
                <a:lnTo>
                  <a:pt x="168726" y="197358"/>
                </a:lnTo>
                <a:lnTo>
                  <a:pt x="169926" y="198120"/>
                </a:lnTo>
                <a:lnTo>
                  <a:pt x="169926" y="207264"/>
                </a:lnTo>
                <a:lnTo>
                  <a:pt x="364998" y="207264"/>
                </a:lnTo>
                <a:close/>
              </a:path>
              <a:path w="370839" h="207645">
                <a:moveTo>
                  <a:pt x="236982" y="9144"/>
                </a:moveTo>
                <a:lnTo>
                  <a:pt x="233172" y="7620"/>
                </a:lnTo>
                <a:lnTo>
                  <a:pt x="234160" y="9144"/>
                </a:lnTo>
                <a:lnTo>
                  <a:pt x="236982" y="9144"/>
                </a:lnTo>
                <a:close/>
              </a:path>
              <a:path w="370839" h="207645">
                <a:moveTo>
                  <a:pt x="234160" y="9144"/>
                </a:moveTo>
                <a:lnTo>
                  <a:pt x="233172" y="7620"/>
                </a:lnTo>
                <a:lnTo>
                  <a:pt x="233172" y="9144"/>
                </a:lnTo>
                <a:lnTo>
                  <a:pt x="234160" y="9144"/>
                </a:lnTo>
                <a:close/>
              </a:path>
              <a:path w="370839" h="207645">
                <a:moveTo>
                  <a:pt x="236982" y="13493"/>
                </a:moveTo>
                <a:lnTo>
                  <a:pt x="236982" y="9144"/>
                </a:lnTo>
                <a:lnTo>
                  <a:pt x="234160" y="9144"/>
                </a:lnTo>
                <a:lnTo>
                  <a:pt x="236982" y="13493"/>
                </a:lnTo>
                <a:close/>
              </a:path>
              <a:path w="370839" h="207645">
                <a:moveTo>
                  <a:pt x="364998" y="197358"/>
                </a:moveTo>
                <a:lnTo>
                  <a:pt x="356245" y="197358"/>
                </a:lnTo>
                <a:lnTo>
                  <a:pt x="361188" y="204978"/>
                </a:lnTo>
                <a:lnTo>
                  <a:pt x="364998" y="19735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8" name="object 76"/>
          <p:cNvSpPr/>
          <p:nvPr/>
        </p:nvSpPr>
        <p:spPr>
          <a:xfrm>
            <a:off x="5814586" y="3425595"/>
            <a:ext cx="182225" cy="118758"/>
          </a:xfrm>
          <a:prstGeom prst="rect">
            <a:avLst/>
          </a:prstGeom>
          <a:blipFill>
            <a:blip r:embed="rId4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29" name="object 77"/>
          <p:cNvSpPr/>
          <p:nvPr/>
        </p:nvSpPr>
        <p:spPr>
          <a:xfrm>
            <a:off x="5780036" y="3422303"/>
            <a:ext cx="221048" cy="124344"/>
          </a:xfrm>
          <a:custGeom>
            <a:avLst/>
            <a:gdLst/>
            <a:ahLst/>
            <a:cxnLst/>
            <a:rect l="l" t="t" r="r" b="b"/>
            <a:pathLst>
              <a:path w="302260" h="268604">
                <a:moveTo>
                  <a:pt x="249971" y="243014"/>
                </a:moveTo>
                <a:lnTo>
                  <a:pt x="92202" y="2285"/>
                </a:lnTo>
                <a:lnTo>
                  <a:pt x="89916" y="0"/>
                </a:lnTo>
                <a:lnTo>
                  <a:pt x="88392" y="761"/>
                </a:lnTo>
                <a:lnTo>
                  <a:pt x="10668" y="761"/>
                </a:lnTo>
                <a:lnTo>
                  <a:pt x="8382" y="2285"/>
                </a:lnTo>
                <a:lnTo>
                  <a:pt x="7620" y="4571"/>
                </a:lnTo>
                <a:lnTo>
                  <a:pt x="762" y="31241"/>
                </a:lnTo>
                <a:lnTo>
                  <a:pt x="0" y="32765"/>
                </a:lnTo>
                <a:lnTo>
                  <a:pt x="1524" y="35813"/>
                </a:lnTo>
                <a:lnTo>
                  <a:pt x="2286" y="36575"/>
                </a:lnTo>
                <a:lnTo>
                  <a:pt x="3810" y="37337"/>
                </a:lnTo>
                <a:lnTo>
                  <a:pt x="5334" y="37337"/>
                </a:lnTo>
                <a:lnTo>
                  <a:pt x="5334" y="28193"/>
                </a:lnTo>
                <a:lnTo>
                  <a:pt x="11277" y="28193"/>
                </a:lnTo>
                <a:lnTo>
                  <a:pt x="12192" y="24637"/>
                </a:lnTo>
                <a:lnTo>
                  <a:pt x="12192" y="10667"/>
                </a:lnTo>
                <a:lnTo>
                  <a:pt x="16764" y="6857"/>
                </a:lnTo>
                <a:lnTo>
                  <a:pt x="16764" y="10622"/>
                </a:lnTo>
                <a:lnTo>
                  <a:pt x="40756" y="10382"/>
                </a:lnTo>
                <a:lnTo>
                  <a:pt x="41910" y="5333"/>
                </a:lnTo>
                <a:lnTo>
                  <a:pt x="41910" y="3047"/>
                </a:lnTo>
                <a:lnTo>
                  <a:pt x="43462" y="2276"/>
                </a:lnTo>
                <a:lnTo>
                  <a:pt x="45720" y="1523"/>
                </a:lnTo>
                <a:lnTo>
                  <a:pt x="47244" y="1523"/>
                </a:lnTo>
                <a:lnTo>
                  <a:pt x="49530" y="2285"/>
                </a:lnTo>
                <a:lnTo>
                  <a:pt x="50292" y="3809"/>
                </a:lnTo>
                <a:lnTo>
                  <a:pt x="54511" y="10244"/>
                </a:lnTo>
                <a:lnTo>
                  <a:pt x="84582" y="9944"/>
                </a:lnTo>
                <a:lnTo>
                  <a:pt x="84582" y="7619"/>
                </a:lnTo>
                <a:lnTo>
                  <a:pt x="88392" y="9905"/>
                </a:lnTo>
                <a:lnTo>
                  <a:pt x="88392" y="13442"/>
                </a:lnTo>
                <a:lnTo>
                  <a:pt x="246126" y="254508"/>
                </a:lnTo>
                <a:lnTo>
                  <a:pt x="246126" y="249935"/>
                </a:lnTo>
                <a:lnTo>
                  <a:pt x="249971" y="243014"/>
                </a:lnTo>
                <a:close/>
              </a:path>
              <a:path w="302260" h="268604">
                <a:moveTo>
                  <a:pt x="11277" y="28193"/>
                </a:moveTo>
                <a:lnTo>
                  <a:pt x="5334" y="28193"/>
                </a:lnTo>
                <a:lnTo>
                  <a:pt x="9906" y="33527"/>
                </a:lnTo>
                <a:lnTo>
                  <a:pt x="11277" y="28193"/>
                </a:lnTo>
                <a:close/>
              </a:path>
              <a:path w="302260" h="268604">
                <a:moveTo>
                  <a:pt x="36684" y="28193"/>
                </a:moveTo>
                <a:lnTo>
                  <a:pt x="11277" y="28193"/>
                </a:lnTo>
                <a:lnTo>
                  <a:pt x="9906" y="33527"/>
                </a:lnTo>
                <a:lnTo>
                  <a:pt x="5334" y="28193"/>
                </a:lnTo>
                <a:lnTo>
                  <a:pt x="5334" y="37337"/>
                </a:lnTo>
                <a:lnTo>
                  <a:pt x="35814" y="37337"/>
                </a:lnTo>
                <a:lnTo>
                  <a:pt x="35814" y="32003"/>
                </a:lnTo>
                <a:lnTo>
                  <a:pt x="36684" y="28193"/>
                </a:lnTo>
                <a:close/>
              </a:path>
              <a:path w="302260" h="268604">
                <a:moveTo>
                  <a:pt x="16764" y="6857"/>
                </a:moveTo>
                <a:lnTo>
                  <a:pt x="12192" y="10667"/>
                </a:lnTo>
                <a:lnTo>
                  <a:pt x="15793" y="10631"/>
                </a:lnTo>
                <a:lnTo>
                  <a:pt x="16764" y="6857"/>
                </a:lnTo>
                <a:close/>
              </a:path>
              <a:path w="302260" h="268604">
                <a:moveTo>
                  <a:pt x="15793" y="10631"/>
                </a:moveTo>
                <a:lnTo>
                  <a:pt x="12192" y="10667"/>
                </a:lnTo>
                <a:lnTo>
                  <a:pt x="12192" y="24637"/>
                </a:lnTo>
                <a:lnTo>
                  <a:pt x="15793" y="10631"/>
                </a:lnTo>
                <a:close/>
              </a:path>
              <a:path w="302260" h="268604">
                <a:moveTo>
                  <a:pt x="16764" y="10622"/>
                </a:moveTo>
                <a:lnTo>
                  <a:pt x="16764" y="6857"/>
                </a:lnTo>
                <a:lnTo>
                  <a:pt x="15793" y="10631"/>
                </a:lnTo>
                <a:lnTo>
                  <a:pt x="16764" y="10622"/>
                </a:lnTo>
                <a:close/>
              </a:path>
              <a:path w="302260" h="268604">
                <a:moveTo>
                  <a:pt x="41148" y="28193"/>
                </a:moveTo>
                <a:lnTo>
                  <a:pt x="36684" y="28193"/>
                </a:lnTo>
                <a:lnTo>
                  <a:pt x="35814" y="32003"/>
                </a:lnTo>
                <a:lnTo>
                  <a:pt x="41148" y="28193"/>
                </a:lnTo>
                <a:close/>
              </a:path>
              <a:path w="302260" h="268604">
                <a:moveTo>
                  <a:pt x="41148" y="37337"/>
                </a:moveTo>
                <a:lnTo>
                  <a:pt x="41148" y="28193"/>
                </a:lnTo>
                <a:lnTo>
                  <a:pt x="35814" y="32003"/>
                </a:lnTo>
                <a:lnTo>
                  <a:pt x="35814" y="37337"/>
                </a:lnTo>
                <a:lnTo>
                  <a:pt x="41148" y="37337"/>
                </a:lnTo>
                <a:close/>
              </a:path>
              <a:path w="302260" h="268604">
                <a:moveTo>
                  <a:pt x="48805" y="18539"/>
                </a:moveTo>
                <a:lnTo>
                  <a:pt x="43462" y="10355"/>
                </a:lnTo>
                <a:lnTo>
                  <a:pt x="40756" y="10382"/>
                </a:lnTo>
                <a:lnTo>
                  <a:pt x="36684" y="28193"/>
                </a:lnTo>
                <a:lnTo>
                  <a:pt x="41148" y="28193"/>
                </a:lnTo>
                <a:lnTo>
                  <a:pt x="41148" y="37337"/>
                </a:lnTo>
                <a:lnTo>
                  <a:pt x="42672" y="37337"/>
                </a:lnTo>
                <a:lnTo>
                  <a:pt x="44958" y="35813"/>
                </a:lnTo>
                <a:lnTo>
                  <a:pt x="45720" y="33527"/>
                </a:lnTo>
                <a:lnTo>
                  <a:pt x="48805" y="18539"/>
                </a:lnTo>
                <a:close/>
              </a:path>
              <a:path w="302260" h="268604">
                <a:moveTo>
                  <a:pt x="54511" y="10244"/>
                </a:moveTo>
                <a:lnTo>
                  <a:pt x="50292" y="3809"/>
                </a:lnTo>
                <a:lnTo>
                  <a:pt x="49530" y="2285"/>
                </a:lnTo>
                <a:lnTo>
                  <a:pt x="47244" y="1523"/>
                </a:lnTo>
                <a:lnTo>
                  <a:pt x="45720" y="1523"/>
                </a:lnTo>
                <a:lnTo>
                  <a:pt x="43434" y="2285"/>
                </a:lnTo>
                <a:lnTo>
                  <a:pt x="41910" y="3047"/>
                </a:lnTo>
                <a:lnTo>
                  <a:pt x="41910" y="5333"/>
                </a:lnTo>
                <a:lnTo>
                  <a:pt x="40756" y="10382"/>
                </a:lnTo>
                <a:lnTo>
                  <a:pt x="42672" y="10363"/>
                </a:lnTo>
                <a:lnTo>
                  <a:pt x="42672" y="9143"/>
                </a:lnTo>
                <a:lnTo>
                  <a:pt x="51054" y="7619"/>
                </a:lnTo>
                <a:lnTo>
                  <a:pt x="51054" y="10279"/>
                </a:lnTo>
                <a:lnTo>
                  <a:pt x="54511" y="10244"/>
                </a:lnTo>
                <a:close/>
              </a:path>
              <a:path w="302260" h="268604">
                <a:moveTo>
                  <a:pt x="51054" y="7619"/>
                </a:moveTo>
                <a:lnTo>
                  <a:pt x="42672" y="9143"/>
                </a:lnTo>
                <a:lnTo>
                  <a:pt x="43434" y="10311"/>
                </a:lnTo>
                <a:lnTo>
                  <a:pt x="50505" y="10284"/>
                </a:lnTo>
                <a:lnTo>
                  <a:pt x="51054" y="7619"/>
                </a:lnTo>
                <a:close/>
              </a:path>
              <a:path w="302260" h="268604">
                <a:moveTo>
                  <a:pt x="43462" y="10355"/>
                </a:moveTo>
                <a:lnTo>
                  <a:pt x="42672" y="9143"/>
                </a:lnTo>
                <a:lnTo>
                  <a:pt x="42672" y="10363"/>
                </a:lnTo>
                <a:lnTo>
                  <a:pt x="43462" y="10355"/>
                </a:lnTo>
                <a:close/>
              </a:path>
              <a:path w="302260" h="268604">
                <a:moveTo>
                  <a:pt x="50505" y="10284"/>
                </a:moveTo>
                <a:lnTo>
                  <a:pt x="43462" y="10355"/>
                </a:lnTo>
                <a:lnTo>
                  <a:pt x="48805" y="18539"/>
                </a:lnTo>
                <a:lnTo>
                  <a:pt x="50505" y="10284"/>
                </a:lnTo>
                <a:close/>
              </a:path>
              <a:path w="302260" h="268604">
                <a:moveTo>
                  <a:pt x="217643" y="259001"/>
                </a:moveTo>
                <a:lnTo>
                  <a:pt x="54511" y="10244"/>
                </a:lnTo>
                <a:lnTo>
                  <a:pt x="50505" y="10284"/>
                </a:lnTo>
                <a:lnTo>
                  <a:pt x="48805" y="18539"/>
                </a:lnTo>
                <a:lnTo>
                  <a:pt x="210312" y="265938"/>
                </a:lnTo>
                <a:lnTo>
                  <a:pt x="211074" y="267462"/>
                </a:lnTo>
                <a:lnTo>
                  <a:pt x="212598" y="268223"/>
                </a:lnTo>
                <a:lnTo>
                  <a:pt x="214122" y="268223"/>
                </a:lnTo>
                <a:lnTo>
                  <a:pt x="214122" y="259079"/>
                </a:lnTo>
                <a:lnTo>
                  <a:pt x="217643" y="259001"/>
                </a:lnTo>
                <a:close/>
              </a:path>
              <a:path w="302260" h="268604">
                <a:moveTo>
                  <a:pt x="51054" y="10279"/>
                </a:moveTo>
                <a:lnTo>
                  <a:pt x="51054" y="7619"/>
                </a:lnTo>
                <a:lnTo>
                  <a:pt x="50505" y="10284"/>
                </a:lnTo>
                <a:lnTo>
                  <a:pt x="51054" y="10279"/>
                </a:lnTo>
                <a:close/>
              </a:path>
              <a:path w="302260" h="268604">
                <a:moveTo>
                  <a:pt x="88392" y="9905"/>
                </a:moveTo>
                <a:lnTo>
                  <a:pt x="84582" y="7619"/>
                </a:lnTo>
                <a:lnTo>
                  <a:pt x="86092" y="9928"/>
                </a:lnTo>
                <a:lnTo>
                  <a:pt x="88392" y="9905"/>
                </a:lnTo>
                <a:close/>
              </a:path>
              <a:path w="302260" h="268604">
                <a:moveTo>
                  <a:pt x="86092" y="9928"/>
                </a:moveTo>
                <a:lnTo>
                  <a:pt x="84582" y="7619"/>
                </a:lnTo>
                <a:lnTo>
                  <a:pt x="84582" y="9944"/>
                </a:lnTo>
                <a:lnTo>
                  <a:pt x="86092" y="9928"/>
                </a:lnTo>
                <a:close/>
              </a:path>
              <a:path w="302260" h="268604">
                <a:moveTo>
                  <a:pt x="88392" y="13442"/>
                </a:moveTo>
                <a:lnTo>
                  <a:pt x="88392" y="9905"/>
                </a:lnTo>
                <a:lnTo>
                  <a:pt x="86092" y="9928"/>
                </a:lnTo>
                <a:lnTo>
                  <a:pt x="88392" y="13442"/>
                </a:lnTo>
                <a:close/>
              </a:path>
              <a:path w="302260" h="268604">
                <a:moveTo>
                  <a:pt x="218694" y="260603"/>
                </a:moveTo>
                <a:lnTo>
                  <a:pt x="217643" y="259001"/>
                </a:lnTo>
                <a:lnTo>
                  <a:pt x="214122" y="259079"/>
                </a:lnTo>
                <a:lnTo>
                  <a:pt x="218694" y="260603"/>
                </a:lnTo>
                <a:close/>
              </a:path>
              <a:path w="302260" h="268604">
                <a:moveTo>
                  <a:pt x="218694" y="268122"/>
                </a:moveTo>
                <a:lnTo>
                  <a:pt x="218694" y="260603"/>
                </a:lnTo>
                <a:lnTo>
                  <a:pt x="214122" y="259079"/>
                </a:lnTo>
                <a:lnTo>
                  <a:pt x="214122" y="268223"/>
                </a:lnTo>
                <a:lnTo>
                  <a:pt x="218694" y="268122"/>
                </a:lnTo>
                <a:close/>
              </a:path>
              <a:path w="302260" h="268604">
                <a:moveTo>
                  <a:pt x="282702" y="266699"/>
                </a:moveTo>
                <a:lnTo>
                  <a:pt x="282702" y="257555"/>
                </a:lnTo>
                <a:lnTo>
                  <a:pt x="278892" y="259841"/>
                </a:lnTo>
                <a:lnTo>
                  <a:pt x="278892" y="257640"/>
                </a:lnTo>
                <a:lnTo>
                  <a:pt x="217643" y="259001"/>
                </a:lnTo>
                <a:lnTo>
                  <a:pt x="218694" y="260603"/>
                </a:lnTo>
                <a:lnTo>
                  <a:pt x="218694" y="268122"/>
                </a:lnTo>
                <a:lnTo>
                  <a:pt x="278892" y="266784"/>
                </a:lnTo>
                <a:lnTo>
                  <a:pt x="278892" y="259841"/>
                </a:lnTo>
                <a:lnTo>
                  <a:pt x="279892" y="257618"/>
                </a:lnTo>
                <a:lnTo>
                  <a:pt x="279892" y="266762"/>
                </a:lnTo>
                <a:lnTo>
                  <a:pt x="282702" y="266699"/>
                </a:lnTo>
                <a:close/>
              </a:path>
              <a:path w="302260" h="268604">
                <a:moveTo>
                  <a:pt x="254508" y="249935"/>
                </a:moveTo>
                <a:lnTo>
                  <a:pt x="249971" y="243014"/>
                </a:lnTo>
                <a:lnTo>
                  <a:pt x="246126" y="249935"/>
                </a:lnTo>
                <a:lnTo>
                  <a:pt x="254508" y="249935"/>
                </a:lnTo>
                <a:close/>
              </a:path>
              <a:path w="302260" h="268604">
                <a:moveTo>
                  <a:pt x="254508" y="254508"/>
                </a:moveTo>
                <a:lnTo>
                  <a:pt x="254508" y="249935"/>
                </a:lnTo>
                <a:lnTo>
                  <a:pt x="246126" y="249935"/>
                </a:lnTo>
                <a:lnTo>
                  <a:pt x="246126" y="254508"/>
                </a:lnTo>
                <a:lnTo>
                  <a:pt x="247650" y="256031"/>
                </a:lnTo>
                <a:lnTo>
                  <a:pt x="249174" y="256794"/>
                </a:lnTo>
                <a:lnTo>
                  <a:pt x="252222" y="256794"/>
                </a:lnTo>
                <a:lnTo>
                  <a:pt x="253746" y="256031"/>
                </a:lnTo>
                <a:lnTo>
                  <a:pt x="254508" y="254508"/>
                </a:lnTo>
                <a:close/>
              </a:path>
              <a:path w="302260" h="268604">
                <a:moveTo>
                  <a:pt x="301752" y="232409"/>
                </a:moveTo>
                <a:lnTo>
                  <a:pt x="301752" y="230123"/>
                </a:lnTo>
                <a:lnTo>
                  <a:pt x="300990" y="229361"/>
                </a:lnTo>
                <a:lnTo>
                  <a:pt x="300228" y="227837"/>
                </a:lnTo>
                <a:lnTo>
                  <a:pt x="298704" y="227075"/>
                </a:lnTo>
                <a:lnTo>
                  <a:pt x="259842" y="227075"/>
                </a:lnTo>
                <a:lnTo>
                  <a:pt x="258318" y="227837"/>
                </a:lnTo>
                <a:lnTo>
                  <a:pt x="257556" y="229361"/>
                </a:lnTo>
                <a:lnTo>
                  <a:pt x="249971" y="243014"/>
                </a:lnTo>
                <a:lnTo>
                  <a:pt x="254508" y="249935"/>
                </a:lnTo>
                <a:lnTo>
                  <a:pt x="254508" y="254508"/>
                </a:lnTo>
                <a:lnTo>
                  <a:pt x="262128" y="240792"/>
                </a:lnTo>
                <a:lnTo>
                  <a:pt x="262128" y="236219"/>
                </a:lnTo>
                <a:lnTo>
                  <a:pt x="265938" y="233933"/>
                </a:lnTo>
                <a:lnTo>
                  <a:pt x="265938" y="236219"/>
                </a:lnTo>
                <a:lnTo>
                  <a:pt x="289521" y="236219"/>
                </a:lnTo>
                <a:lnTo>
                  <a:pt x="292608" y="229361"/>
                </a:lnTo>
                <a:lnTo>
                  <a:pt x="296418" y="236219"/>
                </a:lnTo>
                <a:lnTo>
                  <a:pt x="296418" y="244093"/>
                </a:lnTo>
                <a:lnTo>
                  <a:pt x="300990" y="233933"/>
                </a:lnTo>
                <a:lnTo>
                  <a:pt x="301752" y="232409"/>
                </a:lnTo>
                <a:close/>
              </a:path>
              <a:path w="302260" h="268604">
                <a:moveTo>
                  <a:pt x="265938" y="233933"/>
                </a:moveTo>
                <a:lnTo>
                  <a:pt x="262128" y="236219"/>
                </a:lnTo>
                <a:lnTo>
                  <a:pt x="264668" y="236219"/>
                </a:lnTo>
                <a:lnTo>
                  <a:pt x="265938" y="233933"/>
                </a:lnTo>
                <a:close/>
              </a:path>
              <a:path w="302260" h="268604">
                <a:moveTo>
                  <a:pt x="264668" y="236219"/>
                </a:moveTo>
                <a:lnTo>
                  <a:pt x="262128" y="236219"/>
                </a:lnTo>
                <a:lnTo>
                  <a:pt x="262128" y="240792"/>
                </a:lnTo>
                <a:lnTo>
                  <a:pt x="264668" y="236219"/>
                </a:lnTo>
                <a:close/>
              </a:path>
              <a:path w="302260" h="268604">
                <a:moveTo>
                  <a:pt x="265938" y="236219"/>
                </a:moveTo>
                <a:lnTo>
                  <a:pt x="265938" y="233933"/>
                </a:lnTo>
                <a:lnTo>
                  <a:pt x="264668" y="236219"/>
                </a:lnTo>
                <a:lnTo>
                  <a:pt x="265938" y="236219"/>
                </a:lnTo>
                <a:close/>
              </a:path>
              <a:path w="302260" h="268604">
                <a:moveTo>
                  <a:pt x="282702" y="257555"/>
                </a:moveTo>
                <a:lnTo>
                  <a:pt x="279892" y="257618"/>
                </a:lnTo>
                <a:lnTo>
                  <a:pt x="278892" y="259841"/>
                </a:lnTo>
                <a:lnTo>
                  <a:pt x="282702" y="257555"/>
                </a:lnTo>
                <a:close/>
              </a:path>
              <a:path w="302260" h="268604">
                <a:moveTo>
                  <a:pt x="296418" y="244093"/>
                </a:moveTo>
                <a:lnTo>
                  <a:pt x="296418" y="236219"/>
                </a:lnTo>
                <a:lnTo>
                  <a:pt x="289521" y="236219"/>
                </a:lnTo>
                <a:lnTo>
                  <a:pt x="279892" y="257618"/>
                </a:lnTo>
                <a:lnTo>
                  <a:pt x="282702" y="257555"/>
                </a:lnTo>
                <a:lnTo>
                  <a:pt x="282702" y="266699"/>
                </a:lnTo>
                <a:lnTo>
                  <a:pt x="284988" y="266699"/>
                </a:lnTo>
                <a:lnTo>
                  <a:pt x="286512" y="265938"/>
                </a:lnTo>
                <a:lnTo>
                  <a:pt x="287274" y="264413"/>
                </a:lnTo>
                <a:lnTo>
                  <a:pt x="296418" y="244093"/>
                </a:lnTo>
                <a:close/>
              </a:path>
              <a:path w="302260" h="268604">
                <a:moveTo>
                  <a:pt x="296418" y="236219"/>
                </a:moveTo>
                <a:lnTo>
                  <a:pt x="292608" y="229361"/>
                </a:lnTo>
                <a:lnTo>
                  <a:pt x="289521" y="236219"/>
                </a:lnTo>
                <a:lnTo>
                  <a:pt x="296418" y="2362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0" name="object 78"/>
          <p:cNvSpPr/>
          <p:nvPr/>
        </p:nvSpPr>
        <p:spPr>
          <a:xfrm>
            <a:off x="5997369" y="3425948"/>
            <a:ext cx="212865" cy="118758"/>
          </a:xfrm>
          <a:prstGeom prst="rect">
            <a:avLst/>
          </a:prstGeom>
          <a:blipFill>
            <a:blip r:embed="rId4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1" name="object 79"/>
          <p:cNvSpPr/>
          <p:nvPr/>
        </p:nvSpPr>
        <p:spPr>
          <a:xfrm>
            <a:off x="5992910" y="3423009"/>
            <a:ext cx="221048" cy="124344"/>
          </a:xfrm>
          <a:custGeom>
            <a:avLst/>
            <a:gdLst/>
            <a:ahLst/>
            <a:cxnLst/>
            <a:rect l="l" t="t" r="r" b="b"/>
            <a:pathLst>
              <a:path w="302259" h="268604">
                <a:moveTo>
                  <a:pt x="250099" y="242468"/>
                </a:moveTo>
                <a:lnTo>
                  <a:pt x="92202" y="2285"/>
                </a:lnTo>
                <a:lnTo>
                  <a:pt x="91440" y="761"/>
                </a:lnTo>
                <a:lnTo>
                  <a:pt x="89916" y="0"/>
                </a:lnTo>
                <a:lnTo>
                  <a:pt x="84582" y="38"/>
                </a:lnTo>
                <a:lnTo>
                  <a:pt x="17526" y="715"/>
                </a:lnTo>
                <a:lnTo>
                  <a:pt x="10668" y="761"/>
                </a:lnTo>
                <a:lnTo>
                  <a:pt x="8382" y="2285"/>
                </a:lnTo>
                <a:lnTo>
                  <a:pt x="8382" y="3809"/>
                </a:lnTo>
                <a:lnTo>
                  <a:pt x="762" y="31241"/>
                </a:lnTo>
                <a:lnTo>
                  <a:pt x="0" y="32003"/>
                </a:lnTo>
                <a:lnTo>
                  <a:pt x="762" y="34289"/>
                </a:lnTo>
                <a:lnTo>
                  <a:pt x="1524" y="35051"/>
                </a:lnTo>
                <a:lnTo>
                  <a:pt x="2286" y="36575"/>
                </a:lnTo>
                <a:lnTo>
                  <a:pt x="3810" y="37337"/>
                </a:lnTo>
                <a:lnTo>
                  <a:pt x="5334" y="37337"/>
                </a:lnTo>
                <a:lnTo>
                  <a:pt x="5334" y="27431"/>
                </a:lnTo>
                <a:lnTo>
                  <a:pt x="11647" y="27431"/>
                </a:lnTo>
                <a:lnTo>
                  <a:pt x="12954" y="22859"/>
                </a:lnTo>
                <a:lnTo>
                  <a:pt x="12954" y="9905"/>
                </a:lnTo>
                <a:lnTo>
                  <a:pt x="17526" y="6857"/>
                </a:lnTo>
                <a:lnTo>
                  <a:pt x="17526" y="9859"/>
                </a:lnTo>
                <a:lnTo>
                  <a:pt x="40899" y="9623"/>
                </a:lnTo>
                <a:lnTo>
                  <a:pt x="41910" y="4571"/>
                </a:lnTo>
                <a:lnTo>
                  <a:pt x="42672" y="3047"/>
                </a:lnTo>
                <a:lnTo>
                  <a:pt x="44196" y="1523"/>
                </a:lnTo>
                <a:lnTo>
                  <a:pt x="45720" y="761"/>
                </a:lnTo>
                <a:lnTo>
                  <a:pt x="48006" y="761"/>
                </a:lnTo>
                <a:lnTo>
                  <a:pt x="49530" y="1523"/>
                </a:lnTo>
                <a:lnTo>
                  <a:pt x="51054" y="3047"/>
                </a:lnTo>
                <a:lnTo>
                  <a:pt x="55239" y="9478"/>
                </a:lnTo>
                <a:lnTo>
                  <a:pt x="84582" y="9182"/>
                </a:lnTo>
                <a:lnTo>
                  <a:pt x="84582" y="7619"/>
                </a:lnTo>
                <a:lnTo>
                  <a:pt x="88392" y="9143"/>
                </a:lnTo>
                <a:lnTo>
                  <a:pt x="88392" y="13415"/>
                </a:lnTo>
                <a:lnTo>
                  <a:pt x="246126" y="253348"/>
                </a:lnTo>
                <a:lnTo>
                  <a:pt x="246126" y="249173"/>
                </a:lnTo>
                <a:lnTo>
                  <a:pt x="250099" y="242468"/>
                </a:lnTo>
                <a:close/>
              </a:path>
              <a:path w="302259" h="268604">
                <a:moveTo>
                  <a:pt x="11647" y="27431"/>
                </a:moveTo>
                <a:lnTo>
                  <a:pt x="5334" y="27431"/>
                </a:lnTo>
                <a:lnTo>
                  <a:pt x="9906" y="33527"/>
                </a:lnTo>
                <a:lnTo>
                  <a:pt x="11647" y="27431"/>
                </a:lnTo>
                <a:close/>
              </a:path>
              <a:path w="302259" h="268604">
                <a:moveTo>
                  <a:pt x="37338" y="27431"/>
                </a:moveTo>
                <a:lnTo>
                  <a:pt x="11647" y="27431"/>
                </a:lnTo>
                <a:lnTo>
                  <a:pt x="9906" y="33527"/>
                </a:lnTo>
                <a:lnTo>
                  <a:pt x="5334" y="27431"/>
                </a:lnTo>
                <a:lnTo>
                  <a:pt x="5334" y="37337"/>
                </a:lnTo>
                <a:lnTo>
                  <a:pt x="36576" y="37337"/>
                </a:lnTo>
                <a:lnTo>
                  <a:pt x="36576" y="31241"/>
                </a:lnTo>
                <a:lnTo>
                  <a:pt x="37338" y="27431"/>
                </a:lnTo>
                <a:close/>
              </a:path>
              <a:path w="302259" h="268604">
                <a:moveTo>
                  <a:pt x="17526" y="6857"/>
                </a:moveTo>
                <a:lnTo>
                  <a:pt x="12954" y="9905"/>
                </a:lnTo>
                <a:lnTo>
                  <a:pt x="16665" y="9868"/>
                </a:lnTo>
                <a:lnTo>
                  <a:pt x="17526" y="6857"/>
                </a:lnTo>
                <a:close/>
              </a:path>
              <a:path w="302259" h="268604">
                <a:moveTo>
                  <a:pt x="16665" y="9868"/>
                </a:moveTo>
                <a:lnTo>
                  <a:pt x="12954" y="9905"/>
                </a:lnTo>
                <a:lnTo>
                  <a:pt x="12954" y="22859"/>
                </a:lnTo>
                <a:lnTo>
                  <a:pt x="16665" y="9868"/>
                </a:lnTo>
                <a:close/>
              </a:path>
              <a:path w="302259" h="268604">
                <a:moveTo>
                  <a:pt x="17526" y="9859"/>
                </a:moveTo>
                <a:lnTo>
                  <a:pt x="17526" y="6857"/>
                </a:lnTo>
                <a:lnTo>
                  <a:pt x="16665" y="9868"/>
                </a:lnTo>
                <a:lnTo>
                  <a:pt x="17526" y="9859"/>
                </a:lnTo>
                <a:close/>
              </a:path>
              <a:path w="302259" h="268604">
                <a:moveTo>
                  <a:pt x="41148" y="27431"/>
                </a:moveTo>
                <a:lnTo>
                  <a:pt x="37338" y="27431"/>
                </a:lnTo>
                <a:lnTo>
                  <a:pt x="36576" y="31241"/>
                </a:lnTo>
                <a:lnTo>
                  <a:pt x="41148" y="27431"/>
                </a:lnTo>
                <a:close/>
              </a:path>
              <a:path w="302259" h="268604">
                <a:moveTo>
                  <a:pt x="41148" y="37337"/>
                </a:moveTo>
                <a:lnTo>
                  <a:pt x="41148" y="27431"/>
                </a:lnTo>
                <a:lnTo>
                  <a:pt x="36576" y="31241"/>
                </a:lnTo>
                <a:lnTo>
                  <a:pt x="36576" y="37337"/>
                </a:lnTo>
                <a:lnTo>
                  <a:pt x="41148" y="37337"/>
                </a:lnTo>
                <a:close/>
              </a:path>
              <a:path w="302259" h="268604">
                <a:moveTo>
                  <a:pt x="48850" y="17874"/>
                </a:moveTo>
                <a:lnTo>
                  <a:pt x="43463" y="9597"/>
                </a:lnTo>
                <a:lnTo>
                  <a:pt x="40899" y="9623"/>
                </a:lnTo>
                <a:lnTo>
                  <a:pt x="37338" y="27431"/>
                </a:lnTo>
                <a:lnTo>
                  <a:pt x="41148" y="27431"/>
                </a:lnTo>
                <a:lnTo>
                  <a:pt x="41148" y="37337"/>
                </a:lnTo>
                <a:lnTo>
                  <a:pt x="43463" y="37293"/>
                </a:lnTo>
                <a:lnTo>
                  <a:pt x="44958" y="35051"/>
                </a:lnTo>
                <a:lnTo>
                  <a:pt x="45720" y="33527"/>
                </a:lnTo>
                <a:lnTo>
                  <a:pt x="48850" y="17874"/>
                </a:lnTo>
                <a:close/>
              </a:path>
              <a:path w="302259" h="268604">
                <a:moveTo>
                  <a:pt x="55239" y="9478"/>
                </a:moveTo>
                <a:lnTo>
                  <a:pt x="51054" y="3047"/>
                </a:lnTo>
                <a:lnTo>
                  <a:pt x="49530" y="1523"/>
                </a:lnTo>
                <a:lnTo>
                  <a:pt x="48006" y="761"/>
                </a:lnTo>
                <a:lnTo>
                  <a:pt x="45720" y="761"/>
                </a:lnTo>
                <a:lnTo>
                  <a:pt x="44196" y="1523"/>
                </a:lnTo>
                <a:lnTo>
                  <a:pt x="42672" y="3047"/>
                </a:lnTo>
                <a:lnTo>
                  <a:pt x="41910" y="4571"/>
                </a:lnTo>
                <a:lnTo>
                  <a:pt x="40899" y="9623"/>
                </a:lnTo>
                <a:lnTo>
                  <a:pt x="42672" y="9605"/>
                </a:lnTo>
                <a:lnTo>
                  <a:pt x="42672" y="8381"/>
                </a:lnTo>
                <a:lnTo>
                  <a:pt x="51054" y="6857"/>
                </a:lnTo>
                <a:lnTo>
                  <a:pt x="51054" y="9521"/>
                </a:lnTo>
                <a:lnTo>
                  <a:pt x="55239" y="9478"/>
                </a:lnTo>
                <a:close/>
              </a:path>
              <a:path w="302259" h="268604">
                <a:moveTo>
                  <a:pt x="51054" y="6857"/>
                </a:moveTo>
                <a:lnTo>
                  <a:pt x="42672" y="8381"/>
                </a:lnTo>
                <a:lnTo>
                  <a:pt x="43434" y="9552"/>
                </a:lnTo>
                <a:lnTo>
                  <a:pt x="50520" y="9526"/>
                </a:lnTo>
                <a:lnTo>
                  <a:pt x="51054" y="6857"/>
                </a:lnTo>
                <a:close/>
              </a:path>
              <a:path w="302259" h="268604">
                <a:moveTo>
                  <a:pt x="43463" y="9597"/>
                </a:moveTo>
                <a:lnTo>
                  <a:pt x="42672" y="8381"/>
                </a:lnTo>
                <a:lnTo>
                  <a:pt x="42672" y="9605"/>
                </a:lnTo>
                <a:lnTo>
                  <a:pt x="43463" y="9597"/>
                </a:lnTo>
                <a:close/>
              </a:path>
              <a:path w="302259" h="268604">
                <a:moveTo>
                  <a:pt x="50520" y="9526"/>
                </a:moveTo>
                <a:lnTo>
                  <a:pt x="43463" y="9597"/>
                </a:lnTo>
                <a:lnTo>
                  <a:pt x="48850" y="17874"/>
                </a:lnTo>
                <a:lnTo>
                  <a:pt x="50520" y="9526"/>
                </a:lnTo>
                <a:close/>
              </a:path>
              <a:path w="302259" h="268604">
                <a:moveTo>
                  <a:pt x="217162" y="258250"/>
                </a:moveTo>
                <a:lnTo>
                  <a:pt x="55239" y="9478"/>
                </a:lnTo>
                <a:lnTo>
                  <a:pt x="50520" y="9526"/>
                </a:lnTo>
                <a:lnTo>
                  <a:pt x="48850" y="17874"/>
                </a:lnTo>
                <a:lnTo>
                  <a:pt x="210312" y="265938"/>
                </a:lnTo>
                <a:lnTo>
                  <a:pt x="211074" y="267462"/>
                </a:lnTo>
                <a:lnTo>
                  <a:pt x="213360" y="268223"/>
                </a:lnTo>
                <a:lnTo>
                  <a:pt x="214122" y="268223"/>
                </a:lnTo>
                <a:lnTo>
                  <a:pt x="214122" y="258317"/>
                </a:lnTo>
                <a:lnTo>
                  <a:pt x="217162" y="258250"/>
                </a:lnTo>
                <a:close/>
              </a:path>
              <a:path w="302259" h="268604">
                <a:moveTo>
                  <a:pt x="51054" y="9521"/>
                </a:moveTo>
                <a:lnTo>
                  <a:pt x="51054" y="6857"/>
                </a:lnTo>
                <a:lnTo>
                  <a:pt x="50520" y="9526"/>
                </a:lnTo>
                <a:lnTo>
                  <a:pt x="51054" y="9521"/>
                </a:lnTo>
                <a:close/>
              </a:path>
              <a:path w="302259" h="268604">
                <a:moveTo>
                  <a:pt x="88392" y="9143"/>
                </a:moveTo>
                <a:lnTo>
                  <a:pt x="84582" y="7619"/>
                </a:lnTo>
                <a:lnTo>
                  <a:pt x="85602" y="9172"/>
                </a:lnTo>
                <a:lnTo>
                  <a:pt x="88392" y="9143"/>
                </a:lnTo>
                <a:close/>
              </a:path>
              <a:path w="302259" h="268604">
                <a:moveTo>
                  <a:pt x="85602" y="9172"/>
                </a:moveTo>
                <a:lnTo>
                  <a:pt x="84582" y="7619"/>
                </a:lnTo>
                <a:lnTo>
                  <a:pt x="84582" y="9182"/>
                </a:lnTo>
                <a:lnTo>
                  <a:pt x="85602" y="9172"/>
                </a:lnTo>
                <a:close/>
              </a:path>
              <a:path w="302259" h="268604">
                <a:moveTo>
                  <a:pt x="88392" y="13415"/>
                </a:moveTo>
                <a:lnTo>
                  <a:pt x="88392" y="9143"/>
                </a:lnTo>
                <a:lnTo>
                  <a:pt x="85602" y="9172"/>
                </a:lnTo>
                <a:lnTo>
                  <a:pt x="88392" y="13415"/>
                </a:lnTo>
                <a:close/>
              </a:path>
              <a:path w="302259" h="268604">
                <a:moveTo>
                  <a:pt x="218694" y="260603"/>
                </a:moveTo>
                <a:lnTo>
                  <a:pt x="217162" y="258250"/>
                </a:lnTo>
                <a:lnTo>
                  <a:pt x="214122" y="258317"/>
                </a:lnTo>
                <a:lnTo>
                  <a:pt x="218694" y="260603"/>
                </a:lnTo>
                <a:close/>
              </a:path>
              <a:path w="302259" h="268604">
                <a:moveTo>
                  <a:pt x="218694" y="268139"/>
                </a:moveTo>
                <a:lnTo>
                  <a:pt x="218694" y="260603"/>
                </a:lnTo>
                <a:lnTo>
                  <a:pt x="214122" y="258317"/>
                </a:lnTo>
                <a:lnTo>
                  <a:pt x="214122" y="268223"/>
                </a:lnTo>
                <a:lnTo>
                  <a:pt x="218694" y="268139"/>
                </a:lnTo>
                <a:close/>
              </a:path>
              <a:path w="302259" h="268604">
                <a:moveTo>
                  <a:pt x="282702" y="266716"/>
                </a:moveTo>
                <a:lnTo>
                  <a:pt x="282702" y="256794"/>
                </a:lnTo>
                <a:lnTo>
                  <a:pt x="278892" y="259841"/>
                </a:lnTo>
                <a:lnTo>
                  <a:pt x="278892" y="256878"/>
                </a:lnTo>
                <a:lnTo>
                  <a:pt x="217162" y="258250"/>
                </a:lnTo>
                <a:lnTo>
                  <a:pt x="218694" y="260603"/>
                </a:lnTo>
                <a:lnTo>
                  <a:pt x="218694" y="268139"/>
                </a:lnTo>
                <a:lnTo>
                  <a:pt x="278892" y="266801"/>
                </a:lnTo>
                <a:lnTo>
                  <a:pt x="278892" y="259841"/>
                </a:lnTo>
                <a:lnTo>
                  <a:pt x="280238" y="256848"/>
                </a:lnTo>
                <a:lnTo>
                  <a:pt x="280238" y="266771"/>
                </a:lnTo>
                <a:lnTo>
                  <a:pt x="282702" y="266716"/>
                </a:lnTo>
                <a:close/>
              </a:path>
              <a:path w="302259" h="268604">
                <a:moveTo>
                  <a:pt x="254508" y="249173"/>
                </a:moveTo>
                <a:lnTo>
                  <a:pt x="250099" y="242468"/>
                </a:lnTo>
                <a:lnTo>
                  <a:pt x="246126" y="249173"/>
                </a:lnTo>
                <a:lnTo>
                  <a:pt x="254508" y="249173"/>
                </a:lnTo>
                <a:close/>
              </a:path>
              <a:path w="302259" h="268604">
                <a:moveTo>
                  <a:pt x="254508" y="253745"/>
                </a:moveTo>
                <a:lnTo>
                  <a:pt x="254508" y="249173"/>
                </a:lnTo>
                <a:lnTo>
                  <a:pt x="246126" y="249173"/>
                </a:lnTo>
                <a:lnTo>
                  <a:pt x="246126" y="253348"/>
                </a:lnTo>
                <a:lnTo>
                  <a:pt x="246888" y="254508"/>
                </a:lnTo>
                <a:lnTo>
                  <a:pt x="247650" y="256031"/>
                </a:lnTo>
                <a:lnTo>
                  <a:pt x="249174" y="256794"/>
                </a:lnTo>
                <a:lnTo>
                  <a:pt x="252222" y="256794"/>
                </a:lnTo>
                <a:lnTo>
                  <a:pt x="253746" y="255269"/>
                </a:lnTo>
                <a:lnTo>
                  <a:pt x="254508" y="253745"/>
                </a:lnTo>
                <a:close/>
              </a:path>
              <a:path w="302259" h="268604">
                <a:moveTo>
                  <a:pt x="301752" y="231647"/>
                </a:moveTo>
                <a:lnTo>
                  <a:pt x="301752" y="230123"/>
                </a:lnTo>
                <a:lnTo>
                  <a:pt x="300228" y="227075"/>
                </a:lnTo>
                <a:lnTo>
                  <a:pt x="298704" y="226313"/>
                </a:lnTo>
                <a:lnTo>
                  <a:pt x="260604" y="226313"/>
                </a:lnTo>
                <a:lnTo>
                  <a:pt x="259080" y="227075"/>
                </a:lnTo>
                <a:lnTo>
                  <a:pt x="258318" y="228599"/>
                </a:lnTo>
                <a:lnTo>
                  <a:pt x="250099" y="242468"/>
                </a:lnTo>
                <a:lnTo>
                  <a:pt x="254508" y="249173"/>
                </a:lnTo>
                <a:lnTo>
                  <a:pt x="254508" y="253745"/>
                </a:lnTo>
                <a:lnTo>
                  <a:pt x="262128" y="240538"/>
                </a:lnTo>
                <a:lnTo>
                  <a:pt x="262128" y="236219"/>
                </a:lnTo>
                <a:lnTo>
                  <a:pt x="265938" y="233933"/>
                </a:lnTo>
                <a:lnTo>
                  <a:pt x="265938" y="236219"/>
                </a:lnTo>
                <a:lnTo>
                  <a:pt x="289521" y="236219"/>
                </a:lnTo>
                <a:lnTo>
                  <a:pt x="292608" y="229361"/>
                </a:lnTo>
                <a:lnTo>
                  <a:pt x="297180" y="236219"/>
                </a:lnTo>
                <a:lnTo>
                  <a:pt x="297180" y="241638"/>
                </a:lnTo>
                <a:lnTo>
                  <a:pt x="300990" y="233171"/>
                </a:lnTo>
                <a:lnTo>
                  <a:pt x="301752" y="231647"/>
                </a:lnTo>
                <a:close/>
              </a:path>
              <a:path w="302259" h="268604">
                <a:moveTo>
                  <a:pt x="265938" y="233933"/>
                </a:moveTo>
                <a:lnTo>
                  <a:pt x="262128" y="236219"/>
                </a:lnTo>
                <a:lnTo>
                  <a:pt x="264619" y="236219"/>
                </a:lnTo>
                <a:lnTo>
                  <a:pt x="265938" y="233933"/>
                </a:lnTo>
                <a:close/>
              </a:path>
              <a:path w="302259" h="268604">
                <a:moveTo>
                  <a:pt x="264619" y="236219"/>
                </a:moveTo>
                <a:lnTo>
                  <a:pt x="262128" y="236219"/>
                </a:lnTo>
                <a:lnTo>
                  <a:pt x="262128" y="240538"/>
                </a:lnTo>
                <a:lnTo>
                  <a:pt x="264619" y="236219"/>
                </a:lnTo>
                <a:close/>
              </a:path>
              <a:path w="302259" h="268604">
                <a:moveTo>
                  <a:pt x="265938" y="236219"/>
                </a:moveTo>
                <a:lnTo>
                  <a:pt x="265938" y="233933"/>
                </a:lnTo>
                <a:lnTo>
                  <a:pt x="264619" y="236219"/>
                </a:lnTo>
                <a:lnTo>
                  <a:pt x="265938" y="236219"/>
                </a:lnTo>
                <a:close/>
              </a:path>
              <a:path w="302259" h="268604">
                <a:moveTo>
                  <a:pt x="282702" y="256794"/>
                </a:moveTo>
                <a:lnTo>
                  <a:pt x="280238" y="256848"/>
                </a:lnTo>
                <a:lnTo>
                  <a:pt x="278892" y="259841"/>
                </a:lnTo>
                <a:lnTo>
                  <a:pt x="282702" y="256794"/>
                </a:lnTo>
                <a:close/>
              </a:path>
              <a:path w="302259" h="268604">
                <a:moveTo>
                  <a:pt x="297180" y="241638"/>
                </a:moveTo>
                <a:lnTo>
                  <a:pt x="297180" y="236219"/>
                </a:lnTo>
                <a:lnTo>
                  <a:pt x="289521" y="236219"/>
                </a:lnTo>
                <a:lnTo>
                  <a:pt x="280238" y="256848"/>
                </a:lnTo>
                <a:lnTo>
                  <a:pt x="282702" y="256794"/>
                </a:lnTo>
                <a:lnTo>
                  <a:pt x="282702" y="266716"/>
                </a:lnTo>
                <a:lnTo>
                  <a:pt x="284988" y="266699"/>
                </a:lnTo>
                <a:lnTo>
                  <a:pt x="286512" y="265176"/>
                </a:lnTo>
                <a:lnTo>
                  <a:pt x="287274" y="263652"/>
                </a:lnTo>
                <a:lnTo>
                  <a:pt x="297180" y="241638"/>
                </a:lnTo>
                <a:close/>
              </a:path>
              <a:path w="302259" h="268604">
                <a:moveTo>
                  <a:pt x="297180" y="236219"/>
                </a:moveTo>
                <a:lnTo>
                  <a:pt x="292608" y="229361"/>
                </a:lnTo>
                <a:lnTo>
                  <a:pt x="289521" y="236219"/>
                </a:lnTo>
                <a:lnTo>
                  <a:pt x="297180" y="2362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2" name="object 80"/>
          <p:cNvSpPr/>
          <p:nvPr/>
        </p:nvSpPr>
        <p:spPr>
          <a:xfrm>
            <a:off x="5860830" y="3439940"/>
            <a:ext cx="274182" cy="89951"/>
          </a:xfrm>
          <a:prstGeom prst="rect">
            <a:avLst/>
          </a:prstGeom>
          <a:blipFill>
            <a:blip r:embed="rId5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3" name="object 81"/>
          <p:cNvSpPr/>
          <p:nvPr/>
        </p:nvSpPr>
        <p:spPr>
          <a:xfrm>
            <a:off x="5856928" y="3437472"/>
            <a:ext cx="282347" cy="94654"/>
          </a:xfrm>
          <a:custGeom>
            <a:avLst/>
            <a:gdLst/>
            <a:ahLst/>
            <a:cxnLst/>
            <a:rect l="l" t="t" r="r" b="b"/>
            <a:pathLst>
              <a:path w="386079" h="204470">
                <a:moveTo>
                  <a:pt x="385572" y="200406"/>
                </a:moveTo>
                <a:lnTo>
                  <a:pt x="385572" y="198120"/>
                </a:lnTo>
                <a:lnTo>
                  <a:pt x="384048" y="197358"/>
                </a:lnTo>
                <a:lnTo>
                  <a:pt x="252222" y="2286"/>
                </a:lnTo>
                <a:lnTo>
                  <a:pt x="251460" y="762"/>
                </a:lnTo>
                <a:lnTo>
                  <a:pt x="249936" y="0"/>
                </a:lnTo>
                <a:lnTo>
                  <a:pt x="3048" y="0"/>
                </a:lnTo>
                <a:lnTo>
                  <a:pt x="1524" y="1524"/>
                </a:lnTo>
                <a:lnTo>
                  <a:pt x="0" y="4572"/>
                </a:lnTo>
                <a:lnTo>
                  <a:pt x="0" y="6096"/>
                </a:lnTo>
                <a:lnTo>
                  <a:pt x="762" y="7620"/>
                </a:lnTo>
                <a:lnTo>
                  <a:pt x="5334" y="14643"/>
                </a:lnTo>
                <a:lnTo>
                  <a:pt x="5334" y="9906"/>
                </a:lnTo>
                <a:lnTo>
                  <a:pt x="9144" y="2286"/>
                </a:lnTo>
                <a:lnTo>
                  <a:pt x="14067" y="9878"/>
                </a:lnTo>
                <a:lnTo>
                  <a:pt x="244602" y="9155"/>
                </a:lnTo>
                <a:lnTo>
                  <a:pt x="244602" y="7620"/>
                </a:lnTo>
                <a:lnTo>
                  <a:pt x="248412" y="9144"/>
                </a:lnTo>
                <a:lnTo>
                  <a:pt x="248412" y="13257"/>
                </a:lnTo>
                <a:lnTo>
                  <a:pt x="371278" y="195072"/>
                </a:lnTo>
                <a:lnTo>
                  <a:pt x="380238" y="195072"/>
                </a:lnTo>
                <a:lnTo>
                  <a:pt x="380238" y="204216"/>
                </a:lnTo>
                <a:lnTo>
                  <a:pt x="381762" y="204216"/>
                </a:lnTo>
                <a:lnTo>
                  <a:pt x="384048" y="203454"/>
                </a:lnTo>
                <a:lnTo>
                  <a:pt x="385572" y="200406"/>
                </a:lnTo>
                <a:close/>
              </a:path>
              <a:path w="386079" h="204470">
                <a:moveTo>
                  <a:pt x="14067" y="9878"/>
                </a:moveTo>
                <a:lnTo>
                  <a:pt x="9144" y="2286"/>
                </a:lnTo>
                <a:lnTo>
                  <a:pt x="5334" y="9906"/>
                </a:lnTo>
                <a:lnTo>
                  <a:pt x="14067" y="9878"/>
                </a:lnTo>
                <a:close/>
              </a:path>
              <a:path w="386079" h="204470">
                <a:moveTo>
                  <a:pt x="134153" y="195072"/>
                </a:moveTo>
                <a:lnTo>
                  <a:pt x="14067" y="9878"/>
                </a:lnTo>
                <a:lnTo>
                  <a:pt x="5334" y="9906"/>
                </a:lnTo>
                <a:lnTo>
                  <a:pt x="5334" y="14643"/>
                </a:lnTo>
                <a:lnTo>
                  <a:pt x="127254" y="201930"/>
                </a:lnTo>
                <a:lnTo>
                  <a:pt x="128016" y="203454"/>
                </a:lnTo>
                <a:lnTo>
                  <a:pt x="129540" y="204216"/>
                </a:lnTo>
                <a:lnTo>
                  <a:pt x="131064" y="204216"/>
                </a:lnTo>
                <a:lnTo>
                  <a:pt x="131064" y="195072"/>
                </a:lnTo>
                <a:lnTo>
                  <a:pt x="134153" y="195072"/>
                </a:lnTo>
                <a:close/>
              </a:path>
              <a:path w="386079" h="204470">
                <a:moveTo>
                  <a:pt x="135636" y="197358"/>
                </a:moveTo>
                <a:lnTo>
                  <a:pt x="134153" y="195072"/>
                </a:lnTo>
                <a:lnTo>
                  <a:pt x="131064" y="195072"/>
                </a:lnTo>
                <a:lnTo>
                  <a:pt x="135636" y="197358"/>
                </a:lnTo>
                <a:close/>
              </a:path>
              <a:path w="386079" h="204470">
                <a:moveTo>
                  <a:pt x="135636" y="204216"/>
                </a:moveTo>
                <a:lnTo>
                  <a:pt x="135636" y="197358"/>
                </a:lnTo>
                <a:lnTo>
                  <a:pt x="131064" y="195072"/>
                </a:lnTo>
                <a:lnTo>
                  <a:pt x="131064" y="204216"/>
                </a:lnTo>
                <a:lnTo>
                  <a:pt x="135636" y="204216"/>
                </a:lnTo>
                <a:close/>
              </a:path>
              <a:path w="386079" h="204470">
                <a:moveTo>
                  <a:pt x="380238" y="204216"/>
                </a:moveTo>
                <a:lnTo>
                  <a:pt x="380238" y="195072"/>
                </a:lnTo>
                <a:lnTo>
                  <a:pt x="376428" y="202692"/>
                </a:lnTo>
                <a:lnTo>
                  <a:pt x="371278" y="195072"/>
                </a:lnTo>
                <a:lnTo>
                  <a:pt x="134153" y="195072"/>
                </a:lnTo>
                <a:lnTo>
                  <a:pt x="135636" y="197358"/>
                </a:lnTo>
                <a:lnTo>
                  <a:pt x="135636" y="204216"/>
                </a:lnTo>
                <a:lnTo>
                  <a:pt x="380238" y="204216"/>
                </a:lnTo>
                <a:close/>
              </a:path>
              <a:path w="386079" h="204470">
                <a:moveTo>
                  <a:pt x="248412" y="9144"/>
                </a:moveTo>
                <a:lnTo>
                  <a:pt x="244602" y="7620"/>
                </a:lnTo>
                <a:lnTo>
                  <a:pt x="245637" y="9152"/>
                </a:lnTo>
                <a:lnTo>
                  <a:pt x="248412" y="9144"/>
                </a:lnTo>
                <a:close/>
              </a:path>
              <a:path w="386079" h="204470">
                <a:moveTo>
                  <a:pt x="245637" y="9152"/>
                </a:moveTo>
                <a:lnTo>
                  <a:pt x="244602" y="7620"/>
                </a:lnTo>
                <a:lnTo>
                  <a:pt x="244602" y="9155"/>
                </a:lnTo>
                <a:lnTo>
                  <a:pt x="245637" y="9152"/>
                </a:lnTo>
                <a:close/>
              </a:path>
              <a:path w="386079" h="204470">
                <a:moveTo>
                  <a:pt x="248412" y="13257"/>
                </a:moveTo>
                <a:lnTo>
                  <a:pt x="248412" y="9144"/>
                </a:lnTo>
                <a:lnTo>
                  <a:pt x="245637" y="9152"/>
                </a:lnTo>
                <a:lnTo>
                  <a:pt x="248412" y="13257"/>
                </a:lnTo>
                <a:close/>
              </a:path>
              <a:path w="386079" h="204470">
                <a:moveTo>
                  <a:pt x="380238" y="195072"/>
                </a:moveTo>
                <a:lnTo>
                  <a:pt x="371278" y="195072"/>
                </a:lnTo>
                <a:lnTo>
                  <a:pt x="376428" y="202692"/>
                </a:lnTo>
                <a:lnTo>
                  <a:pt x="380238" y="1950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4" name="object 82"/>
          <p:cNvSpPr/>
          <p:nvPr/>
        </p:nvSpPr>
        <p:spPr>
          <a:xfrm>
            <a:off x="6210792" y="3425243"/>
            <a:ext cx="212874" cy="118758"/>
          </a:xfrm>
          <a:prstGeom prst="rect">
            <a:avLst/>
          </a:prstGeom>
          <a:blipFill>
            <a:blip r:embed="rId5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5" name="object 83"/>
          <p:cNvSpPr/>
          <p:nvPr/>
        </p:nvSpPr>
        <p:spPr>
          <a:xfrm>
            <a:off x="6206891" y="3422303"/>
            <a:ext cx="221048" cy="124344"/>
          </a:xfrm>
          <a:custGeom>
            <a:avLst/>
            <a:gdLst/>
            <a:ahLst/>
            <a:cxnLst/>
            <a:rect l="l" t="t" r="r" b="b"/>
            <a:pathLst>
              <a:path w="302259" h="268604">
                <a:moveTo>
                  <a:pt x="250043" y="242383"/>
                </a:moveTo>
                <a:lnTo>
                  <a:pt x="92202" y="2285"/>
                </a:lnTo>
                <a:lnTo>
                  <a:pt x="91440" y="761"/>
                </a:lnTo>
                <a:lnTo>
                  <a:pt x="89916" y="0"/>
                </a:lnTo>
                <a:lnTo>
                  <a:pt x="16764" y="716"/>
                </a:lnTo>
                <a:lnTo>
                  <a:pt x="9906" y="761"/>
                </a:lnTo>
                <a:lnTo>
                  <a:pt x="8382" y="2285"/>
                </a:lnTo>
                <a:lnTo>
                  <a:pt x="7620" y="4571"/>
                </a:lnTo>
                <a:lnTo>
                  <a:pt x="0" y="31241"/>
                </a:lnTo>
                <a:lnTo>
                  <a:pt x="0" y="34289"/>
                </a:lnTo>
                <a:lnTo>
                  <a:pt x="3048" y="37337"/>
                </a:lnTo>
                <a:lnTo>
                  <a:pt x="4572" y="37337"/>
                </a:lnTo>
                <a:lnTo>
                  <a:pt x="4572" y="27431"/>
                </a:lnTo>
                <a:lnTo>
                  <a:pt x="10885" y="27431"/>
                </a:lnTo>
                <a:lnTo>
                  <a:pt x="12192" y="22859"/>
                </a:lnTo>
                <a:lnTo>
                  <a:pt x="12192" y="9905"/>
                </a:lnTo>
                <a:lnTo>
                  <a:pt x="16764" y="6857"/>
                </a:lnTo>
                <a:lnTo>
                  <a:pt x="16764" y="9905"/>
                </a:lnTo>
                <a:lnTo>
                  <a:pt x="40690" y="9905"/>
                </a:lnTo>
                <a:lnTo>
                  <a:pt x="41910" y="4571"/>
                </a:lnTo>
                <a:lnTo>
                  <a:pt x="41910" y="3047"/>
                </a:lnTo>
                <a:lnTo>
                  <a:pt x="43434" y="1523"/>
                </a:lnTo>
                <a:lnTo>
                  <a:pt x="45720" y="1523"/>
                </a:lnTo>
                <a:lnTo>
                  <a:pt x="47244" y="761"/>
                </a:lnTo>
                <a:lnTo>
                  <a:pt x="49530" y="1523"/>
                </a:lnTo>
                <a:lnTo>
                  <a:pt x="50357" y="3148"/>
                </a:lnTo>
                <a:lnTo>
                  <a:pt x="54755" y="9905"/>
                </a:lnTo>
                <a:lnTo>
                  <a:pt x="83820" y="9905"/>
                </a:lnTo>
                <a:lnTo>
                  <a:pt x="83820" y="7619"/>
                </a:lnTo>
                <a:lnTo>
                  <a:pt x="88392" y="9905"/>
                </a:lnTo>
                <a:lnTo>
                  <a:pt x="88392" y="14574"/>
                </a:lnTo>
                <a:lnTo>
                  <a:pt x="246126" y="254508"/>
                </a:lnTo>
                <a:lnTo>
                  <a:pt x="246126" y="249173"/>
                </a:lnTo>
                <a:lnTo>
                  <a:pt x="250043" y="242383"/>
                </a:lnTo>
                <a:close/>
              </a:path>
              <a:path w="302259" h="268604">
                <a:moveTo>
                  <a:pt x="10885" y="27431"/>
                </a:moveTo>
                <a:lnTo>
                  <a:pt x="4572" y="27431"/>
                </a:lnTo>
                <a:lnTo>
                  <a:pt x="9144" y="33527"/>
                </a:lnTo>
                <a:lnTo>
                  <a:pt x="10885" y="27431"/>
                </a:lnTo>
                <a:close/>
              </a:path>
              <a:path w="302259" h="268604">
                <a:moveTo>
                  <a:pt x="36684" y="27431"/>
                </a:moveTo>
                <a:lnTo>
                  <a:pt x="10885" y="27431"/>
                </a:lnTo>
                <a:lnTo>
                  <a:pt x="9144" y="33527"/>
                </a:lnTo>
                <a:lnTo>
                  <a:pt x="4572" y="27431"/>
                </a:lnTo>
                <a:lnTo>
                  <a:pt x="4572" y="37337"/>
                </a:lnTo>
                <a:lnTo>
                  <a:pt x="35814" y="37337"/>
                </a:lnTo>
                <a:lnTo>
                  <a:pt x="35814" y="31241"/>
                </a:lnTo>
                <a:lnTo>
                  <a:pt x="36684" y="27431"/>
                </a:lnTo>
                <a:close/>
              </a:path>
              <a:path w="302259" h="268604">
                <a:moveTo>
                  <a:pt x="16764" y="6857"/>
                </a:moveTo>
                <a:lnTo>
                  <a:pt x="12192" y="9905"/>
                </a:lnTo>
                <a:lnTo>
                  <a:pt x="15893" y="9905"/>
                </a:lnTo>
                <a:lnTo>
                  <a:pt x="16764" y="6857"/>
                </a:lnTo>
                <a:close/>
              </a:path>
              <a:path w="302259" h="268604">
                <a:moveTo>
                  <a:pt x="15893" y="9905"/>
                </a:moveTo>
                <a:lnTo>
                  <a:pt x="12192" y="9905"/>
                </a:lnTo>
                <a:lnTo>
                  <a:pt x="12192" y="22859"/>
                </a:lnTo>
                <a:lnTo>
                  <a:pt x="15893" y="9905"/>
                </a:lnTo>
                <a:close/>
              </a:path>
              <a:path w="302259" h="268604">
                <a:moveTo>
                  <a:pt x="16764" y="9905"/>
                </a:moveTo>
                <a:lnTo>
                  <a:pt x="16764" y="6857"/>
                </a:lnTo>
                <a:lnTo>
                  <a:pt x="15893" y="9905"/>
                </a:lnTo>
                <a:lnTo>
                  <a:pt x="16764" y="9905"/>
                </a:lnTo>
                <a:close/>
              </a:path>
              <a:path w="302259" h="268604">
                <a:moveTo>
                  <a:pt x="40386" y="27431"/>
                </a:moveTo>
                <a:lnTo>
                  <a:pt x="36684" y="27431"/>
                </a:lnTo>
                <a:lnTo>
                  <a:pt x="35814" y="31241"/>
                </a:lnTo>
                <a:lnTo>
                  <a:pt x="40386" y="27431"/>
                </a:lnTo>
                <a:close/>
              </a:path>
              <a:path w="302259" h="268604">
                <a:moveTo>
                  <a:pt x="40386" y="37337"/>
                </a:moveTo>
                <a:lnTo>
                  <a:pt x="40386" y="27431"/>
                </a:lnTo>
                <a:lnTo>
                  <a:pt x="35814" y="31241"/>
                </a:lnTo>
                <a:lnTo>
                  <a:pt x="35814" y="37337"/>
                </a:lnTo>
                <a:lnTo>
                  <a:pt x="40386" y="37337"/>
                </a:lnTo>
                <a:close/>
              </a:path>
              <a:path w="302259" h="268604">
                <a:moveTo>
                  <a:pt x="48427" y="18349"/>
                </a:moveTo>
                <a:lnTo>
                  <a:pt x="42906" y="9905"/>
                </a:lnTo>
                <a:lnTo>
                  <a:pt x="40690" y="9905"/>
                </a:lnTo>
                <a:lnTo>
                  <a:pt x="36684" y="27431"/>
                </a:lnTo>
                <a:lnTo>
                  <a:pt x="40386" y="27431"/>
                </a:lnTo>
                <a:lnTo>
                  <a:pt x="40386" y="37337"/>
                </a:lnTo>
                <a:lnTo>
                  <a:pt x="42672" y="37337"/>
                </a:lnTo>
                <a:lnTo>
                  <a:pt x="44958" y="35813"/>
                </a:lnTo>
                <a:lnTo>
                  <a:pt x="44958" y="33527"/>
                </a:lnTo>
                <a:lnTo>
                  <a:pt x="48427" y="18349"/>
                </a:lnTo>
                <a:close/>
              </a:path>
              <a:path w="302259" h="268604">
                <a:moveTo>
                  <a:pt x="42906" y="9905"/>
                </a:moveTo>
                <a:lnTo>
                  <a:pt x="41910" y="8381"/>
                </a:lnTo>
                <a:lnTo>
                  <a:pt x="41910" y="4571"/>
                </a:lnTo>
                <a:lnTo>
                  <a:pt x="40690" y="9905"/>
                </a:lnTo>
                <a:lnTo>
                  <a:pt x="42906" y="9905"/>
                </a:lnTo>
                <a:close/>
              </a:path>
              <a:path w="302259" h="268604">
                <a:moveTo>
                  <a:pt x="54755" y="9905"/>
                </a:moveTo>
                <a:lnTo>
                  <a:pt x="50292" y="3047"/>
                </a:lnTo>
                <a:lnTo>
                  <a:pt x="49530" y="1523"/>
                </a:lnTo>
                <a:lnTo>
                  <a:pt x="47244" y="761"/>
                </a:lnTo>
                <a:lnTo>
                  <a:pt x="45720" y="1523"/>
                </a:lnTo>
                <a:lnTo>
                  <a:pt x="43434" y="1523"/>
                </a:lnTo>
                <a:lnTo>
                  <a:pt x="41910" y="3047"/>
                </a:lnTo>
                <a:lnTo>
                  <a:pt x="41910" y="8381"/>
                </a:lnTo>
                <a:lnTo>
                  <a:pt x="51054" y="6857"/>
                </a:lnTo>
                <a:lnTo>
                  <a:pt x="51054" y="9905"/>
                </a:lnTo>
                <a:lnTo>
                  <a:pt x="54755" y="9905"/>
                </a:lnTo>
                <a:close/>
              </a:path>
              <a:path w="302259" h="268604">
                <a:moveTo>
                  <a:pt x="51054" y="6857"/>
                </a:moveTo>
                <a:lnTo>
                  <a:pt x="41910" y="8381"/>
                </a:lnTo>
                <a:lnTo>
                  <a:pt x="42906" y="9905"/>
                </a:lnTo>
                <a:lnTo>
                  <a:pt x="50357" y="9905"/>
                </a:lnTo>
                <a:lnTo>
                  <a:pt x="51054" y="6857"/>
                </a:lnTo>
                <a:close/>
              </a:path>
              <a:path w="302259" h="268604">
                <a:moveTo>
                  <a:pt x="50357" y="9905"/>
                </a:moveTo>
                <a:lnTo>
                  <a:pt x="42906" y="9905"/>
                </a:lnTo>
                <a:lnTo>
                  <a:pt x="48427" y="18349"/>
                </a:lnTo>
                <a:lnTo>
                  <a:pt x="50357" y="9905"/>
                </a:lnTo>
                <a:close/>
              </a:path>
              <a:path w="302259" h="268604">
                <a:moveTo>
                  <a:pt x="216410" y="258267"/>
                </a:moveTo>
                <a:lnTo>
                  <a:pt x="54755" y="9905"/>
                </a:lnTo>
                <a:lnTo>
                  <a:pt x="50357" y="9905"/>
                </a:lnTo>
                <a:lnTo>
                  <a:pt x="48427" y="18349"/>
                </a:lnTo>
                <a:lnTo>
                  <a:pt x="210312" y="265938"/>
                </a:lnTo>
                <a:lnTo>
                  <a:pt x="211074" y="267462"/>
                </a:lnTo>
                <a:lnTo>
                  <a:pt x="212598" y="268223"/>
                </a:lnTo>
                <a:lnTo>
                  <a:pt x="214122" y="268223"/>
                </a:lnTo>
                <a:lnTo>
                  <a:pt x="214122" y="258317"/>
                </a:lnTo>
                <a:lnTo>
                  <a:pt x="216410" y="258267"/>
                </a:lnTo>
                <a:close/>
              </a:path>
              <a:path w="302259" h="268604">
                <a:moveTo>
                  <a:pt x="51054" y="9905"/>
                </a:moveTo>
                <a:lnTo>
                  <a:pt x="51054" y="6857"/>
                </a:lnTo>
                <a:lnTo>
                  <a:pt x="50357" y="9905"/>
                </a:lnTo>
                <a:lnTo>
                  <a:pt x="51054" y="9905"/>
                </a:lnTo>
                <a:close/>
              </a:path>
              <a:path w="302259" h="268604">
                <a:moveTo>
                  <a:pt x="88392" y="9905"/>
                </a:moveTo>
                <a:lnTo>
                  <a:pt x="83820" y="7619"/>
                </a:lnTo>
                <a:lnTo>
                  <a:pt x="85322" y="9905"/>
                </a:lnTo>
                <a:lnTo>
                  <a:pt x="88392" y="9905"/>
                </a:lnTo>
                <a:close/>
              </a:path>
              <a:path w="302259" h="268604">
                <a:moveTo>
                  <a:pt x="85322" y="9905"/>
                </a:moveTo>
                <a:lnTo>
                  <a:pt x="83820" y="7619"/>
                </a:lnTo>
                <a:lnTo>
                  <a:pt x="83820" y="9905"/>
                </a:lnTo>
                <a:lnTo>
                  <a:pt x="85322" y="9905"/>
                </a:lnTo>
                <a:close/>
              </a:path>
              <a:path w="302259" h="268604">
                <a:moveTo>
                  <a:pt x="88392" y="14574"/>
                </a:moveTo>
                <a:lnTo>
                  <a:pt x="88392" y="9905"/>
                </a:lnTo>
                <a:lnTo>
                  <a:pt x="85322" y="9905"/>
                </a:lnTo>
                <a:lnTo>
                  <a:pt x="88392" y="14574"/>
                </a:lnTo>
                <a:close/>
              </a:path>
              <a:path w="302259" h="268604">
                <a:moveTo>
                  <a:pt x="217932" y="260603"/>
                </a:moveTo>
                <a:lnTo>
                  <a:pt x="216410" y="258267"/>
                </a:lnTo>
                <a:lnTo>
                  <a:pt x="214122" y="258317"/>
                </a:lnTo>
                <a:lnTo>
                  <a:pt x="217932" y="260603"/>
                </a:lnTo>
                <a:close/>
              </a:path>
              <a:path w="302259" h="268604">
                <a:moveTo>
                  <a:pt x="217932" y="268139"/>
                </a:moveTo>
                <a:lnTo>
                  <a:pt x="217932" y="260603"/>
                </a:lnTo>
                <a:lnTo>
                  <a:pt x="214122" y="258317"/>
                </a:lnTo>
                <a:lnTo>
                  <a:pt x="214122" y="268223"/>
                </a:lnTo>
                <a:lnTo>
                  <a:pt x="217932" y="268139"/>
                </a:lnTo>
                <a:close/>
              </a:path>
              <a:path w="302259" h="268604">
                <a:moveTo>
                  <a:pt x="282702" y="266699"/>
                </a:moveTo>
                <a:lnTo>
                  <a:pt x="282702" y="256794"/>
                </a:lnTo>
                <a:lnTo>
                  <a:pt x="278130" y="259841"/>
                </a:lnTo>
                <a:lnTo>
                  <a:pt x="278130" y="256895"/>
                </a:lnTo>
                <a:lnTo>
                  <a:pt x="216410" y="258267"/>
                </a:lnTo>
                <a:lnTo>
                  <a:pt x="217932" y="260603"/>
                </a:lnTo>
                <a:lnTo>
                  <a:pt x="217932" y="268139"/>
                </a:lnTo>
                <a:lnTo>
                  <a:pt x="278130" y="266801"/>
                </a:lnTo>
                <a:lnTo>
                  <a:pt x="278130" y="259841"/>
                </a:lnTo>
                <a:lnTo>
                  <a:pt x="279469" y="256865"/>
                </a:lnTo>
                <a:lnTo>
                  <a:pt x="279469" y="266771"/>
                </a:lnTo>
                <a:lnTo>
                  <a:pt x="282702" y="266699"/>
                </a:lnTo>
                <a:close/>
              </a:path>
              <a:path w="302259" h="268604">
                <a:moveTo>
                  <a:pt x="254508" y="249173"/>
                </a:moveTo>
                <a:lnTo>
                  <a:pt x="250043" y="242383"/>
                </a:lnTo>
                <a:lnTo>
                  <a:pt x="246126" y="249173"/>
                </a:lnTo>
                <a:lnTo>
                  <a:pt x="254508" y="249173"/>
                </a:lnTo>
                <a:close/>
              </a:path>
              <a:path w="302259" h="268604">
                <a:moveTo>
                  <a:pt x="254508" y="254508"/>
                </a:moveTo>
                <a:lnTo>
                  <a:pt x="254508" y="249173"/>
                </a:lnTo>
                <a:lnTo>
                  <a:pt x="246126" y="249173"/>
                </a:lnTo>
                <a:lnTo>
                  <a:pt x="246126" y="254508"/>
                </a:lnTo>
                <a:lnTo>
                  <a:pt x="246888" y="256031"/>
                </a:lnTo>
                <a:lnTo>
                  <a:pt x="248412" y="256794"/>
                </a:lnTo>
                <a:lnTo>
                  <a:pt x="252222" y="256794"/>
                </a:lnTo>
                <a:lnTo>
                  <a:pt x="254508" y="254508"/>
                </a:lnTo>
                <a:close/>
              </a:path>
              <a:path w="302259" h="268604">
                <a:moveTo>
                  <a:pt x="301752" y="231647"/>
                </a:moveTo>
                <a:lnTo>
                  <a:pt x="301752" y="230123"/>
                </a:lnTo>
                <a:lnTo>
                  <a:pt x="300228" y="228599"/>
                </a:lnTo>
                <a:lnTo>
                  <a:pt x="299466" y="227075"/>
                </a:lnTo>
                <a:lnTo>
                  <a:pt x="297942" y="226313"/>
                </a:lnTo>
                <a:lnTo>
                  <a:pt x="259842" y="226313"/>
                </a:lnTo>
                <a:lnTo>
                  <a:pt x="258318" y="227837"/>
                </a:lnTo>
                <a:lnTo>
                  <a:pt x="257556" y="229361"/>
                </a:lnTo>
                <a:lnTo>
                  <a:pt x="250043" y="242383"/>
                </a:lnTo>
                <a:lnTo>
                  <a:pt x="254508" y="249173"/>
                </a:lnTo>
                <a:lnTo>
                  <a:pt x="254508" y="254508"/>
                </a:lnTo>
                <a:lnTo>
                  <a:pt x="261366" y="242163"/>
                </a:lnTo>
                <a:lnTo>
                  <a:pt x="261366" y="236219"/>
                </a:lnTo>
                <a:lnTo>
                  <a:pt x="265938" y="233933"/>
                </a:lnTo>
                <a:lnTo>
                  <a:pt x="265938" y="236219"/>
                </a:lnTo>
                <a:lnTo>
                  <a:pt x="288759" y="236219"/>
                </a:lnTo>
                <a:lnTo>
                  <a:pt x="291846" y="229361"/>
                </a:lnTo>
                <a:lnTo>
                  <a:pt x="296418" y="236219"/>
                </a:lnTo>
                <a:lnTo>
                  <a:pt x="296418" y="243331"/>
                </a:lnTo>
                <a:lnTo>
                  <a:pt x="300990" y="233171"/>
                </a:lnTo>
                <a:lnTo>
                  <a:pt x="301752" y="231647"/>
                </a:lnTo>
                <a:close/>
              </a:path>
              <a:path w="302259" h="268604">
                <a:moveTo>
                  <a:pt x="265938" y="233933"/>
                </a:moveTo>
                <a:lnTo>
                  <a:pt x="261366" y="236219"/>
                </a:lnTo>
                <a:lnTo>
                  <a:pt x="264668" y="236219"/>
                </a:lnTo>
                <a:lnTo>
                  <a:pt x="265938" y="233933"/>
                </a:lnTo>
                <a:close/>
              </a:path>
              <a:path w="302259" h="268604">
                <a:moveTo>
                  <a:pt x="264668" y="236220"/>
                </a:moveTo>
                <a:lnTo>
                  <a:pt x="261366" y="236219"/>
                </a:lnTo>
                <a:lnTo>
                  <a:pt x="261366" y="242163"/>
                </a:lnTo>
                <a:lnTo>
                  <a:pt x="264668" y="236220"/>
                </a:lnTo>
                <a:close/>
              </a:path>
              <a:path w="302259" h="268604">
                <a:moveTo>
                  <a:pt x="265938" y="236219"/>
                </a:moveTo>
                <a:lnTo>
                  <a:pt x="265938" y="233933"/>
                </a:lnTo>
                <a:lnTo>
                  <a:pt x="264668" y="236220"/>
                </a:lnTo>
                <a:lnTo>
                  <a:pt x="265938" y="236219"/>
                </a:lnTo>
                <a:close/>
              </a:path>
              <a:path w="302259" h="268604">
                <a:moveTo>
                  <a:pt x="282702" y="256794"/>
                </a:moveTo>
                <a:lnTo>
                  <a:pt x="279469" y="256865"/>
                </a:lnTo>
                <a:lnTo>
                  <a:pt x="278130" y="259841"/>
                </a:lnTo>
                <a:lnTo>
                  <a:pt x="282702" y="256794"/>
                </a:lnTo>
                <a:close/>
              </a:path>
              <a:path w="302259" h="268604">
                <a:moveTo>
                  <a:pt x="296418" y="243331"/>
                </a:moveTo>
                <a:lnTo>
                  <a:pt x="296418" y="236219"/>
                </a:lnTo>
                <a:lnTo>
                  <a:pt x="288759" y="236219"/>
                </a:lnTo>
                <a:lnTo>
                  <a:pt x="279469" y="256865"/>
                </a:lnTo>
                <a:lnTo>
                  <a:pt x="282702" y="256794"/>
                </a:lnTo>
                <a:lnTo>
                  <a:pt x="282702" y="266699"/>
                </a:lnTo>
                <a:lnTo>
                  <a:pt x="284226" y="266699"/>
                </a:lnTo>
                <a:lnTo>
                  <a:pt x="286512" y="265176"/>
                </a:lnTo>
                <a:lnTo>
                  <a:pt x="287274" y="263652"/>
                </a:lnTo>
                <a:lnTo>
                  <a:pt x="296418" y="243331"/>
                </a:lnTo>
                <a:close/>
              </a:path>
              <a:path w="302259" h="268604">
                <a:moveTo>
                  <a:pt x="296418" y="236219"/>
                </a:moveTo>
                <a:lnTo>
                  <a:pt x="291846" y="229361"/>
                </a:lnTo>
                <a:lnTo>
                  <a:pt x="288759" y="236219"/>
                </a:lnTo>
                <a:lnTo>
                  <a:pt x="296418" y="2362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6" name="object 84"/>
          <p:cNvSpPr/>
          <p:nvPr/>
        </p:nvSpPr>
        <p:spPr>
          <a:xfrm>
            <a:off x="6074261" y="3439235"/>
            <a:ext cx="274731" cy="89951"/>
          </a:xfrm>
          <a:prstGeom prst="rect">
            <a:avLst/>
          </a:prstGeom>
          <a:blipFill>
            <a:blip r:embed="rId5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7" name="object 85"/>
          <p:cNvSpPr/>
          <p:nvPr/>
        </p:nvSpPr>
        <p:spPr>
          <a:xfrm>
            <a:off x="6070361" y="3436766"/>
            <a:ext cx="282347" cy="94654"/>
          </a:xfrm>
          <a:custGeom>
            <a:avLst/>
            <a:gdLst/>
            <a:ahLst/>
            <a:cxnLst/>
            <a:rect l="l" t="t" r="r" b="b"/>
            <a:pathLst>
              <a:path w="386079" h="204470">
                <a:moveTo>
                  <a:pt x="385571" y="200406"/>
                </a:moveTo>
                <a:lnTo>
                  <a:pt x="385571" y="198120"/>
                </a:lnTo>
                <a:lnTo>
                  <a:pt x="384809" y="197358"/>
                </a:lnTo>
                <a:lnTo>
                  <a:pt x="252221" y="2286"/>
                </a:lnTo>
                <a:lnTo>
                  <a:pt x="251459" y="762"/>
                </a:lnTo>
                <a:lnTo>
                  <a:pt x="249935" y="0"/>
                </a:lnTo>
                <a:lnTo>
                  <a:pt x="3809" y="0"/>
                </a:lnTo>
                <a:lnTo>
                  <a:pt x="1523" y="1524"/>
                </a:lnTo>
                <a:lnTo>
                  <a:pt x="0" y="4572"/>
                </a:lnTo>
                <a:lnTo>
                  <a:pt x="0" y="6096"/>
                </a:lnTo>
                <a:lnTo>
                  <a:pt x="1523" y="7620"/>
                </a:lnTo>
                <a:lnTo>
                  <a:pt x="5333" y="13508"/>
                </a:lnTo>
                <a:lnTo>
                  <a:pt x="5333" y="9906"/>
                </a:lnTo>
                <a:lnTo>
                  <a:pt x="9143" y="2286"/>
                </a:lnTo>
                <a:lnTo>
                  <a:pt x="14067" y="9878"/>
                </a:lnTo>
                <a:lnTo>
                  <a:pt x="244601" y="9155"/>
                </a:lnTo>
                <a:lnTo>
                  <a:pt x="244601" y="7620"/>
                </a:lnTo>
                <a:lnTo>
                  <a:pt x="248411" y="9144"/>
                </a:lnTo>
                <a:lnTo>
                  <a:pt x="248411" y="13257"/>
                </a:lnTo>
                <a:lnTo>
                  <a:pt x="371278" y="195072"/>
                </a:lnTo>
                <a:lnTo>
                  <a:pt x="380999" y="195072"/>
                </a:lnTo>
                <a:lnTo>
                  <a:pt x="380999" y="204216"/>
                </a:lnTo>
                <a:lnTo>
                  <a:pt x="382523" y="204216"/>
                </a:lnTo>
                <a:lnTo>
                  <a:pt x="384047" y="203454"/>
                </a:lnTo>
                <a:lnTo>
                  <a:pt x="385571" y="200406"/>
                </a:lnTo>
                <a:close/>
              </a:path>
              <a:path w="386079" h="204470">
                <a:moveTo>
                  <a:pt x="14067" y="9878"/>
                </a:moveTo>
                <a:lnTo>
                  <a:pt x="9143" y="2286"/>
                </a:lnTo>
                <a:lnTo>
                  <a:pt x="5333" y="9906"/>
                </a:lnTo>
                <a:lnTo>
                  <a:pt x="14067" y="9878"/>
                </a:lnTo>
                <a:close/>
              </a:path>
              <a:path w="386079" h="204470">
                <a:moveTo>
                  <a:pt x="134153" y="195072"/>
                </a:moveTo>
                <a:lnTo>
                  <a:pt x="14067" y="9878"/>
                </a:lnTo>
                <a:lnTo>
                  <a:pt x="5333" y="9906"/>
                </a:lnTo>
                <a:lnTo>
                  <a:pt x="5333" y="13508"/>
                </a:lnTo>
                <a:lnTo>
                  <a:pt x="127253" y="201930"/>
                </a:lnTo>
                <a:lnTo>
                  <a:pt x="128777" y="203454"/>
                </a:lnTo>
                <a:lnTo>
                  <a:pt x="130301" y="204216"/>
                </a:lnTo>
                <a:lnTo>
                  <a:pt x="131825" y="204216"/>
                </a:lnTo>
                <a:lnTo>
                  <a:pt x="131825" y="195072"/>
                </a:lnTo>
                <a:lnTo>
                  <a:pt x="134153" y="195072"/>
                </a:lnTo>
                <a:close/>
              </a:path>
              <a:path w="386079" h="204470">
                <a:moveTo>
                  <a:pt x="135635" y="197358"/>
                </a:moveTo>
                <a:lnTo>
                  <a:pt x="134153" y="195072"/>
                </a:lnTo>
                <a:lnTo>
                  <a:pt x="131825" y="195072"/>
                </a:lnTo>
                <a:lnTo>
                  <a:pt x="135635" y="197358"/>
                </a:lnTo>
                <a:close/>
              </a:path>
              <a:path w="386079" h="204470">
                <a:moveTo>
                  <a:pt x="135635" y="204216"/>
                </a:moveTo>
                <a:lnTo>
                  <a:pt x="135635" y="197358"/>
                </a:lnTo>
                <a:lnTo>
                  <a:pt x="131825" y="195072"/>
                </a:lnTo>
                <a:lnTo>
                  <a:pt x="131825" y="204216"/>
                </a:lnTo>
                <a:lnTo>
                  <a:pt x="135635" y="204216"/>
                </a:lnTo>
                <a:close/>
              </a:path>
              <a:path w="386079" h="204470">
                <a:moveTo>
                  <a:pt x="380999" y="204216"/>
                </a:moveTo>
                <a:lnTo>
                  <a:pt x="380999" y="195072"/>
                </a:lnTo>
                <a:lnTo>
                  <a:pt x="376427" y="202692"/>
                </a:lnTo>
                <a:lnTo>
                  <a:pt x="371278" y="195072"/>
                </a:lnTo>
                <a:lnTo>
                  <a:pt x="134153" y="195072"/>
                </a:lnTo>
                <a:lnTo>
                  <a:pt x="135635" y="197358"/>
                </a:lnTo>
                <a:lnTo>
                  <a:pt x="135635" y="204216"/>
                </a:lnTo>
                <a:lnTo>
                  <a:pt x="380999" y="204216"/>
                </a:lnTo>
                <a:close/>
              </a:path>
              <a:path w="386079" h="204470">
                <a:moveTo>
                  <a:pt x="248411" y="9144"/>
                </a:moveTo>
                <a:lnTo>
                  <a:pt x="244601" y="7620"/>
                </a:lnTo>
                <a:lnTo>
                  <a:pt x="245637" y="9152"/>
                </a:lnTo>
                <a:lnTo>
                  <a:pt x="248411" y="9144"/>
                </a:lnTo>
                <a:close/>
              </a:path>
              <a:path w="386079" h="204470">
                <a:moveTo>
                  <a:pt x="245637" y="9152"/>
                </a:moveTo>
                <a:lnTo>
                  <a:pt x="244601" y="7620"/>
                </a:lnTo>
                <a:lnTo>
                  <a:pt x="244601" y="9155"/>
                </a:lnTo>
                <a:lnTo>
                  <a:pt x="245637" y="9152"/>
                </a:lnTo>
                <a:close/>
              </a:path>
              <a:path w="386079" h="204470">
                <a:moveTo>
                  <a:pt x="248411" y="13257"/>
                </a:moveTo>
                <a:lnTo>
                  <a:pt x="248411" y="9144"/>
                </a:lnTo>
                <a:lnTo>
                  <a:pt x="245637" y="9152"/>
                </a:lnTo>
                <a:lnTo>
                  <a:pt x="248411" y="13257"/>
                </a:lnTo>
                <a:close/>
              </a:path>
              <a:path w="386079" h="204470">
                <a:moveTo>
                  <a:pt x="380999" y="195072"/>
                </a:moveTo>
                <a:lnTo>
                  <a:pt x="371278" y="195072"/>
                </a:lnTo>
                <a:lnTo>
                  <a:pt x="376427" y="202692"/>
                </a:lnTo>
                <a:lnTo>
                  <a:pt x="380999" y="1950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8" name="object 86"/>
          <p:cNvSpPr/>
          <p:nvPr/>
        </p:nvSpPr>
        <p:spPr>
          <a:xfrm>
            <a:off x="6452642" y="3424538"/>
            <a:ext cx="182791" cy="118758"/>
          </a:xfrm>
          <a:prstGeom prst="rect">
            <a:avLst/>
          </a:prstGeom>
          <a:blipFill>
            <a:blip r:embed="rId5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39" name="object 87"/>
          <p:cNvSpPr/>
          <p:nvPr/>
        </p:nvSpPr>
        <p:spPr>
          <a:xfrm>
            <a:off x="6418093" y="3421598"/>
            <a:ext cx="221048" cy="124050"/>
          </a:xfrm>
          <a:custGeom>
            <a:avLst/>
            <a:gdLst/>
            <a:ahLst/>
            <a:cxnLst/>
            <a:rect l="l" t="t" r="r" b="b"/>
            <a:pathLst>
              <a:path w="302259" h="267970">
                <a:moveTo>
                  <a:pt x="249971" y="242252"/>
                </a:moveTo>
                <a:lnTo>
                  <a:pt x="92201" y="1523"/>
                </a:lnTo>
                <a:lnTo>
                  <a:pt x="91439" y="761"/>
                </a:lnTo>
                <a:lnTo>
                  <a:pt x="89915" y="0"/>
                </a:lnTo>
                <a:lnTo>
                  <a:pt x="84581" y="38"/>
                </a:lnTo>
                <a:lnTo>
                  <a:pt x="17525" y="715"/>
                </a:lnTo>
                <a:lnTo>
                  <a:pt x="10667" y="761"/>
                </a:lnTo>
                <a:lnTo>
                  <a:pt x="8381" y="1523"/>
                </a:lnTo>
                <a:lnTo>
                  <a:pt x="8381" y="3809"/>
                </a:lnTo>
                <a:lnTo>
                  <a:pt x="761" y="30479"/>
                </a:lnTo>
                <a:lnTo>
                  <a:pt x="0" y="32003"/>
                </a:lnTo>
                <a:lnTo>
                  <a:pt x="1523" y="35051"/>
                </a:lnTo>
                <a:lnTo>
                  <a:pt x="2285" y="35813"/>
                </a:lnTo>
                <a:lnTo>
                  <a:pt x="3809" y="36575"/>
                </a:lnTo>
                <a:lnTo>
                  <a:pt x="5333" y="36575"/>
                </a:lnTo>
                <a:lnTo>
                  <a:pt x="5333" y="27431"/>
                </a:lnTo>
                <a:lnTo>
                  <a:pt x="11599" y="27431"/>
                </a:lnTo>
                <a:lnTo>
                  <a:pt x="12953" y="22555"/>
                </a:lnTo>
                <a:lnTo>
                  <a:pt x="12953" y="9905"/>
                </a:lnTo>
                <a:lnTo>
                  <a:pt x="17525" y="6095"/>
                </a:lnTo>
                <a:lnTo>
                  <a:pt x="17525" y="9859"/>
                </a:lnTo>
                <a:lnTo>
                  <a:pt x="40899" y="9623"/>
                </a:lnTo>
                <a:lnTo>
                  <a:pt x="41909" y="4571"/>
                </a:lnTo>
                <a:lnTo>
                  <a:pt x="42671" y="3047"/>
                </a:lnTo>
                <a:lnTo>
                  <a:pt x="44195" y="1523"/>
                </a:lnTo>
                <a:lnTo>
                  <a:pt x="45719" y="761"/>
                </a:lnTo>
                <a:lnTo>
                  <a:pt x="48005" y="761"/>
                </a:lnTo>
                <a:lnTo>
                  <a:pt x="49529" y="1523"/>
                </a:lnTo>
                <a:lnTo>
                  <a:pt x="51053" y="3047"/>
                </a:lnTo>
                <a:lnTo>
                  <a:pt x="55239" y="9478"/>
                </a:lnTo>
                <a:lnTo>
                  <a:pt x="84581" y="9182"/>
                </a:lnTo>
                <a:lnTo>
                  <a:pt x="84581" y="6857"/>
                </a:lnTo>
                <a:lnTo>
                  <a:pt x="88391" y="9143"/>
                </a:lnTo>
                <a:lnTo>
                  <a:pt x="88391" y="12671"/>
                </a:lnTo>
                <a:lnTo>
                  <a:pt x="246125" y="253345"/>
                </a:lnTo>
                <a:lnTo>
                  <a:pt x="246125" y="249173"/>
                </a:lnTo>
                <a:lnTo>
                  <a:pt x="249971" y="242252"/>
                </a:lnTo>
                <a:close/>
              </a:path>
              <a:path w="302259" h="267970">
                <a:moveTo>
                  <a:pt x="11599" y="27431"/>
                </a:moveTo>
                <a:lnTo>
                  <a:pt x="5333" y="27431"/>
                </a:lnTo>
                <a:lnTo>
                  <a:pt x="9905" y="33527"/>
                </a:lnTo>
                <a:lnTo>
                  <a:pt x="11599" y="27431"/>
                </a:lnTo>
                <a:close/>
              </a:path>
              <a:path w="302259" h="267970">
                <a:moveTo>
                  <a:pt x="37337" y="27431"/>
                </a:moveTo>
                <a:lnTo>
                  <a:pt x="11599" y="27431"/>
                </a:lnTo>
                <a:lnTo>
                  <a:pt x="9905" y="33527"/>
                </a:lnTo>
                <a:lnTo>
                  <a:pt x="5333" y="27431"/>
                </a:lnTo>
                <a:lnTo>
                  <a:pt x="5333" y="36575"/>
                </a:lnTo>
                <a:lnTo>
                  <a:pt x="36575" y="36575"/>
                </a:lnTo>
                <a:lnTo>
                  <a:pt x="36575" y="31241"/>
                </a:lnTo>
                <a:lnTo>
                  <a:pt x="37337" y="27431"/>
                </a:lnTo>
                <a:close/>
              </a:path>
              <a:path w="302259" h="267970">
                <a:moveTo>
                  <a:pt x="17525" y="6095"/>
                </a:moveTo>
                <a:lnTo>
                  <a:pt x="12953" y="9905"/>
                </a:lnTo>
                <a:lnTo>
                  <a:pt x="16477" y="9870"/>
                </a:lnTo>
                <a:lnTo>
                  <a:pt x="17525" y="6095"/>
                </a:lnTo>
                <a:close/>
              </a:path>
              <a:path w="302259" h="267970">
                <a:moveTo>
                  <a:pt x="16477" y="9870"/>
                </a:moveTo>
                <a:lnTo>
                  <a:pt x="12953" y="9905"/>
                </a:lnTo>
                <a:lnTo>
                  <a:pt x="12953" y="22555"/>
                </a:lnTo>
                <a:lnTo>
                  <a:pt x="16477" y="9870"/>
                </a:lnTo>
                <a:close/>
              </a:path>
              <a:path w="302259" h="267970">
                <a:moveTo>
                  <a:pt x="17525" y="9859"/>
                </a:moveTo>
                <a:lnTo>
                  <a:pt x="17525" y="6095"/>
                </a:lnTo>
                <a:lnTo>
                  <a:pt x="16477" y="9870"/>
                </a:lnTo>
                <a:lnTo>
                  <a:pt x="17525" y="9859"/>
                </a:lnTo>
                <a:close/>
              </a:path>
              <a:path w="302259" h="267970">
                <a:moveTo>
                  <a:pt x="41147" y="27431"/>
                </a:moveTo>
                <a:lnTo>
                  <a:pt x="37337" y="27431"/>
                </a:lnTo>
                <a:lnTo>
                  <a:pt x="36575" y="31241"/>
                </a:lnTo>
                <a:lnTo>
                  <a:pt x="41147" y="27431"/>
                </a:lnTo>
                <a:close/>
              </a:path>
              <a:path w="302259" h="267970">
                <a:moveTo>
                  <a:pt x="41147" y="36575"/>
                </a:moveTo>
                <a:lnTo>
                  <a:pt x="41147" y="27431"/>
                </a:lnTo>
                <a:lnTo>
                  <a:pt x="36575" y="31241"/>
                </a:lnTo>
                <a:lnTo>
                  <a:pt x="36575" y="36575"/>
                </a:lnTo>
                <a:lnTo>
                  <a:pt x="41147" y="36575"/>
                </a:lnTo>
                <a:close/>
              </a:path>
              <a:path w="302259" h="267970">
                <a:moveTo>
                  <a:pt x="48805" y="17777"/>
                </a:moveTo>
                <a:lnTo>
                  <a:pt x="43465" y="9597"/>
                </a:lnTo>
                <a:lnTo>
                  <a:pt x="40899" y="9623"/>
                </a:lnTo>
                <a:lnTo>
                  <a:pt x="37337" y="27431"/>
                </a:lnTo>
                <a:lnTo>
                  <a:pt x="41147" y="27431"/>
                </a:lnTo>
                <a:lnTo>
                  <a:pt x="41147" y="36575"/>
                </a:lnTo>
                <a:lnTo>
                  <a:pt x="43465" y="36544"/>
                </a:lnTo>
                <a:lnTo>
                  <a:pt x="44957" y="35051"/>
                </a:lnTo>
                <a:lnTo>
                  <a:pt x="45719" y="32765"/>
                </a:lnTo>
                <a:lnTo>
                  <a:pt x="48805" y="17777"/>
                </a:lnTo>
                <a:close/>
              </a:path>
              <a:path w="302259" h="267970">
                <a:moveTo>
                  <a:pt x="55239" y="9478"/>
                </a:moveTo>
                <a:lnTo>
                  <a:pt x="51053" y="3047"/>
                </a:lnTo>
                <a:lnTo>
                  <a:pt x="49529" y="1523"/>
                </a:lnTo>
                <a:lnTo>
                  <a:pt x="48005" y="761"/>
                </a:lnTo>
                <a:lnTo>
                  <a:pt x="45719" y="761"/>
                </a:lnTo>
                <a:lnTo>
                  <a:pt x="44195" y="1523"/>
                </a:lnTo>
                <a:lnTo>
                  <a:pt x="42671" y="3047"/>
                </a:lnTo>
                <a:lnTo>
                  <a:pt x="41909" y="4571"/>
                </a:lnTo>
                <a:lnTo>
                  <a:pt x="40899" y="9623"/>
                </a:lnTo>
                <a:lnTo>
                  <a:pt x="42671" y="9605"/>
                </a:lnTo>
                <a:lnTo>
                  <a:pt x="42671" y="8381"/>
                </a:lnTo>
                <a:lnTo>
                  <a:pt x="51053" y="6857"/>
                </a:lnTo>
                <a:lnTo>
                  <a:pt x="51053" y="9521"/>
                </a:lnTo>
                <a:lnTo>
                  <a:pt x="55239" y="9478"/>
                </a:lnTo>
                <a:close/>
              </a:path>
              <a:path w="302259" h="267970">
                <a:moveTo>
                  <a:pt x="51053" y="6857"/>
                </a:moveTo>
                <a:lnTo>
                  <a:pt x="42671" y="8381"/>
                </a:lnTo>
                <a:lnTo>
                  <a:pt x="43433" y="9549"/>
                </a:lnTo>
                <a:lnTo>
                  <a:pt x="50504" y="9526"/>
                </a:lnTo>
                <a:lnTo>
                  <a:pt x="51053" y="6857"/>
                </a:lnTo>
                <a:close/>
              </a:path>
              <a:path w="302259" h="267970">
                <a:moveTo>
                  <a:pt x="43465" y="9597"/>
                </a:moveTo>
                <a:lnTo>
                  <a:pt x="42671" y="8381"/>
                </a:lnTo>
                <a:lnTo>
                  <a:pt x="42671" y="9605"/>
                </a:lnTo>
                <a:lnTo>
                  <a:pt x="43465" y="9597"/>
                </a:lnTo>
                <a:close/>
              </a:path>
              <a:path w="302259" h="267970">
                <a:moveTo>
                  <a:pt x="50504" y="9526"/>
                </a:moveTo>
                <a:lnTo>
                  <a:pt x="43465" y="9597"/>
                </a:lnTo>
                <a:lnTo>
                  <a:pt x="48805" y="17777"/>
                </a:lnTo>
                <a:lnTo>
                  <a:pt x="50504" y="9526"/>
                </a:lnTo>
                <a:close/>
              </a:path>
              <a:path w="302259" h="267970">
                <a:moveTo>
                  <a:pt x="217162" y="258250"/>
                </a:moveTo>
                <a:lnTo>
                  <a:pt x="55239" y="9478"/>
                </a:lnTo>
                <a:lnTo>
                  <a:pt x="50504" y="9526"/>
                </a:lnTo>
                <a:lnTo>
                  <a:pt x="48805" y="17777"/>
                </a:lnTo>
                <a:lnTo>
                  <a:pt x="210311" y="265175"/>
                </a:lnTo>
                <a:lnTo>
                  <a:pt x="211073" y="266699"/>
                </a:lnTo>
                <a:lnTo>
                  <a:pt x="212597" y="267461"/>
                </a:lnTo>
                <a:lnTo>
                  <a:pt x="214121" y="267461"/>
                </a:lnTo>
                <a:lnTo>
                  <a:pt x="214121" y="258317"/>
                </a:lnTo>
                <a:lnTo>
                  <a:pt x="217162" y="258250"/>
                </a:lnTo>
                <a:close/>
              </a:path>
              <a:path w="302259" h="267970">
                <a:moveTo>
                  <a:pt x="51053" y="9521"/>
                </a:moveTo>
                <a:lnTo>
                  <a:pt x="51053" y="6857"/>
                </a:lnTo>
                <a:lnTo>
                  <a:pt x="50504" y="9526"/>
                </a:lnTo>
                <a:lnTo>
                  <a:pt x="51053" y="9521"/>
                </a:lnTo>
                <a:close/>
              </a:path>
              <a:path w="302259" h="267970">
                <a:moveTo>
                  <a:pt x="88391" y="9143"/>
                </a:moveTo>
                <a:lnTo>
                  <a:pt x="84581" y="6857"/>
                </a:lnTo>
                <a:lnTo>
                  <a:pt x="86095" y="9167"/>
                </a:lnTo>
                <a:lnTo>
                  <a:pt x="88391" y="9143"/>
                </a:lnTo>
                <a:close/>
              </a:path>
              <a:path w="302259" h="267970">
                <a:moveTo>
                  <a:pt x="86095" y="9167"/>
                </a:moveTo>
                <a:lnTo>
                  <a:pt x="84581" y="6857"/>
                </a:lnTo>
                <a:lnTo>
                  <a:pt x="84581" y="9182"/>
                </a:lnTo>
                <a:lnTo>
                  <a:pt x="86095" y="9167"/>
                </a:lnTo>
                <a:close/>
              </a:path>
              <a:path w="302259" h="267970">
                <a:moveTo>
                  <a:pt x="88391" y="12671"/>
                </a:moveTo>
                <a:lnTo>
                  <a:pt x="88391" y="9143"/>
                </a:lnTo>
                <a:lnTo>
                  <a:pt x="86095" y="9167"/>
                </a:lnTo>
                <a:lnTo>
                  <a:pt x="88391" y="12671"/>
                </a:lnTo>
                <a:close/>
              </a:path>
              <a:path w="302259" h="267970">
                <a:moveTo>
                  <a:pt x="218693" y="260603"/>
                </a:moveTo>
                <a:lnTo>
                  <a:pt x="217162" y="258250"/>
                </a:lnTo>
                <a:lnTo>
                  <a:pt x="214121" y="258317"/>
                </a:lnTo>
                <a:lnTo>
                  <a:pt x="218693" y="260603"/>
                </a:lnTo>
                <a:close/>
              </a:path>
              <a:path w="302259" h="267970">
                <a:moveTo>
                  <a:pt x="218693" y="267377"/>
                </a:moveTo>
                <a:lnTo>
                  <a:pt x="218693" y="260603"/>
                </a:lnTo>
                <a:lnTo>
                  <a:pt x="214121" y="258317"/>
                </a:lnTo>
                <a:lnTo>
                  <a:pt x="214121" y="267461"/>
                </a:lnTo>
                <a:lnTo>
                  <a:pt x="218693" y="267377"/>
                </a:lnTo>
                <a:close/>
              </a:path>
              <a:path w="302259" h="267970">
                <a:moveTo>
                  <a:pt x="282701" y="265954"/>
                </a:moveTo>
                <a:lnTo>
                  <a:pt x="282701" y="256793"/>
                </a:lnTo>
                <a:lnTo>
                  <a:pt x="278891" y="259079"/>
                </a:lnTo>
                <a:lnTo>
                  <a:pt x="278891" y="256878"/>
                </a:lnTo>
                <a:lnTo>
                  <a:pt x="217162" y="258250"/>
                </a:lnTo>
                <a:lnTo>
                  <a:pt x="218693" y="260603"/>
                </a:lnTo>
                <a:lnTo>
                  <a:pt x="218693" y="267377"/>
                </a:lnTo>
                <a:lnTo>
                  <a:pt x="278891" y="266039"/>
                </a:lnTo>
                <a:lnTo>
                  <a:pt x="278891" y="259079"/>
                </a:lnTo>
                <a:lnTo>
                  <a:pt x="279918" y="256855"/>
                </a:lnTo>
                <a:lnTo>
                  <a:pt x="279918" y="266016"/>
                </a:lnTo>
                <a:lnTo>
                  <a:pt x="282701" y="265954"/>
                </a:lnTo>
                <a:close/>
              </a:path>
              <a:path w="302259" h="267970">
                <a:moveTo>
                  <a:pt x="254507" y="249173"/>
                </a:moveTo>
                <a:lnTo>
                  <a:pt x="249971" y="242252"/>
                </a:lnTo>
                <a:lnTo>
                  <a:pt x="246125" y="249173"/>
                </a:lnTo>
                <a:lnTo>
                  <a:pt x="254507" y="249173"/>
                </a:lnTo>
                <a:close/>
              </a:path>
              <a:path w="302259" h="267970">
                <a:moveTo>
                  <a:pt x="254507" y="253745"/>
                </a:moveTo>
                <a:lnTo>
                  <a:pt x="254507" y="249173"/>
                </a:lnTo>
                <a:lnTo>
                  <a:pt x="246125" y="249173"/>
                </a:lnTo>
                <a:lnTo>
                  <a:pt x="246125" y="253345"/>
                </a:lnTo>
                <a:lnTo>
                  <a:pt x="246887" y="254507"/>
                </a:lnTo>
                <a:lnTo>
                  <a:pt x="247649" y="255269"/>
                </a:lnTo>
                <a:lnTo>
                  <a:pt x="249173" y="256031"/>
                </a:lnTo>
                <a:lnTo>
                  <a:pt x="252221" y="256031"/>
                </a:lnTo>
                <a:lnTo>
                  <a:pt x="253745" y="255269"/>
                </a:lnTo>
                <a:lnTo>
                  <a:pt x="254507" y="253745"/>
                </a:lnTo>
                <a:close/>
              </a:path>
              <a:path w="302259" h="267970">
                <a:moveTo>
                  <a:pt x="301751" y="231647"/>
                </a:moveTo>
                <a:lnTo>
                  <a:pt x="301751" y="230123"/>
                </a:lnTo>
                <a:lnTo>
                  <a:pt x="300227" y="227075"/>
                </a:lnTo>
                <a:lnTo>
                  <a:pt x="298703" y="226313"/>
                </a:lnTo>
                <a:lnTo>
                  <a:pt x="260603" y="226313"/>
                </a:lnTo>
                <a:lnTo>
                  <a:pt x="259079" y="227075"/>
                </a:lnTo>
                <a:lnTo>
                  <a:pt x="257555" y="228599"/>
                </a:lnTo>
                <a:lnTo>
                  <a:pt x="249971" y="242252"/>
                </a:lnTo>
                <a:lnTo>
                  <a:pt x="254507" y="249173"/>
                </a:lnTo>
                <a:lnTo>
                  <a:pt x="254507" y="253745"/>
                </a:lnTo>
                <a:lnTo>
                  <a:pt x="262127" y="240030"/>
                </a:lnTo>
                <a:lnTo>
                  <a:pt x="262127" y="235457"/>
                </a:lnTo>
                <a:lnTo>
                  <a:pt x="265937" y="233171"/>
                </a:lnTo>
                <a:lnTo>
                  <a:pt x="265937" y="235457"/>
                </a:lnTo>
                <a:lnTo>
                  <a:pt x="289794" y="235457"/>
                </a:lnTo>
                <a:lnTo>
                  <a:pt x="292607" y="229361"/>
                </a:lnTo>
                <a:lnTo>
                  <a:pt x="297179" y="235457"/>
                </a:lnTo>
                <a:lnTo>
                  <a:pt x="297179" y="241638"/>
                </a:lnTo>
                <a:lnTo>
                  <a:pt x="300989" y="233171"/>
                </a:lnTo>
                <a:lnTo>
                  <a:pt x="301751" y="231647"/>
                </a:lnTo>
                <a:close/>
              </a:path>
              <a:path w="302259" h="267970">
                <a:moveTo>
                  <a:pt x="265937" y="233171"/>
                </a:moveTo>
                <a:lnTo>
                  <a:pt x="262127" y="235457"/>
                </a:lnTo>
                <a:lnTo>
                  <a:pt x="264667" y="235457"/>
                </a:lnTo>
                <a:lnTo>
                  <a:pt x="265937" y="233171"/>
                </a:lnTo>
                <a:close/>
              </a:path>
              <a:path w="302259" h="267970">
                <a:moveTo>
                  <a:pt x="264667" y="235457"/>
                </a:moveTo>
                <a:lnTo>
                  <a:pt x="262127" y="235457"/>
                </a:lnTo>
                <a:lnTo>
                  <a:pt x="262127" y="240030"/>
                </a:lnTo>
                <a:lnTo>
                  <a:pt x="264667" y="235457"/>
                </a:lnTo>
                <a:close/>
              </a:path>
              <a:path w="302259" h="267970">
                <a:moveTo>
                  <a:pt x="265937" y="235457"/>
                </a:moveTo>
                <a:lnTo>
                  <a:pt x="265937" y="233171"/>
                </a:lnTo>
                <a:lnTo>
                  <a:pt x="264667" y="235457"/>
                </a:lnTo>
                <a:lnTo>
                  <a:pt x="265937" y="235457"/>
                </a:lnTo>
                <a:close/>
              </a:path>
              <a:path w="302259" h="267970">
                <a:moveTo>
                  <a:pt x="282701" y="256793"/>
                </a:moveTo>
                <a:lnTo>
                  <a:pt x="279918" y="256855"/>
                </a:lnTo>
                <a:lnTo>
                  <a:pt x="278891" y="259079"/>
                </a:lnTo>
                <a:lnTo>
                  <a:pt x="282701" y="256793"/>
                </a:lnTo>
                <a:close/>
              </a:path>
              <a:path w="302259" h="267970">
                <a:moveTo>
                  <a:pt x="297179" y="241638"/>
                </a:moveTo>
                <a:lnTo>
                  <a:pt x="297179" y="235457"/>
                </a:lnTo>
                <a:lnTo>
                  <a:pt x="289794" y="235457"/>
                </a:lnTo>
                <a:lnTo>
                  <a:pt x="279918" y="256855"/>
                </a:lnTo>
                <a:lnTo>
                  <a:pt x="282701" y="256793"/>
                </a:lnTo>
                <a:lnTo>
                  <a:pt x="282701" y="265954"/>
                </a:lnTo>
                <a:lnTo>
                  <a:pt x="284987" y="265937"/>
                </a:lnTo>
                <a:lnTo>
                  <a:pt x="286511" y="265175"/>
                </a:lnTo>
                <a:lnTo>
                  <a:pt x="287273" y="263651"/>
                </a:lnTo>
                <a:lnTo>
                  <a:pt x="297179" y="241638"/>
                </a:lnTo>
                <a:close/>
              </a:path>
              <a:path w="302259" h="267970">
                <a:moveTo>
                  <a:pt x="297179" y="235457"/>
                </a:moveTo>
                <a:lnTo>
                  <a:pt x="292607" y="229361"/>
                </a:lnTo>
                <a:lnTo>
                  <a:pt x="289794" y="235457"/>
                </a:lnTo>
                <a:lnTo>
                  <a:pt x="297179" y="2354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0" name="object 88"/>
          <p:cNvSpPr/>
          <p:nvPr/>
        </p:nvSpPr>
        <p:spPr>
          <a:xfrm>
            <a:off x="6285464" y="3438530"/>
            <a:ext cx="274730" cy="89951"/>
          </a:xfrm>
          <a:prstGeom prst="rect">
            <a:avLst/>
          </a:prstGeom>
          <a:blipFill>
            <a:blip r:embed="rId5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1" name="object 89"/>
          <p:cNvSpPr/>
          <p:nvPr/>
        </p:nvSpPr>
        <p:spPr>
          <a:xfrm>
            <a:off x="6282120" y="3436060"/>
            <a:ext cx="282347" cy="94654"/>
          </a:xfrm>
          <a:custGeom>
            <a:avLst/>
            <a:gdLst/>
            <a:ahLst/>
            <a:cxnLst/>
            <a:rect l="l" t="t" r="r" b="b"/>
            <a:pathLst>
              <a:path w="386079" h="204470">
                <a:moveTo>
                  <a:pt x="385572" y="200406"/>
                </a:moveTo>
                <a:lnTo>
                  <a:pt x="385572" y="198120"/>
                </a:lnTo>
                <a:lnTo>
                  <a:pt x="384048" y="196596"/>
                </a:lnTo>
                <a:lnTo>
                  <a:pt x="252222" y="1524"/>
                </a:lnTo>
                <a:lnTo>
                  <a:pt x="251460" y="762"/>
                </a:lnTo>
                <a:lnTo>
                  <a:pt x="249936" y="0"/>
                </a:lnTo>
                <a:lnTo>
                  <a:pt x="3048" y="0"/>
                </a:lnTo>
                <a:lnTo>
                  <a:pt x="1524" y="762"/>
                </a:lnTo>
                <a:lnTo>
                  <a:pt x="0" y="3810"/>
                </a:lnTo>
                <a:lnTo>
                  <a:pt x="0" y="6096"/>
                </a:lnTo>
                <a:lnTo>
                  <a:pt x="762" y="7620"/>
                </a:lnTo>
                <a:lnTo>
                  <a:pt x="4572" y="13472"/>
                </a:lnTo>
                <a:lnTo>
                  <a:pt x="4572" y="9144"/>
                </a:lnTo>
                <a:lnTo>
                  <a:pt x="9144" y="2286"/>
                </a:lnTo>
                <a:lnTo>
                  <a:pt x="13608" y="9144"/>
                </a:lnTo>
                <a:lnTo>
                  <a:pt x="244602" y="9144"/>
                </a:lnTo>
                <a:lnTo>
                  <a:pt x="244602" y="6858"/>
                </a:lnTo>
                <a:lnTo>
                  <a:pt x="248412" y="9144"/>
                </a:lnTo>
                <a:lnTo>
                  <a:pt x="248412" y="12495"/>
                </a:lnTo>
                <a:lnTo>
                  <a:pt x="371278" y="194310"/>
                </a:lnTo>
                <a:lnTo>
                  <a:pt x="380238" y="194310"/>
                </a:lnTo>
                <a:lnTo>
                  <a:pt x="380238" y="204216"/>
                </a:lnTo>
                <a:lnTo>
                  <a:pt x="381762" y="204216"/>
                </a:lnTo>
                <a:lnTo>
                  <a:pt x="384048" y="203454"/>
                </a:lnTo>
                <a:lnTo>
                  <a:pt x="385572" y="200406"/>
                </a:lnTo>
                <a:close/>
              </a:path>
              <a:path w="386079" h="204470">
                <a:moveTo>
                  <a:pt x="13608" y="9144"/>
                </a:moveTo>
                <a:lnTo>
                  <a:pt x="9144" y="2286"/>
                </a:lnTo>
                <a:lnTo>
                  <a:pt x="4572" y="9144"/>
                </a:lnTo>
                <a:lnTo>
                  <a:pt x="13608" y="9144"/>
                </a:lnTo>
                <a:close/>
              </a:path>
              <a:path w="386079" h="204470">
                <a:moveTo>
                  <a:pt x="134147" y="194310"/>
                </a:moveTo>
                <a:lnTo>
                  <a:pt x="13608" y="9144"/>
                </a:lnTo>
                <a:lnTo>
                  <a:pt x="4572" y="9144"/>
                </a:lnTo>
                <a:lnTo>
                  <a:pt x="4572" y="13472"/>
                </a:lnTo>
                <a:lnTo>
                  <a:pt x="127254" y="201930"/>
                </a:lnTo>
                <a:lnTo>
                  <a:pt x="128016" y="203454"/>
                </a:lnTo>
                <a:lnTo>
                  <a:pt x="129540" y="204216"/>
                </a:lnTo>
                <a:lnTo>
                  <a:pt x="131064" y="204216"/>
                </a:lnTo>
                <a:lnTo>
                  <a:pt x="131064" y="194310"/>
                </a:lnTo>
                <a:lnTo>
                  <a:pt x="134147" y="194310"/>
                </a:lnTo>
                <a:close/>
              </a:path>
              <a:path w="386079" h="204470">
                <a:moveTo>
                  <a:pt x="135636" y="196596"/>
                </a:moveTo>
                <a:lnTo>
                  <a:pt x="134147" y="194310"/>
                </a:lnTo>
                <a:lnTo>
                  <a:pt x="131064" y="194310"/>
                </a:lnTo>
                <a:lnTo>
                  <a:pt x="135636" y="196596"/>
                </a:lnTo>
                <a:close/>
              </a:path>
              <a:path w="386079" h="204470">
                <a:moveTo>
                  <a:pt x="135636" y="204216"/>
                </a:moveTo>
                <a:lnTo>
                  <a:pt x="135636" y="196596"/>
                </a:lnTo>
                <a:lnTo>
                  <a:pt x="131064" y="194310"/>
                </a:lnTo>
                <a:lnTo>
                  <a:pt x="131064" y="204216"/>
                </a:lnTo>
                <a:lnTo>
                  <a:pt x="135636" y="204216"/>
                </a:lnTo>
                <a:close/>
              </a:path>
              <a:path w="386079" h="204470">
                <a:moveTo>
                  <a:pt x="380238" y="204216"/>
                </a:moveTo>
                <a:lnTo>
                  <a:pt x="380238" y="194310"/>
                </a:lnTo>
                <a:lnTo>
                  <a:pt x="376428" y="201930"/>
                </a:lnTo>
                <a:lnTo>
                  <a:pt x="371278" y="194310"/>
                </a:lnTo>
                <a:lnTo>
                  <a:pt x="134147" y="194310"/>
                </a:lnTo>
                <a:lnTo>
                  <a:pt x="135636" y="196596"/>
                </a:lnTo>
                <a:lnTo>
                  <a:pt x="135636" y="204216"/>
                </a:lnTo>
                <a:lnTo>
                  <a:pt x="380238" y="204216"/>
                </a:lnTo>
                <a:close/>
              </a:path>
              <a:path w="386079" h="204470">
                <a:moveTo>
                  <a:pt x="248412" y="9144"/>
                </a:moveTo>
                <a:lnTo>
                  <a:pt x="244602" y="6858"/>
                </a:lnTo>
                <a:lnTo>
                  <a:pt x="246146" y="9144"/>
                </a:lnTo>
                <a:lnTo>
                  <a:pt x="248412" y="9144"/>
                </a:lnTo>
                <a:close/>
              </a:path>
              <a:path w="386079" h="204470">
                <a:moveTo>
                  <a:pt x="246146" y="9144"/>
                </a:moveTo>
                <a:lnTo>
                  <a:pt x="244602" y="6858"/>
                </a:lnTo>
                <a:lnTo>
                  <a:pt x="244602" y="9144"/>
                </a:lnTo>
                <a:lnTo>
                  <a:pt x="246146" y="9144"/>
                </a:lnTo>
                <a:close/>
              </a:path>
              <a:path w="386079" h="204470">
                <a:moveTo>
                  <a:pt x="248412" y="12495"/>
                </a:moveTo>
                <a:lnTo>
                  <a:pt x="248412" y="9144"/>
                </a:lnTo>
                <a:lnTo>
                  <a:pt x="246146" y="9144"/>
                </a:lnTo>
                <a:lnTo>
                  <a:pt x="248412" y="12495"/>
                </a:lnTo>
                <a:close/>
              </a:path>
              <a:path w="386079" h="204470">
                <a:moveTo>
                  <a:pt x="380238" y="194310"/>
                </a:moveTo>
                <a:lnTo>
                  <a:pt x="371278" y="194310"/>
                </a:lnTo>
                <a:lnTo>
                  <a:pt x="376428" y="201930"/>
                </a:lnTo>
                <a:lnTo>
                  <a:pt x="380238" y="19431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2" name="object 90"/>
          <p:cNvSpPr/>
          <p:nvPr/>
        </p:nvSpPr>
        <p:spPr>
          <a:xfrm>
            <a:off x="6666641" y="3423832"/>
            <a:ext cx="182225" cy="118758"/>
          </a:xfrm>
          <a:prstGeom prst="rect">
            <a:avLst/>
          </a:prstGeom>
          <a:blipFill>
            <a:blip r:embed="rId5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3" name="object 91"/>
          <p:cNvSpPr/>
          <p:nvPr/>
        </p:nvSpPr>
        <p:spPr>
          <a:xfrm>
            <a:off x="6632091" y="3420892"/>
            <a:ext cx="221048" cy="124050"/>
          </a:xfrm>
          <a:custGeom>
            <a:avLst/>
            <a:gdLst/>
            <a:ahLst/>
            <a:cxnLst/>
            <a:rect l="l" t="t" r="r" b="b"/>
            <a:pathLst>
              <a:path w="302259" h="267970">
                <a:moveTo>
                  <a:pt x="249624" y="242875"/>
                </a:moveTo>
                <a:lnTo>
                  <a:pt x="92202" y="2285"/>
                </a:lnTo>
                <a:lnTo>
                  <a:pt x="91440" y="761"/>
                </a:lnTo>
                <a:lnTo>
                  <a:pt x="89916" y="0"/>
                </a:lnTo>
                <a:lnTo>
                  <a:pt x="83820" y="38"/>
                </a:lnTo>
                <a:lnTo>
                  <a:pt x="16764" y="715"/>
                </a:lnTo>
                <a:lnTo>
                  <a:pt x="9906" y="761"/>
                </a:lnTo>
                <a:lnTo>
                  <a:pt x="8382" y="2285"/>
                </a:lnTo>
                <a:lnTo>
                  <a:pt x="7620" y="3809"/>
                </a:lnTo>
                <a:lnTo>
                  <a:pt x="0" y="30479"/>
                </a:lnTo>
                <a:lnTo>
                  <a:pt x="0" y="33527"/>
                </a:lnTo>
                <a:lnTo>
                  <a:pt x="762" y="35051"/>
                </a:lnTo>
                <a:lnTo>
                  <a:pt x="1524" y="35813"/>
                </a:lnTo>
                <a:lnTo>
                  <a:pt x="3048" y="36575"/>
                </a:lnTo>
                <a:lnTo>
                  <a:pt x="4572" y="36575"/>
                </a:lnTo>
                <a:lnTo>
                  <a:pt x="4572" y="27431"/>
                </a:lnTo>
                <a:lnTo>
                  <a:pt x="10885" y="27431"/>
                </a:lnTo>
                <a:lnTo>
                  <a:pt x="12192" y="22859"/>
                </a:lnTo>
                <a:lnTo>
                  <a:pt x="12192" y="9905"/>
                </a:lnTo>
                <a:lnTo>
                  <a:pt x="16764" y="6857"/>
                </a:lnTo>
                <a:lnTo>
                  <a:pt x="16764" y="9860"/>
                </a:lnTo>
                <a:lnTo>
                  <a:pt x="40756" y="9620"/>
                </a:lnTo>
                <a:lnTo>
                  <a:pt x="41910" y="4571"/>
                </a:lnTo>
                <a:lnTo>
                  <a:pt x="41910" y="3047"/>
                </a:lnTo>
                <a:lnTo>
                  <a:pt x="43434" y="1523"/>
                </a:lnTo>
                <a:lnTo>
                  <a:pt x="45720" y="761"/>
                </a:lnTo>
                <a:lnTo>
                  <a:pt x="47244" y="761"/>
                </a:lnTo>
                <a:lnTo>
                  <a:pt x="48768" y="1523"/>
                </a:lnTo>
                <a:lnTo>
                  <a:pt x="50292" y="3047"/>
                </a:lnTo>
                <a:lnTo>
                  <a:pt x="54480" y="9483"/>
                </a:lnTo>
                <a:lnTo>
                  <a:pt x="83820" y="9189"/>
                </a:lnTo>
                <a:lnTo>
                  <a:pt x="83820" y="6857"/>
                </a:lnTo>
                <a:lnTo>
                  <a:pt x="88392" y="9143"/>
                </a:lnTo>
                <a:lnTo>
                  <a:pt x="88392" y="13834"/>
                </a:lnTo>
                <a:lnTo>
                  <a:pt x="246126" y="254507"/>
                </a:lnTo>
                <a:lnTo>
                  <a:pt x="246126" y="249173"/>
                </a:lnTo>
                <a:lnTo>
                  <a:pt x="249624" y="242875"/>
                </a:lnTo>
                <a:close/>
              </a:path>
              <a:path w="302259" h="267970">
                <a:moveTo>
                  <a:pt x="10885" y="27431"/>
                </a:moveTo>
                <a:lnTo>
                  <a:pt x="4572" y="27431"/>
                </a:lnTo>
                <a:lnTo>
                  <a:pt x="9144" y="33527"/>
                </a:lnTo>
                <a:lnTo>
                  <a:pt x="10885" y="27431"/>
                </a:lnTo>
                <a:close/>
              </a:path>
              <a:path w="302259" h="267970">
                <a:moveTo>
                  <a:pt x="36684" y="27431"/>
                </a:moveTo>
                <a:lnTo>
                  <a:pt x="10885" y="27431"/>
                </a:lnTo>
                <a:lnTo>
                  <a:pt x="9144" y="33527"/>
                </a:lnTo>
                <a:lnTo>
                  <a:pt x="4572" y="27431"/>
                </a:lnTo>
                <a:lnTo>
                  <a:pt x="4572" y="36575"/>
                </a:lnTo>
                <a:lnTo>
                  <a:pt x="35814" y="36575"/>
                </a:lnTo>
                <a:lnTo>
                  <a:pt x="35814" y="31241"/>
                </a:lnTo>
                <a:lnTo>
                  <a:pt x="36684" y="27431"/>
                </a:lnTo>
                <a:close/>
              </a:path>
              <a:path w="302259" h="267970">
                <a:moveTo>
                  <a:pt x="16764" y="6857"/>
                </a:moveTo>
                <a:lnTo>
                  <a:pt x="12192" y="9905"/>
                </a:lnTo>
                <a:lnTo>
                  <a:pt x="15903" y="9868"/>
                </a:lnTo>
                <a:lnTo>
                  <a:pt x="16764" y="6857"/>
                </a:lnTo>
                <a:close/>
              </a:path>
              <a:path w="302259" h="267970">
                <a:moveTo>
                  <a:pt x="15903" y="9868"/>
                </a:moveTo>
                <a:lnTo>
                  <a:pt x="12192" y="9905"/>
                </a:lnTo>
                <a:lnTo>
                  <a:pt x="12192" y="22859"/>
                </a:lnTo>
                <a:lnTo>
                  <a:pt x="15903" y="9868"/>
                </a:lnTo>
                <a:close/>
              </a:path>
              <a:path w="302259" h="267970">
                <a:moveTo>
                  <a:pt x="16764" y="9860"/>
                </a:moveTo>
                <a:lnTo>
                  <a:pt x="16764" y="6857"/>
                </a:lnTo>
                <a:lnTo>
                  <a:pt x="15903" y="9868"/>
                </a:lnTo>
                <a:lnTo>
                  <a:pt x="16764" y="9860"/>
                </a:lnTo>
                <a:close/>
              </a:path>
              <a:path w="302259" h="267970">
                <a:moveTo>
                  <a:pt x="40386" y="27431"/>
                </a:moveTo>
                <a:lnTo>
                  <a:pt x="36684" y="27431"/>
                </a:lnTo>
                <a:lnTo>
                  <a:pt x="35814" y="31241"/>
                </a:lnTo>
                <a:lnTo>
                  <a:pt x="40386" y="27431"/>
                </a:lnTo>
                <a:close/>
              </a:path>
              <a:path w="302259" h="267970">
                <a:moveTo>
                  <a:pt x="40386" y="36575"/>
                </a:moveTo>
                <a:lnTo>
                  <a:pt x="40386" y="27431"/>
                </a:lnTo>
                <a:lnTo>
                  <a:pt x="35814" y="31241"/>
                </a:lnTo>
                <a:lnTo>
                  <a:pt x="35814" y="36575"/>
                </a:lnTo>
                <a:lnTo>
                  <a:pt x="40386" y="36575"/>
                </a:lnTo>
                <a:close/>
              </a:path>
              <a:path w="302259" h="267970">
                <a:moveTo>
                  <a:pt x="48370" y="18262"/>
                </a:moveTo>
                <a:lnTo>
                  <a:pt x="42706" y="9600"/>
                </a:lnTo>
                <a:lnTo>
                  <a:pt x="40756" y="9620"/>
                </a:lnTo>
                <a:lnTo>
                  <a:pt x="36684" y="27431"/>
                </a:lnTo>
                <a:lnTo>
                  <a:pt x="40386" y="27431"/>
                </a:lnTo>
                <a:lnTo>
                  <a:pt x="40386" y="36575"/>
                </a:lnTo>
                <a:lnTo>
                  <a:pt x="42706" y="36552"/>
                </a:lnTo>
                <a:lnTo>
                  <a:pt x="44958" y="35051"/>
                </a:lnTo>
                <a:lnTo>
                  <a:pt x="44958" y="32765"/>
                </a:lnTo>
                <a:lnTo>
                  <a:pt x="48370" y="18262"/>
                </a:lnTo>
                <a:close/>
              </a:path>
              <a:path w="302259" h="267970">
                <a:moveTo>
                  <a:pt x="42706" y="9600"/>
                </a:moveTo>
                <a:lnTo>
                  <a:pt x="41910" y="8381"/>
                </a:lnTo>
                <a:lnTo>
                  <a:pt x="41910" y="4571"/>
                </a:lnTo>
                <a:lnTo>
                  <a:pt x="40756" y="9620"/>
                </a:lnTo>
                <a:lnTo>
                  <a:pt x="42706" y="9600"/>
                </a:lnTo>
                <a:close/>
              </a:path>
              <a:path w="302259" h="267970">
                <a:moveTo>
                  <a:pt x="54480" y="9483"/>
                </a:moveTo>
                <a:lnTo>
                  <a:pt x="50292" y="3047"/>
                </a:lnTo>
                <a:lnTo>
                  <a:pt x="48768" y="1523"/>
                </a:lnTo>
                <a:lnTo>
                  <a:pt x="47244" y="761"/>
                </a:lnTo>
                <a:lnTo>
                  <a:pt x="45720" y="761"/>
                </a:lnTo>
                <a:lnTo>
                  <a:pt x="43434" y="1523"/>
                </a:lnTo>
                <a:lnTo>
                  <a:pt x="41910" y="3047"/>
                </a:lnTo>
                <a:lnTo>
                  <a:pt x="41910" y="8381"/>
                </a:lnTo>
                <a:lnTo>
                  <a:pt x="51054" y="6857"/>
                </a:lnTo>
                <a:lnTo>
                  <a:pt x="51054" y="9517"/>
                </a:lnTo>
                <a:lnTo>
                  <a:pt x="54480" y="9483"/>
                </a:lnTo>
                <a:close/>
              </a:path>
              <a:path w="302259" h="267970">
                <a:moveTo>
                  <a:pt x="51054" y="6857"/>
                </a:moveTo>
                <a:lnTo>
                  <a:pt x="41910" y="8381"/>
                </a:lnTo>
                <a:lnTo>
                  <a:pt x="42672" y="9547"/>
                </a:lnTo>
                <a:lnTo>
                  <a:pt x="50426" y="9523"/>
                </a:lnTo>
                <a:lnTo>
                  <a:pt x="51054" y="6857"/>
                </a:lnTo>
                <a:close/>
              </a:path>
              <a:path w="302259" h="267970">
                <a:moveTo>
                  <a:pt x="50426" y="9523"/>
                </a:moveTo>
                <a:lnTo>
                  <a:pt x="42706" y="9600"/>
                </a:lnTo>
                <a:lnTo>
                  <a:pt x="48370" y="18262"/>
                </a:lnTo>
                <a:lnTo>
                  <a:pt x="50426" y="9523"/>
                </a:lnTo>
                <a:close/>
              </a:path>
              <a:path w="302259" h="267970">
                <a:moveTo>
                  <a:pt x="216410" y="258267"/>
                </a:moveTo>
                <a:lnTo>
                  <a:pt x="54480" y="9483"/>
                </a:lnTo>
                <a:lnTo>
                  <a:pt x="50426" y="9523"/>
                </a:lnTo>
                <a:lnTo>
                  <a:pt x="48370" y="18262"/>
                </a:lnTo>
                <a:lnTo>
                  <a:pt x="210312" y="265937"/>
                </a:lnTo>
                <a:lnTo>
                  <a:pt x="211074" y="266699"/>
                </a:lnTo>
                <a:lnTo>
                  <a:pt x="212598" y="267461"/>
                </a:lnTo>
                <a:lnTo>
                  <a:pt x="214122" y="267461"/>
                </a:lnTo>
                <a:lnTo>
                  <a:pt x="214122" y="258317"/>
                </a:lnTo>
                <a:lnTo>
                  <a:pt x="216410" y="258267"/>
                </a:lnTo>
                <a:close/>
              </a:path>
              <a:path w="302259" h="267970">
                <a:moveTo>
                  <a:pt x="51054" y="9517"/>
                </a:moveTo>
                <a:lnTo>
                  <a:pt x="51054" y="6857"/>
                </a:lnTo>
                <a:lnTo>
                  <a:pt x="50426" y="9523"/>
                </a:lnTo>
                <a:lnTo>
                  <a:pt x="51054" y="9517"/>
                </a:lnTo>
                <a:close/>
              </a:path>
              <a:path w="302259" h="267970">
                <a:moveTo>
                  <a:pt x="88392" y="9143"/>
                </a:moveTo>
                <a:lnTo>
                  <a:pt x="83820" y="6857"/>
                </a:lnTo>
                <a:lnTo>
                  <a:pt x="85338" y="9174"/>
                </a:lnTo>
                <a:lnTo>
                  <a:pt x="88392" y="9143"/>
                </a:lnTo>
                <a:close/>
              </a:path>
              <a:path w="302259" h="267970">
                <a:moveTo>
                  <a:pt x="85338" y="9174"/>
                </a:moveTo>
                <a:lnTo>
                  <a:pt x="83820" y="6857"/>
                </a:lnTo>
                <a:lnTo>
                  <a:pt x="83820" y="9189"/>
                </a:lnTo>
                <a:lnTo>
                  <a:pt x="85338" y="9174"/>
                </a:lnTo>
                <a:close/>
              </a:path>
              <a:path w="302259" h="267970">
                <a:moveTo>
                  <a:pt x="88392" y="13834"/>
                </a:moveTo>
                <a:lnTo>
                  <a:pt x="88392" y="9143"/>
                </a:lnTo>
                <a:lnTo>
                  <a:pt x="85338" y="9174"/>
                </a:lnTo>
                <a:lnTo>
                  <a:pt x="88392" y="13834"/>
                </a:lnTo>
                <a:close/>
              </a:path>
              <a:path w="302259" h="267970">
                <a:moveTo>
                  <a:pt x="217932" y="260603"/>
                </a:moveTo>
                <a:lnTo>
                  <a:pt x="216410" y="258267"/>
                </a:lnTo>
                <a:lnTo>
                  <a:pt x="214122" y="258317"/>
                </a:lnTo>
                <a:lnTo>
                  <a:pt x="217932" y="260603"/>
                </a:lnTo>
                <a:close/>
              </a:path>
              <a:path w="302259" h="267970">
                <a:moveTo>
                  <a:pt x="217932" y="267377"/>
                </a:moveTo>
                <a:lnTo>
                  <a:pt x="217932" y="260603"/>
                </a:lnTo>
                <a:lnTo>
                  <a:pt x="214122" y="258317"/>
                </a:lnTo>
                <a:lnTo>
                  <a:pt x="214122" y="267461"/>
                </a:lnTo>
                <a:lnTo>
                  <a:pt x="217932" y="267377"/>
                </a:lnTo>
                <a:close/>
              </a:path>
              <a:path w="302259" h="267970">
                <a:moveTo>
                  <a:pt x="282702" y="265937"/>
                </a:moveTo>
                <a:lnTo>
                  <a:pt x="282702" y="256793"/>
                </a:lnTo>
                <a:lnTo>
                  <a:pt x="278130" y="259841"/>
                </a:lnTo>
                <a:lnTo>
                  <a:pt x="278130" y="256895"/>
                </a:lnTo>
                <a:lnTo>
                  <a:pt x="216410" y="258267"/>
                </a:lnTo>
                <a:lnTo>
                  <a:pt x="217932" y="260603"/>
                </a:lnTo>
                <a:lnTo>
                  <a:pt x="217932" y="267377"/>
                </a:lnTo>
                <a:lnTo>
                  <a:pt x="278130" y="266039"/>
                </a:lnTo>
                <a:lnTo>
                  <a:pt x="278130" y="259841"/>
                </a:lnTo>
                <a:lnTo>
                  <a:pt x="279469" y="256865"/>
                </a:lnTo>
                <a:lnTo>
                  <a:pt x="279469" y="266009"/>
                </a:lnTo>
                <a:lnTo>
                  <a:pt x="282702" y="265937"/>
                </a:lnTo>
                <a:close/>
              </a:path>
              <a:path w="302259" h="267970">
                <a:moveTo>
                  <a:pt x="253746" y="249173"/>
                </a:moveTo>
                <a:lnTo>
                  <a:pt x="249624" y="242875"/>
                </a:lnTo>
                <a:lnTo>
                  <a:pt x="246126" y="249173"/>
                </a:lnTo>
                <a:lnTo>
                  <a:pt x="253746" y="249173"/>
                </a:lnTo>
                <a:close/>
              </a:path>
              <a:path w="302259" h="267970">
                <a:moveTo>
                  <a:pt x="253746" y="255269"/>
                </a:moveTo>
                <a:lnTo>
                  <a:pt x="253746" y="249173"/>
                </a:lnTo>
                <a:lnTo>
                  <a:pt x="246126" y="249173"/>
                </a:lnTo>
                <a:lnTo>
                  <a:pt x="246126" y="254507"/>
                </a:lnTo>
                <a:lnTo>
                  <a:pt x="246888" y="255269"/>
                </a:lnTo>
                <a:lnTo>
                  <a:pt x="248412" y="256031"/>
                </a:lnTo>
                <a:lnTo>
                  <a:pt x="252222" y="256031"/>
                </a:lnTo>
                <a:lnTo>
                  <a:pt x="253746" y="255269"/>
                </a:lnTo>
                <a:close/>
              </a:path>
              <a:path w="302259" h="267970">
                <a:moveTo>
                  <a:pt x="301752" y="231647"/>
                </a:moveTo>
                <a:lnTo>
                  <a:pt x="299466" y="227075"/>
                </a:lnTo>
                <a:lnTo>
                  <a:pt x="297942" y="226313"/>
                </a:lnTo>
                <a:lnTo>
                  <a:pt x="259842" y="226313"/>
                </a:lnTo>
                <a:lnTo>
                  <a:pt x="258318" y="227075"/>
                </a:lnTo>
                <a:lnTo>
                  <a:pt x="257556" y="228599"/>
                </a:lnTo>
                <a:lnTo>
                  <a:pt x="249624" y="242875"/>
                </a:lnTo>
                <a:lnTo>
                  <a:pt x="253746" y="249173"/>
                </a:lnTo>
                <a:lnTo>
                  <a:pt x="253746" y="255269"/>
                </a:lnTo>
                <a:lnTo>
                  <a:pt x="254508" y="253745"/>
                </a:lnTo>
                <a:lnTo>
                  <a:pt x="261366" y="241401"/>
                </a:lnTo>
                <a:lnTo>
                  <a:pt x="261366" y="235457"/>
                </a:lnTo>
                <a:lnTo>
                  <a:pt x="265938" y="233171"/>
                </a:lnTo>
                <a:lnTo>
                  <a:pt x="265938" y="235457"/>
                </a:lnTo>
                <a:lnTo>
                  <a:pt x="289102" y="235457"/>
                </a:lnTo>
                <a:lnTo>
                  <a:pt x="291846" y="229361"/>
                </a:lnTo>
                <a:lnTo>
                  <a:pt x="296418" y="235457"/>
                </a:lnTo>
                <a:lnTo>
                  <a:pt x="296418" y="242797"/>
                </a:lnTo>
                <a:lnTo>
                  <a:pt x="300990" y="233171"/>
                </a:lnTo>
                <a:lnTo>
                  <a:pt x="301752" y="231647"/>
                </a:lnTo>
                <a:close/>
              </a:path>
              <a:path w="302259" h="267970">
                <a:moveTo>
                  <a:pt x="265938" y="233171"/>
                </a:moveTo>
                <a:lnTo>
                  <a:pt x="261366" y="235457"/>
                </a:lnTo>
                <a:lnTo>
                  <a:pt x="264668" y="235457"/>
                </a:lnTo>
                <a:lnTo>
                  <a:pt x="265938" y="233171"/>
                </a:lnTo>
                <a:close/>
              </a:path>
              <a:path w="302259" h="267970">
                <a:moveTo>
                  <a:pt x="264668" y="235458"/>
                </a:moveTo>
                <a:lnTo>
                  <a:pt x="261366" y="235457"/>
                </a:lnTo>
                <a:lnTo>
                  <a:pt x="261366" y="241401"/>
                </a:lnTo>
                <a:lnTo>
                  <a:pt x="264668" y="235458"/>
                </a:lnTo>
                <a:close/>
              </a:path>
              <a:path w="302259" h="267970">
                <a:moveTo>
                  <a:pt x="265938" y="235457"/>
                </a:moveTo>
                <a:lnTo>
                  <a:pt x="265938" y="233171"/>
                </a:lnTo>
                <a:lnTo>
                  <a:pt x="264668" y="235458"/>
                </a:lnTo>
                <a:lnTo>
                  <a:pt x="265938" y="235457"/>
                </a:lnTo>
                <a:close/>
              </a:path>
              <a:path w="302259" h="267970">
                <a:moveTo>
                  <a:pt x="282702" y="256793"/>
                </a:moveTo>
                <a:lnTo>
                  <a:pt x="279469" y="256865"/>
                </a:lnTo>
                <a:lnTo>
                  <a:pt x="278130" y="259841"/>
                </a:lnTo>
                <a:lnTo>
                  <a:pt x="282702" y="256793"/>
                </a:lnTo>
                <a:close/>
              </a:path>
              <a:path w="302259" h="267970">
                <a:moveTo>
                  <a:pt x="296418" y="242797"/>
                </a:moveTo>
                <a:lnTo>
                  <a:pt x="296418" y="235457"/>
                </a:lnTo>
                <a:lnTo>
                  <a:pt x="289102" y="235457"/>
                </a:lnTo>
                <a:lnTo>
                  <a:pt x="279469" y="256865"/>
                </a:lnTo>
                <a:lnTo>
                  <a:pt x="282702" y="256793"/>
                </a:lnTo>
                <a:lnTo>
                  <a:pt x="282702" y="265937"/>
                </a:lnTo>
                <a:lnTo>
                  <a:pt x="284226" y="265937"/>
                </a:lnTo>
                <a:lnTo>
                  <a:pt x="285750" y="265175"/>
                </a:lnTo>
                <a:lnTo>
                  <a:pt x="286512" y="263651"/>
                </a:lnTo>
                <a:lnTo>
                  <a:pt x="296418" y="242797"/>
                </a:lnTo>
                <a:close/>
              </a:path>
              <a:path w="302259" h="267970">
                <a:moveTo>
                  <a:pt x="296418" y="235457"/>
                </a:moveTo>
                <a:lnTo>
                  <a:pt x="291846" y="229361"/>
                </a:lnTo>
                <a:lnTo>
                  <a:pt x="289102" y="235457"/>
                </a:lnTo>
                <a:lnTo>
                  <a:pt x="296418" y="2354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4" name="object 92"/>
          <p:cNvSpPr/>
          <p:nvPr/>
        </p:nvSpPr>
        <p:spPr>
          <a:xfrm>
            <a:off x="6499463" y="3437824"/>
            <a:ext cx="274173" cy="89951"/>
          </a:xfrm>
          <a:prstGeom prst="rect">
            <a:avLst/>
          </a:prstGeom>
          <a:blipFill>
            <a:blip r:embed="rId5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5" name="object 93"/>
          <p:cNvSpPr/>
          <p:nvPr/>
        </p:nvSpPr>
        <p:spPr>
          <a:xfrm>
            <a:off x="6495561" y="3435355"/>
            <a:ext cx="282347" cy="94654"/>
          </a:xfrm>
          <a:custGeom>
            <a:avLst/>
            <a:gdLst/>
            <a:ahLst/>
            <a:cxnLst/>
            <a:rect l="l" t="t" r="r" b="b"/>
            <a:pathLst>
              <a:path w="386079" h="204470">
                <a:moveTo>
                  <a:pt x="385571" y="200406"/>
                </a:moveTo>
                <a:lnTo>
                  <a:pt x="385571" y="198120"/>
                </a:lnTo>
                <a:lnTo>
                  <a:pt x="384809" y="196596"/>
                </a:lnTo>
                <a:lnTo>
                  <a:pt x="252221" y="1524"/>
                </a:lnTo>
                <a:lnTo>
                  <a:pt x="251459" y="762"/>
                </a:lnTo>
                <a:lnTo>
                  <a:pt x="249935" y="0"/>
                </a:lnTo>
                <a:lnTo>
                  <a:pt x="3809" y="0"/>
                </a:lnTo>
                <a:lnTo>
                  <a:pt x="1523" y="762"/>
                </a:lnTo>
                <a:lnTo>
                  <a:pt x="0" y="3810"/>
                </a:lnTo>
                <a:lnTo>
                  <a:pt x="0" y="6096"/>
                </a:lnTo>
                <a:lnTo>
                  <a:pt x="1523" y="7620"/>
                </a:lnTo>
                <a:lnTo>
                  <a:pt x="5333" y="13508"/>
                </a:lnTo>
                <a:lnTo>
                  <a:pt x="5333" y="9906"/>
                </a:lnTo>
                <a:lnTo>
                  <a:pt x="9143" y="2286"/>
                </a:lnTo>
                <a:lnTo>
                  <a:pt x="14086" y="9878"/>
                </a:lnTo>
                <a:lnTo>
                  <a:pt x="244601" y="9155"/>
                </a:lnTo>
                <a:lnTo>
                  <a:pt x="244601" y="6858"/>
                </a:lnTo>
                <a:lnTo>
                  <a:pt x="248411" y="9144"/>
                </a:lnTo>
                <a:lnTo>
                  <a:pt x="248411" y="12495"/>
                </a:lnTo>
                <a:lnTo>
                  <a:pt x="371793" y="195072"/>
                </a:lnTo>
                <a:lnTo>
                  <a:pt x="380237" y="195072"/>
                </a:lnTo>
                <a:lnTo>
                  <a:pt x="380237" y="204216"/>
                </a:lnTo>
                <a:lnTo>
                  <a:pt x="382523" y="204216"/>
                </a:lnTo>
                <a:lnTo>
                  <a:pt x="384047" y="203454"/>
                </a:lnTo>
                <a:lnTo>
                  <a:pt x="385571" y="200406"/>
                </a:lnTo>
                <a:close/>
              </a:path>
              <a:path w="386079" h="204470">
                <a:moveTo>
                  <a:pt x="14086" y="9878"/>
                </a:moveTo>
                <a:lnTo>
                  <a:pt x="9143" y="2286"/>
                </a:lnTo>
                <a:lnTo>
                  <a:pt x="5333" y="9906"/>
                </a:lnTo>
                <a:lnTo>
                  <a:pt x="14086" y="9878"/>
                </a:lnTo>
                <a:close/>
              </a:path>
              <a:path w="386079" h="204470">
                <a:moveTo>
                  <a:pt x="134643" y="195072"/>
                </a:moveTo>
                <a:lnTo>
                  <a:pt x="14086" y="9878"/>
                </a:lnTo>
                <a:lnTo>
                  <a:pt x="5333" y="9906"/>
                </a:lnTo>
                <a:lnTo>
                  <a:pt x="5333" y="13508"/>
                </a:lnTo>
                <a:lnTo>
                  <a:pt x="127253" y="201930"/>
                </a:lnTo>
                <a:lnTo>
                  <a:pt x="128777" y="203454"/>
                </a:lnTo>
                <a:lnTo>
                  <a:pt x="130301" y="204216"/>
                </a:lnTo>
                <a:lnTo>
                  <a:pt x="131825" y="204216"/>
                </a:lnTo>
                <a:lnTo>
                  <a:pt x="131825" y="195072"/>
                </a:lnTo>
                <a:lnTo>
                  <a:pt x="134643" y="195072"/>
                </a:lnTo>
                <a:close/>
              </a:path>
              <a:path w="386079" h="204470">
                <a:moveTo>
                  <a:pt x="135635" y="196596"/>
                </a:moveTo>
                <a:lnTo>
                  <a:pt x="134643" y="195072"/>
                </a:lnTo>
                <a:lnTo>
                  <a:pt x="131825" y="195072"/>
                </a:lnTo>
                <a:lnTo>
                  <a:pt x="135635" y="196596"/>
                </a:lnTo>
                <a:close/>
              </a:path>
              <a:path w="386079" h="204470">
                <a:moveTo>
                  <a:pt x="135635" y="204216"/>
                </a:moveTo>
                <a:lnTo>
                  <a:pt x="135635" y="196596"/>
                </a:lnTo>
                <a:lnTo>
                  <a:pt x="131825" y="195072"/>
                </a:lnTo>
                <a:lnTo>
                  <a:pt x="131825" y="204216"/>
                </a:lnTo>
                <a:lnTo>
                  <a:pt x="135635" y="204216"/>
                </a:lnTo>
                <a:close/>
              </a:path>
              <a:path w="386079" h="204470">
                <a:moveTo>
                  <a:pt x="380237" y="204216"/>
                </a:moveTo>
                <a:lnTo>
                  <a:pt x="380237" y="195072"/>
                </a:lnTo>
                <a:lnTo>
                  <a:pt x="376427" y="201930"/>
                </a:lnTo>
                <a:lnTo>
                  <a:pt x="371793" y="195072"/>
                </a:lnTo>
                <a:lnTo>
                  <a:pt x="134643" y="195072"/>
                </a:lnTo>
                <a:lnTo>
                  <a:pt x="135635" y="196596"/>
                </a:lnTo>
                <a:lnTo>
                  <a:pt x="135635" y="204216"/>
                </a:lnTo>
                <a:lnTo>
                  <a:pt x="380237" y="204216"/>
                </a:lnTo>
                <a:close/>
              </a:path>
              <a:path w="386079" h="204470">
                <a:moveTo>
                  <a:pt x="248411" y="9144"/>
                </a:moveTo>
                <a:lnTo>
                  <a:pt x="244601" y="6858"/>
                </a:lnTo>
                <a:lnTo>
                  <a:pt x="246151" y="9151"/>
                </a:lnTo>
                <a:lnTo>
                  <a:pt x="248411" y="9144"/>
                </a:lnTo>
                <a:close/>
              </a:path>
              <a:path w="386079" h="204470">
                <a:moveTo>
                  <a:pt x="246151" y="9151"/>
                </a:moveTo>
                <a:lnTo>
                  <a:pt x="244601" y="6858"/>
                </a:lnTo>
                <a:lnTo>
                  <a:pt x="244601" y="9155"/>
                </a:lnTo>
                <a:lnTo>
                  <a:pt x="246151" y="9151"/>
                </a:lnTo>
                <a:close/>
              </a:path>
              <a:path w="386079" h="204470">
                <a:moveTo>
                  <a:pt x="248411" y="12495"/>
                </a:moveTo>
                <a:lnTo>
                  <a:pt x="248411" y="9144"/>
                </a:lnTo>
                <a:lnTo>
                  <a:pt x="246151" y="9151"/>
                </a:lnTo>
                <a:lnTo>
                  <a:pt x="248411" y="12495"/>
                </a:lnTo>
                <a:close/>
              </a:path>
              <a:path w="386079" h="204470">
                <a:moveTo>
                  <a:pt x="380237" y="195072"/>
                </a:moveTo>
                <a:lnTo>
                  <a:pt x="371793" y="195072"/>
                </a:lnTo>
                <a:lnTo>
                  <a:pt x="376427" y="201930"/>
                </a:lnTo>
                <a:lnTo>
                  <a:pt x="380237" y="1950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6" name="object 94"/>
          <p:cNvSpPr/>
          <p:nvPr/>
        </p:nvSpPr>
        <p:spPr>
          <a:xfrm>
            <a:off x="6848310" y="3423244"/>
            <a:ext cx="212865" cy="119347"/>
          </a:xfrm>
          <a:prstGeom prst="rect">
            <a:avLst/>
          </a:prstGeom>
          <a:blipFill>
            <a:blip r:embed="rId5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7" name="object 95"/>
          <p:cNvSpPr/>
          <p:nvPr/>
        </p:nvSpPr>
        <p:spPr>
          <a:xfrm>
            <a:off x="6844408" y="3420540"/>
            <a:ext cx="221048" cy="124344"/>
          </a:xfrm>
          <a:custGeom>
            <a:avLst/>
            <a:gdLst/>
            <a:ahLst/>
            <a:cxnLst/>
            <a:rect l="l" t="t" r="r" b="b"/>
            <a:pathLst>
              <a:path w="302259" h="268604">
                <a:moveTo>
                  <a:pt x="250194" y="242612"/>
                </a:moveTo>
                <a:lnTo>
                  <a:pt x="92202" y="2285"/>
                </a:lnTo>
                <a:lnTo>
                  <a:pt x="91440" y="761"/>
                </a:lnTo>
                <a:lnTo>
                  <a:pt x="89916" y="0"/>
                </a:lnTo>
                <a:lnTo>
                  <a:pt x="84582" y="38"/>
                </a:lnTo>
                <a:lnTo>
                  <a:pt x="16764" y="716"/>
                </a:lnTo>
                <a:lnTo>
                  <a:pt x="9906" y="761"/>
                </a:lnTo>
                <a:lnTo>
                  <a:pt x="8382" y="2285"/>
                </a:lnTo>
                <a:lnTo>
                  <a:pt x="7620" y="4571"/>
                </a:lnTo>
                <a:lnTo>
                  <a:pt x="0" y="31241"/>
                </a:lnTo>
                <a:lnTo>
                  <a:pt x="0" y="34289"/>
                </a:lnTo>
                <a:lnTo>
                  <a:pt x="2286" y="36575"/>
                </a:lnTo>
                <a:lnTo>
                  <a:pt x="3810" y="37337"/>
                </a:lnTo>
                <a:lnTo>
                  <a:pt x="4572" y="37337"/>
                </a:lnTo>
                <a:lnTo>
                  <a:pt x="4572" y="27431"/>
                </a:lnTo>
                <a:lnTo>
                  <a:pt x="10885" y="27431"/>
                </a:lnTo>
                <a:lnTo>
                  <a:pt x="12192" y="22859"/>
                </a:lnTo>
                <a:lnTo>
                  <a:pt x="12192" y="10667"/>
                </a:lnTo>
                <a:lnTo>
                  <a:pt x="16764" y="6857"/>
                </a:lnTo>
                <a:lnTo>
                  <a:pt x="16764" y="10622"/>
                </a:lnTo>
                <a:lnTo>
                  <a:pt x="40722" y="10382"/>
                </a:lnTo>
                <a:lnTo>
                  <a:pt x="41910" y="5333"/>
                </a:lnTo>
                <a:lnTo>
                  <a:pt x="41910" y="3047"/>
                </a:lnTo>
                <a:lnTo>
                  <a:pt x="43434" y="1523"/>
                </a:lnTo>
                <a:lnTo>
                  <a:pt x="45720" y="1523"/>
                </a:lnTo>
                <a:lnTo>
                  <a:pt x="47244" y="761"/>
                </a:lnTo>
                <a:lnTo>
                  <a:pt x="49530" y="1523"/>
                </a:lnTo>
                <a:lnTo>
                  <a:pt x="50292" y="3047"/>
                </a:lnTo>
                <a:lnTo>
                  <a:pt x="54973" y="10240"/>
                </a:lnTo>
                <a:lnTo>
                  <a:pt x="84582" y="9944"/>
                </a:lnTo>
                <a:lnTo>
                  <a:pt x="84582" y="7619"/>
                </a:lnTo>
                <a:lnTo>
                  <a:pt x="88392" y="9905"/>
                </a:lnTo>
                <a:lnTo>
                  <a:pt x="88392" y="13442"/>
                </a:lnTo>
                <a:lnTo>
                  <a:pt x="246126" y="254508"/>
                </a:lnTo>
                <a:lnTo>
                  <a:pt x="246126" y="249935"/>
                </a:lnTo>
                <a:lnTo>
                  <a:pt x="250194" y="242612"/>
                </a:lnTo>
                <a:close/>
              </a:path>
              <a:path w="302259" h="268604">
                <a:moveTo>
                  <a:pt x="10885" y="27431"/>
                </a:moveTo>
                <a:lnTo>
                  <a:pt x="4572" y="27431"/>
                </a:lnTo>
                <a:lnTo>
                  <a:pt x="9144" y="33527"/>
                </a:lnTo>
                <a:lnTo>
                  <a:pt x="10885" y="27431"/>
                </a:lnTo>
                <a:close/>
              </a:path>
              <a:path w="302259" h="268604">
                <a:moveTo>
                  <a:pt x="36710" y="27431"/>
                </a:moveTo>
                <a:lnTo>
                  <a:pt x="10885" y="27431"/>
                </a:lnTo>
                <a:lnTo>
                  <a:pt x="9144" y="33527"/>
                </a:lnTo>
                <a:lnTo>
                  <a:pt x="4572" y="27431"/>
                </a:lnTo>
                <a:lnTo>
                  <a:pt x="4572" y="37337"/>
                </a:lnTo>
                <a:lnTo>
                  <a:pt x="35814" y="37337"/>
                </a:lnTo>
                <a:lnTo>
                  <a:pt x="35814" y="31241"/>
                </a:lnTo>
                <a:lnTo>
                  <a:pt x="36710" y="27431"/>
                </a:lnTo>
                <a:close/>
              </a:path>
              <a:path w="302259" h="268604">
                <a:moveTo>
                  <a:pt x="16764" y="6857"/>
                </a:moveTo>
                <a:lnTo>
                  <a:pt x="12192" y="10667"/>
                </a:lnTo>
                <a:lnTo>
                  <a:pt x="15685" y="10633"/>
                </a:lnTo>
                <a:lnTo>
                  <a:pt x="16764" y="6857"/>
                </a:lnTo>
                <a:close/>
              </a:path>
              <a:path w="302259" h="268604">
                <a:moveTo>
                  <a:pt x="15685" y="10633"/>
                </a:moveTo>
                <a:lnTo>
                  <a:pt x="12192" y="10667"/>
                </a:lnTo>
                <a:lnTo>
                  <a:pt x="12192" y="22859"/>
                </a:lnTo>
                <a:lnTo>
                  <a:pt x="15685" y="10633"/>
                </a:lnTo>
                <a:close/>
              </a:path>
              <a:path w="302259" h="268604">
                <a:moveTo>
                  <a:pt x="16764" y="10622"/>
                </a:moveTo>
                <a:lnTo>
                  <a:pt x="16764" y="6857"/>
                </a:lnTo>
                <a:lnTo>
                  <a:pt x="15685" y="10633"/>
                </a:lnTo>
                <a:lnTo>
                  <a:pt x="16764" y="10622"/>
                </a:lnTo>
                <a:close/>
              </a:path>
              <a:path w="302259" h="268604">
                <a:moveTo>
                  <a:pt x="40386" y="27431"/>
                </a:moveTo>
                <a:lnTo>
                  <a:pt x="36710" y="27431"/>
                </a:lnTo>
                <a:lnTo>
                  <a:pt x="35814" y="31241"/>
                </a:lnTo>
                <a:lnTo>
                  <a:pt x="40386" y="27431"/>
                </a:lnTo>
                <a:close/>
              </a:path>
              <a:path w="302259" h="268604">
                <a:moveTo>
                  <a:pt x="40386" y="37337"/>
                </a:moveTo>
                <a:lnTo>
                  <a:pt x="40386" y="27431"/>
                </a:lnTo>
                <a:lnTo>
                  <a:pt x="35814" y="31241"/>
                </a:lnTo>
                <a:lnTo>
                  <a:pt x="35814" y="37337"/>
                </a:lnTo>
                <a:lnTo>
                  <a:pt x="40386" y="37337"/>
                </a:lnTo>
                <a:close/>
              </a:path>
              <a:path w="302259" h="268604">
                <a:moveTo>
                  <a:pt x="48617" y="17516"/>
                </a:moveTo>
                <a:lnTo>
                  <a:pt x="43953" y="10350"/>
                </a:lnTo>
                <a:lnTo>
                  <a:pt x="40722" y="10382"/>
                </a:lnTo>
                <a:lnTo>
                  <a:pt x="36710" y="27431"/>
                </a:lnTo>
                <a:lnTo>
                  <a:pt x="40386" y="27431"/>
                </a:lnTo>
                <a:lnTo>
                  <a:pt x="40386" y="37337"/>
                </a:lnTo>
                <a:lnTo>
                  <a:pt x="42672" y="37337"/>
                </a:lnTo>
                <a:lnTo>
                  <a:pt x="44958" y="35813"/>
                </a:lnTo>
                <a:lnTo>
                  <a:pt x="44958" y="33527"/>
                </a:lnTo>
                <a:lnTo>
                  <a:pt x="48617" y="17516"/>
                </a:lnTo>
                <a:close/>
              </a:path>
              <a:path w="302259" h="268604">
                <a:moveTo>
                  <a:pt x="54973" y="10240"/>
                </a:moveTo>
                <a:lnTo>
                  <a:pt x="50270" y="3004"/>
                </a:lnTo>
                <a:lnTo>
                  <a:pt x="49530" y="1523"/>
                </a:lnTo>
                <a:lnTo>
                  <a:pt x="47244" y="761"/>
                </a:lnTo>
                <a:lnTo>
                  <a:pt x="45720" y="1523"/>
                </a:lnTo>
                <a:lnTo>
                  <a:pt x="43434" y="1523"/>
                </a:lnTo>
                <a:lnTo>
                  <a:pt x="41910" y="3047"/>
                </a:lnTo>
                <a:lnTo>
                  <a:pt x="41910" y="5333"/>
                </a:lnTo>
                <a:lnTo>
                  <a:pt x="40722" y="10382"/>
                </a:lnTo>
                <a:lnTo>
                  <a:pt x="42672" y="10363"/>
                </a:lnTo>
                <a:lnTo>
                  <a:pt x="42672" y="8381"/>
                </a:lnTo>
                <a:lnTo>
                  <a:pt x="51054" y="6857"/>
                </a:lnTo>
                <a:lnTo>
                  <a:pt x="51054" y="10279"/>
                </a:lnTo>
                <a:lnTo>
                  <a:pt x="54973" y="10240"/>
                </a:lnTo>
                <a:close/>
              </a:path>
              <a:path w="302259" h="268604">
                <a:moveTo>
                  <a:pt x="51054" y="6857"/>
                </a:moveTo>
                <a:lnTo>
                  <a:pt x="42672" y="8381"/>
                </a:lnTo>
                <a:lnTo>
                  <a:pt x="43953" y="10350"/>
                </a:lnTo>
                <a:lnTo>
                  <a:pt x="50270" y="10287"/>
                </a:lnTo>
                <a:lnTo>
                  <a:pt x="51054" y="6857"/>
                </a:lnTo>
                <a:close/>
              </a:path>
              <a:path w="302259" h="268604">
                <a:moveTo>
                  <a:pt x="43953" y="10350"/>
                </a:moveTo>
                <a:lnTo>
                  <a:pt x="42672" y="8381"/>
                </a:lnTo>
                <a:lnTo>
                  <a:pt x="42672" y="10363"/>
                </a:lnTo>
                <a:lnTo>
                  <a:pt x="43953" y="10350"/>
                </a:lnTo>
                <a:close/>
              </a:path>
              <a:path w="302259" h="268604">
                <a:moveTo>
                  <a:pt x="50270" y="10287"/>
                </a:moveTo>
                <a:lnTo>
                  <a:pt x="43953" y="10350"/>
                </a:lnTo>
                <a:lnTo>
                  <a:pt x="48617" y="17516"/>
                </a:lnTo>
                <a:lnTo>
                  <a:pt x="50270" y="10287"/>
                </a:lnTo>
                <a:close/>
              </a:path>
              <a:path w="302259" h="268604">
                <a:moveTo>
                  <a:pt x="216410" y="258267"/>
                </a:moveTo>
                <a:lnTo>
                  <a:pt x="54973" y="10240"/>
                </a:lnTo>
                <a:lnTo>
                  <a:pt x="50270" y="10287"/>
                </a:lnTo>
                <a:lnTo>
                  <a:pt x="48617" y="17516"/>
                </a:lnTo>
                <a:lnTo>
                  <a:pt x="210312" y="265938"/>
                </a:lnTo>
                <a:lnTo>
                  <a:pt x="211074" y="267462"/>
                </a:lnTo>
                <a:lnTo>
                  <a:pt x="212598" y="268223"/>
                </a:lnTo>
                <a:lnTo>
                  <a:pt x="214122" y="268223"/>
                </a:lnTo>
                <a:lnTo>
                  <a:pt x="214122" y="258317"/>
                </a:lnTo>
                <a:lnTo>
                  <a:pt x="216410" y="258267"/>
                </a:lnTo>
                <a:close/>
              </a:path>
              <a:path w="302259" h="268604">
                <a:moveTo>
                  <a:pt x="51054" y="10279"/>
                </a:moveTo>
                <a:lnTo>
                  <a:pt x="51054" y="6857"/>
                </a:lnTo>
                <a:lnTo>
                  <a:pt x="50270" y="10287"/>
                </a:lnTo>
                <a:lnTo>
                  <a:pt x="51054" y="10279"/>
                </a:lnTo>
                <a:close/>
              </a:path>
              <a:path w="302259" h="268604">
                <a:moveTo>
                  <a:pt x="88392" y="9905"/>
                </a:moveTo>
                <a:lnTo>
                  <a:pt x="84582" y="7619"/>
                </a:lnTo>
                <a:lnTo>
                  <a:pt x="86092" y="9928"/>
                </a:lnTo>
                <a:lnTo>
                  <a:pt x="88392" y="9905"/>
                </a:lnTo>
                <a:close/>
              </a:path>
              <a:path w="302259" h="268604">
                <a:moveTo>
                  <a:pt x="86092" y="9928"/>
                </a:moveTo>
                <a:lnTo>
                  <a:pt x="84582" y="7619"/>
                </a:lnTo>
                <a:lnTo>
                  <a:pt x="84582" y="9944"/>
                </a:lnTo>
                <a:lnTo>
                  <a:pt x="86092" y="9928"/>
                </a:lnTo>
                <a:close/>
              </a:path>
              <a:path w="302259" h="268604">
                <a:moveTo>
                  <a:pt x="88392" y="13442"/>
                </a:moveTo>
                <a:lnTo>
                  <a:pt x="88392" y="9905"/>
                </a:lnTo>
                <a:lnTo>
                  <a:pt x="86092" y="9928"/>
                </a:lnTo>
                <a:lnTo>
                  <a:pt x="88392" y="13442"/>
                </a:lnTo>
                <a:close/>
              </a:path>
              <a:path w="302259" h="268604">
                <a:moveTo>
                  <a:pt x="217932" y="260603"/>
                </a:moveTo>
                <a:lnTo>
                  <a:pt x="216410" y="258267"/>
                </a:lnTo>
                <a:lnTo>
                  <a:pt x="214122" y="258317"/>
                </a:lnTo>
                <a:lnTo>
                  <a:pt x="217932" y="260603"/>
                </a:lnTo>
                <a:close/>
              </a:path>
              <a:path w="302259" h="268604">
                <a:moveTo>
                  <a:pt x="217932" y="268139"/>
                </a:moveTo>
                <a:lnTo>
                  <a:pt x="217932" y="260603"/>
                </a:lnTo>
                <a:lnTo>
                  <a:pt x="214122" y="258317"/>
                </a:lnTo>
                <a:lnTo>
                  <a:pt x="214122" y="268223"/>
                </a:lnTo>
                <a:lnTo>
                  <a:pt x="217932" y="268139"/>
                </a:lnTo>
                <a:close/>
              </a:path>
              <a:path w="302259" h="268604">
                <a:moveTo>
                  <a:pt x="282702" y="266699"/>
                </a:moveTo>
                <a:lnTo>
                  <a:pt x="282702" y="256794"/>
                </a:lnTo>
                <a:lnTo>
                  <a:pt x="278130" y="259841"/>
                </a:lnTo>
                <a:lnTo>
                  <a:pt x="278130" y="256895"/>
                </a:lnTo>
                <a:lnTo>
                  <a:pt x="216410" y="258267"/>
                </a:lnTo>
                <a:lnTo>
                  <a:pt x="217932" y="260603"/>
                </a:lnTo>
                <a:lnTo>
                  <a:pt x="217932" y="268139"/>
                </a:lnTo>
                <a:lnTo>
                  <a:pt x="278130" y="266801"/>
                </a:lnTo>
                <a:lnTo>
                  <a:pt x="278130" y="259841"/>
                </a:lnTo>
                <a:lnTo>
                  <a:pt x="279544" y="256864"/>
                </a:lnTo>
                <a:lnTo>
                  <a:pt x="279544" y="266770"/>
                </a:lnTo>
                <a:lnTo>
                  <a:pt x="282702" y="266699"/>
                </a:lnTo>
                <a:close/>
              </a:path>
              <a:path w="302259" h="268604">
                <a:moveTo>
                  <a:pt x="254508" y="249173"/>
                </a:moveTo>
                <a:lnTo>
                  <a:pt x="250194" y="242612"/>
                </a:lnTo>
                <a:lnTo>
                  <a:pt x="246126" y="249935"/>
                </a:lnTo>
                <a:lnTo>
                  <a:pt x="254508" y="249173"/>
                </a:lnTo>
                <a:close/>
              </a:path>
              <a:path w="302259" h="268604">
                <a:moveTo>
                  <a:pt x="254508" y="254508"/>
                </a:moveTo>
                <a:lnTo>
                  <a:pt x="254508" y="249173"/>
                </a:lnTo>
                <a:lnTo>
                  <a:pt x="246126" y="249935"/>
                </a:lnTo>
                <a:lnTo>
                  <a:pt x="246126" y="254508"/>
                </a:lnTo>
                <a:lnTo>
                  <a:pt x="246888" y="256031"/>
                </a:lnTo>
                <a:lnTo>
                  <a:pt x="248412" y="256794"/>
                </a:lnTo>
                <a:lnTo>
                  <a:pt x="252222" y="256794"/>
                </a:lnTo>
                <a:lnTo>
                  <a:pt x="253746" y="256031"/>
                </a:lnTo>
                <a:lnTo>
                  <a:pt x="254508" y="254508"/>
                </a:lnTo>
                <a:close/>
              </a:path>
              <a:path w="302259" h="268604">
                <a:moveTo>
                  <a:pt x="301752" y="231647"/>
                </a:moveTo>
                <a:lnTo>
                  <a:pt x="301752" y="230123"/>
                </a:lnTo>
                <a:lnTo>
                  <a:pt x="300990" y="228599"/>
                </a:lnTo>
                <a:lnTo>
                  <a:pt x="297942" y="227075"/>
                </a:lnTo>
                <a:lnTo>
                  <a:pt x="259842" y="227075"/>
                </a:lnTo>
                <a:lnTo>
                  <a:pt x="258318" y="227837"/>
                </a:lnTo>
                <a:lnTo>
                  <a:pt x="257556" y="229361"/>
                </a:lnTo>
                <a:lnTo>
                  <a:pt x="250194" y="242612"/>
                </a:lnTo>
                <a:lnTo>
                  <a:pt x="254508" y="249173"/>
                </a:lnTo>
                <a:lnTo>
                  <a:pt x="254508" y="254508"/>
                </a:lnTo>
                <a:lnTo>
                  <a:pt x="262128" y="240791"/>
                </a:lnTo>
                <a:lnTo>
                  <a:pt x="262128" y="236219"/>
                </a:lnTo>
                <a:lnTo>
                  <a:pt x="265938" y="233933"/>
                </a:lnTo>
                <a:lnTo>
                  <a:pt x="265938" y="236219"/>
                </a:lnTo>
                <a:lnTo>
                  <a:pt x="289350" y="236219"/>
                </a:lnTo>
                <a:lnTo>
                  <a:pt x="292608" y="229361"/>
                </a:lnTo>
                <a:lnTo>
                  <a:pt x="296418" y="236219"/>
                </a:lnTo>
                <a:lnTo>
                  <a:pt x="296418" y="243331"/>
                </a:lnTo>
                <a:lnTo>
                  <a:pt x="300990" y="233171"/>
                </a:lnTo>
                <a:lnTo>
                  <a:pt x="301752" y="231647"/>
                </a:lnTo>
                <a:close/>
              </a:path>
              <a:path w="302259" h="268604">
                <a:moveTo>
                  <a:pt x="265938" y="233933"/>
                </a:moveTo>
                <a:lnTo>
                  <a:pt x="262128" y="236219"/>
                </a:lnTo>
                <a:lnTo>
                  <a:pt x="264668" y="236219"/>
                </a:lnTo>
                <a:lnTo>
                  <a:pt x="265938" y="233933"/>
                </a:lnTo>
                <a:close/>
              </a:path>
              <a:path w="302259" h="268604">
                <a:moveTo>
                  <a:pt x="264668" y="236220"/>
                </a:moveTo>
                <a:lnTo>
                  <a:pt x="262128" y="236219"/>
                </a:lnTo>
                <a:lnTo>
                  <a:pt x="262128" y="240791"/>
                </a:lnTo>
                <a:lnTo>
                  <a:pt x="264668" y="236220"/>
                </a:lnTo>
                <a:close/>
              </a:path>
              <a:path w="302259" h="268604">
                <a:moveTo>
                  <a:pt x="265938" y="236219"/>
                </a:moveTo>
                <a:lnTo>
                  <a:pt x="265938" y="233933"/>
                </a:lnTo>
                <a:lnTo>
                  <a:pt x="264668" y="236220"/>
                </a:lnTo>
                <a:lnTo>
                  <a:pt x="265938" y="236219"/>
                </a:lnTo>
                <a:close/>
              </a:path>
              <a:path w="302259" h="268604">
                <a:moveTo>
                  <a:pt x="282702" y="256794"/>
                </a:moveTo>
                <a:lnTo>
                  <a:pt x="279544" y="256864"/>
                </a:lnTo>
                <a:lnTo>
                  <a:pt x="278130" y="259841"/>
                </a:lnTo>
                <a:lnTo>
                  <a:pt x="282702" y="256794"/>
                </a:lnTo>
                <a:close/>
              </a:path>
              <a:path w="302259" h="268604">
                <a:moveTo>
                  <a:pt x="296418" y="243331"/>
                </a:moveTo>
                <a:lnTo>
                  <a:pt x="296418" y="236219"/>
                </a:lnTo>
                <a:lnTo>
                  <a:pt x="289350" y="236219"/>
                </a:lnTo>
                <a:lnTo>
                  <a:pt x="279544" y="256864"/>
                </a:lnTo>
                <a:lnTo>
                  <a:pt x="282702" y="256794"/>
                </a:lnTo>
                <a:lnTo>
                  <a:pt x="282702" y="266699"/>
                </a:lnTo>
                <a:lnTo>
                  <a:pt x="284988" y="266699"/>
                </a:lnTo>
                <a:lnTo>
                  <a:pt x="286512" y="265176"/>
                </a:lnTo>
                <a:lnTo>
                  <a:pt x="287274" y="263652"/>
                </a:lnTo>
                <a:lnTo>
                  <a:pt x="296418" y="243331"/>
                </a:lnTo>
                <a:close/>
              </a:path>
              <a:path w="302259" h="268604">
                <a:moveTo>
                  <a:pt x="296418" y="236219"/>
                </a:moveTo>
                <a:lnTo>
                  <a:pt x="292608" y="229361"/>
                </a:lnTo>
                <a:lnTo>
                  <a:pt x="289350" y="236219"/>
                </a:lnTo>
                <a:lnTo>
                  <a:pt x="296418" y="2362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8" name="object 96"/>
          <p:cNvSpPr/>
          <p:nvPr/>
        </p:nvSpPr>
        <p:spPr>
          <a:xfrm>
            <a:off x="6711213" y="3437824"/>
            <a:ext cx="274740" cy="89951"/>
          </a:xfrm>
          <a:prstGeom prst="rect">
            <a:avLst/>
          </a:prstGeom>
          <a:blipFill>
            <a:blip r:embed="rId5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49" name="object 97"/>
          <p:cNvSpPr/>
          <p:nvPr/>
        </p:nvSpPr>
        <p:spPr>
          <a:xfrm>
            <a:off x="6707312" y="3435355"/>
            <a:ext cx="282347" cy="94654"/>
          </a:xfrm>
          <a:custGeom>
            <a:avLst/>
            <a:gdLst/>
            <a:ahLst/>
            <a:cxnLst/>
            <a:rect l="l" t="t" r="r" b="b"/>
            <a:pathLst>
              <a:path w="386079" h="204470">
                <a:moveTo>
                  <a:pt x="385571" y="200406"/>
                </a:moveTo>
                <a:lnTo>
                  <a:pt x="385571" y="198120"/>
                </a:lnTo>
                <a:lnTo>
                  <a:pt x="384809" y="196596"/>
                </a:lnTo>
                <a:lnTo>
                  <a:pt x="252221" y="1524"/>
                </a:lnTo>
                <a:lnTo>
                  <a:pt x="251459" y="762"/>
                </a:lnTo>
                <a:lnTo>
                  <a:pt x="249935" y="0"/>
                </a:lnTo>
                <a:lnTo>
                  <a:pt x="3809" y="0"/>
                </a:lnTo>
                <a:lnTo>
                  <a:pt x="2285" y="762"/>
                </a:lnTo>
                <a:lnTo>
                  <a:pt x="761" y="2286"/>
                </a:lnTo>
                <a:lnTo>
                  <a:pt x="0" y="3810"/>
                </a:lnTo>
                <a:lnTo>
                  <a:pt x="0" y="6096"/>
                </a:lnTo>
                <a:lnTo>
                  <a:pt x="1523" y="7620"/>
                </a:lnTo>
                <a:lnTo>
                  <a:pt x="5333" y="13472"/>
                </a:lnTo>
                <a:lnTo>
                  <a:pt x="5333" y="9906"/>
                </a:lnTo>
                <a:lnTo>
                  <a:pt x="9143" y="2286"/>
                </a:lnTo>
                <a:lnTo>
                  <a:pt x="14086" y="9878"/>
                </a:lnTo>
                <a:lnTo>
                  <a:pt x="244601" y="9155"/>
                </a:lnTo>
                <a:lnTo>
                  <a:pt x="244601" y="6858"/>
                </a:lnTo>
                <a:lnTo>
                  <a:pt x="248411" y="9144"/>
                </a:lnTo>
                <a:lnTo>
                  <a:pt x="248411" y="12495"/>
                </a:lnTo>
                <a:lnTo>
                  <a:pt x="371793" y="195072"/>
                </a:lnTo>
                <a:lnTo>
                  <a:pt x="380999" y="195072"/>
                </a:lnTo>
                <a:lnTo>
                  <a:pt x="380999" y="204216"/>
                </a:lnTo>
                <a:lnTo>
                  <a:pt x="382523" y="204216"/>
                </a:lnTo>
                <a:lnTo>
                  <a:pt x="384047" y="203454"/>
                </a:lnTo>
                <a:lnTo>
                  <a:pt x="385571" y="200406"/>
                </a:lnTo>
                <a:close/>
              </a:path>
              <a:path w="386079" h="204470">
                <a:moveTo>
                  <a:pt x="14086" y="9878"/>
                </a:moveTo>
                <a:lnTo>
                  <a:pt x="9143" y="2286"/>
                </a:lnTo>
                <a:lnTo>
                  <a:pt x="5333" y="9906"/>
                </a:lnTo>
                <a:lnTo>
                  <a:pt x="14086" y="9878"/>
                </a:lnTo>
                <a:close/>
              </a:path>
              <a:path w="386079" h="204470">
                <a:moveTo>
                  <a:pt x="134643" y="195072"/>
                </a:moveTo>
                <a:lnTo>
                  <a:pt x="14086" y="9878"/>
                </a:lnTo>
                <a:lnTo>
                  <a:pt x="5333" y="9906"/>
                </a:lnTo>
                <a:lnTo>
                  <a:pt x="5333" y="13472"/>
                </a:lnTo>
                <a:lnTo>
                  <a:pt x="128015" y="201930"/>
                </a:lnTo>
                <a:lnTo>
                  <a:pt x="128777" y="203454"/>
                </a:lnTo>
                <a:lnTo>
                  <a:pt x="130301" y="204216"/>
                </a:lnTo>
                <a:lnTo>
                  <a:pt x="131825" y="204216"/>
                </a:lnTo>
                <a:lnTo>
                  <a:pt x="131825" y="195072"/>
                </a:lnTo>
                <a:lnTo>
                  <a:pt x="134643" y="195072"/>
                </a:lnTo>
                <a:close/>
              </a:path>
              <a:path w="386079" h="204470">
                <a:moveTo>
                  <a:pt x="135635" y="196596"/>
                </a:moveTo>
                <a:lnTo>
                  <a:pt x="134643" y="195072"/>
                </a:lnTo>
                <a:lnTo>
                  <a:pt x="131825" y="195072"/>
                </a:lnTo>
                <a:lnTo>
                  <a:pt x="135635" y="196596"/>
                </a:lnTo>
                <a:close/>
              </a:path>
              <a:path w="386079" h="204470">
                <a:moveTo>
                  <a:pt x="135635" y="204216"/>
                </a:moveTo>
                <a:lnTo>
                  <a:pt x="135635" y="196596"/>
                </a:lnTo>
                <a:lnTo>
                  <a:pt x="131825" y="195072"/>
                </a:lnTo>
                <a:lnTo>
                  <a:pt x="131825" y="204216"/>
                </a:lnTo>
                <a:lnTo>
                  <a:pt x="135635" y="204216"/>
                </a:lnTo>
                <a:close/>
              </a:path>
              <a:path w="386079" h="204470">
                <a:moveTo>
                  <a:pt x="380999" y="204216"/>
                </a:moveTo>
                <a:lnTo>
                  <a:pt x="380999" y="195072"/>
                </a:lnTo>
                <a:lnTo>
                  <a:pt x="376427" y="201930"/>
                </a:lnTo>
                <a:lnTo>
                  <a:pt x="371793" y="195072"/>
                </a:lnTo>
                <a:lnTo>
                  <a:pt x="134643" y="195072"/>
                </a:lnTo>
                <a:lnTo>
                  <a:pt x="135635" y="196596"/>
                </a:lnTo>
                <a:lnTo>
                  <a:pt x="135635" y="204216"/>
                </a:lnTo>
                <a:lnTo>
                  <a:pt x="380999" y="204216"/>
                </a:lnTo>
                <a:close/>
              </a:path>
              <a:path w="386079" h="204470">
                <a:moveTo>
                  <a:pt x="248411" y="9144"/>
                </a:moveTo>
                <a:lnTo>
                  <a:pt x="244601" y="6858"/>
                </a:lnTo>
                <a:lnTo>
                  <a:pt x="246151" y="9151"/>
                </a:lnTo>
                <a:lnTo>
                  <a:pt x="248411" y="9144"/>
                </a:lnTo>
                <a:close/>
              </a:path>
              <a:path w="386079" h="204470">
                <a:moveTo>
                  <a:pt x="246151" y="9151"/>
                </a:moveTo>
                <a:lnTo>
                  <a:pt x="244601" y="6858"/>
                </a:lnTo>
                <a:lnTo>
                  <a:pt x="244601" y="9155"/>
                </a:lnTo>
                <a:lnTo>
                  <a:pt x="246151" y="9151"/>
                </a:lnTo>
                <a:close/>
              </a:path>
              <a:path w="386079" h="204470">
                <a:moveTo>
                  <a:pt x="248411" y="12495"/>
                </a:moveTo>
                <a:lnTo>
                  <a:pt x="248411" y="9144"/>
                </a:lnTo>
                <a:lnTo>
                  <a:pt x="246151" y="9151"/>
                </a:lnTo>
                <a:lnTo>
                  <a:pt x="248411" y="12495"/>
                </a:lnTo>
                <a:close/>
              </a:path>
              <a:path w="386079" h="204470">
                <a:moveTo>
                  <a:pt x="380999" y="195072"/>
                </a:moveTo>
                <a:lnTo>
                  <a:pt x="371793" y="195072"/>
                </a:lnTo>
                <a:lnTo>
                  <a:pt x="376427" y="201930"/>
                </a:lnTo>
                <a:lnTo>
                  <a:pt x="380999" y="1950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0" name="object 98"/>
          <p:cNvSpPr/>
          <p:nvPr/>
        </p:nvSpPr>
        <p:spPr>
          <a:xfrm>
            <a:off x="7061175" y="3423244"/>
            <a:ext cx="212883" cy="119347"/>
          </a:xfrm>
          <a:prstGeom prst="rect">
            <a:avLst/>
          </a:prstGeom>
          <a:blipFill>
            <a:blip r:embed="rId5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1" name="object 99"/>
          <p:cNvSpPr/>
          <p:nvPr/>
        </p:nvSpPr>
        <p:spPr>
          <a:xfrm>
            <a:off x="7057274" y="3420540"/>
            <a:ext cx="221048" cy="124344"/>
          </a:xfrm>
          <a:custGeom>
            <a:avLst/>
            <a:gdLst/>
            <a:ahLst/>
            <a:cxnLst/>
            <a:rect l="l" t="t" r="r" b="b"/>
            <a:pathLst>
              <a:path w="302259" h="268604">
                <a:moveTo>
                  <a:pt x="249853" y="243225"/>
                </a:moveTo>
                <a:lnTo>
                  <a:pt x="92202" y="2285"/>
                </a:lnTo>
                <a:lnTo>
                  <a:pt x="91440" y="761"/>
                </a:lnTo>
                <a:lnTo>
                  <a:pt x="89916" y="0"/>
                </a:lnTo>
                <a:lnTo>
                  <a:pt x="83820" y="38"/>
                </a:lnTo>
                <a:lnTo>
                  <a:pt x="16764" y="715"/>
                </a:lnTo>
                <a:lnTo>
                  <a:pt x="9906" y="761"/>
                </a:lnTo>
                <a:lnTo>
                  <a:pt x="8382" y="2285"/>
                </a:lnTo>
                <a:lnTo>
                  <a:pt x="7620" y="4571"/>
                </a:lnTo>
                <a:lnTo>
                  <a:pt x="0" y="31241"/>
                </a:lnTo>
                <a:lnTo>
                  <a:pt x="0" y="34289"/>
                </a:lnTo>
                <a:lnTo>
                  <a:pt x="762" y="35051"/>
                </a:lnTo>
                <a:lnTo>
                  <a:pt x="1524" y="36575"/>
                </a:lnTo>
                <a:lnTo>
                  <a:pt x="3048" y="37337"/>
                </a:lnTo>
                <a:lnTo>
                  <a:pt x="4572" y="37337"/>
                </a:lnTo>
                <a:lnTo>
                  <a:pt x="4572" y="27431"/>
                </a:lnTo>
                <a:lnTo>
                  <a:pt x="10885" y="27431"/>
                </a:lnTo>
                <a:lnTo>
                  <a:pt x="12192" y="22859"/>
                </a:lnTo>
                <a:lnTo>
                  <a:pt x="12192" y="10667"/>
                </a:lnTo>
                <a:lnTo>
                  <a:pt x="16764" y="6857"/>
                </a:lnTo>
                <a:lnTo>
                  <a:pt x="16764" y="10622"/>
                </a:lnTo>
                <a:lnTo>
                  <a:pt x="40107" y="10388"/>
                </a:lnTo>
                <a:lnTo>
                  <a:pt x="41148" y="5333"/>
                </a:lnTo>
                <a:lnTo>
                  <a:pt x="41910" y="3047"/>
                </a:lnTo>
                <a:lnTo>
                  <a:pt x="43434" y="1523"/>
                </a:lnTo>
                <a:lnTo>
                  <a:pt x="44958" y="1523"/>
                </a:lnTo>
                <a:lnTo>
                  <a:pt x="47244" y="761"/>
                </a:lnTo>
                <a:lnTo>
                  <a:pt x="48768" y="1523"/>
                </a:lnTo>
                <a:lnTo>
                  <a:pt x="50292" y="3047"/>
                </a:lnTo>
                <a:lnTo>
                  <a:pt x="54973" y="10240"/>
                </a:lnTo>
                <a:lnTo>
                  <a:pt x="83820" y="9951"/>
                </a:lnTo>
                <a:lnTo>
                  <a:pt x="83820" y="7619"/>
                </a:lnTo>
                <a:lnTo>
                  <a:pt x="88392" y="9905"/>
                </a:lnTo>
                <a:lnTo>
                  <a:pt x="88392" y="14574"/>
                </a:lnTo>
                <a:lnTo>
                  <a:pt x="246126" y="254508"/>
                </a:lnTo>
                <a:lnTo>
                  <a:pt x="246126" y="249935"/>
                </a:lnTo>
                <a:lnTo>
                  <a:pt x="249853" y="243225"/>
                </a:lnTo>
                <a:close/>
              </a:path>
              <a:path w="302259" h="268604">
                <a:moveTo>
                  <a:pt x="10885" y="27431"/>
                </a:moveTo>
                <a:lnTo>
                  <a:pt x="4572" y="27431"/>
                </a:lnTo>
                <a:lnTo>
                  <a:pt x="9144" y="33527"/>
                </a:lnTo>
                <a:lnTo>
                  <a:pt x="10885" y="27431"/>
                </a:lnTo>
                <a:close/>
              </a:path>
              <a:path w="302259" h="268604">
                <a:moveTo>
                  <a:pt x="36598" y="27431"/>
                </a:moveTo>
                <a:lnTo>
                  <a:pt x="10885" y="27431"/>
                </a:lnTo>
                <a:lnTo>
                  <a:pt x="9144" y="33527"/>
                </a:lnTo>
                <a:lnTo>
                  <a:pt x="4572" y="27431"/>
                </a:lnTo>
                <a:lnTo>
                  <a:pt x="4572" y="37337"/>
                </a:lnTo>
                <a:lnTo>
                  <a:pt x="35814" y="37337"/>
                </a:lnTo>
                <a:lnTo>
                  <a:pt x="35814" y="31241"/>
                </a:lnTo>
                <a:lnTo>
                  <a:pt x="36598" y="27431"/>
                </a:lnTo>
                <a:close/>
              </a:path>
              <a:path w="302259" h="268604">
                <a:moveTo>
                  <a:pt x="16764" y="6857"/>
                </a:moveTo>
                <a:lnTo>
                  <a:pt x="12192" y="10667"/>
                </a:lnTo>
                <a:lnTo>
                  <a:pt x="15685" y="10633"/>
                </a:lnTo>
                <a:lnTo>
                  <a:pt x="16764" y="6857"/>
                </a:lnTo>
                <a:close/>
              </a:path>
              <a:path w="302259" h="268604">
                <a:moveTo>
                  <a:pt x="15685" y="10633"/>
                </a:moveTo>
                <a:lnTo>
                  <a:pt x="12192" y="10667"/>
                </a:lnTo>
                <a:lnTo>
                  <a:pt x="12192" y="22859"/>
                </a:lnTo>
                <a:lnTo>
                  <a:pt x="15685" y="10633"/>
                </a:lnTo>
                <a:close/>
              </a:path>
              <a:path w="302259" h="268604">
                <a:moveTo>
                  <a:pt x="16764" y="10622"/>
                </a:moveTo>
                <a:lnTo>
                  <a:pt x="16764" y="6857"/>
                </a:lnTo>
                <a:lnTo>
                  <a:pt x="15685" y="10633"/>
                </a:lnTo>
                <a:lnTo>
                  <a:pt x="16764" y="10622"/>
                </a:lnTo>
                <a:close/>
              </a:path>
              <a:path w="302259" h="268604">
                <a:moveTo>
                  <a:pt x="40386" y="27431"/>
                </a:moveTo>
                <a:lnTo>
                  <a:pt x="36598" y="27431"/>
                </a:lnTo>
                <a:lnTo>
                  <a:pt x="35814" y="31241"/>
                </a:lnTo>
                <a:lnTo>
                  <a:pt x="40386" y="27431"/>
                </a:lnTo>
                <a:close/>
              </a:path>
              <a:path w="302259" h="268604">
                <a:moveTo>
                  <a:pt x="40386" y="37337"/>
                </a:moveTo>
                <a:lnTo>
                  <a:pt x="40386" y="27431"/>
                </a:lnTo>
                <a:lnTo>
                  <a:pt x="35814" y="31241"/>
                </a:lnTo>
                <a:lnTo>
                  <a:pt x="35814" y="37337"/>
                </a:lnTo>
                <a:lnTo>
                  <a:pt x="40386" y="37337"/>
                </a:lnTo>
                <a:close/>
              </a:path>
              <a:path w="302259" h="268604">
                <a:moveTo>
                  <a:pt x="48427" y="18349"/>
                </a:moveTo>
                <a:lnTo>
                  <a:pt x="43201" y="10357"/>
                </a:lnTo>
                <a:lnTo>
                  <a:pt x="40107" y="10388"/>
                </a:lnTo>
                <a:lnTo>
                  <a:pt x="36598" y="27431"/>
                </a:lnTo>
                <a:lnTo>
                  <a:pt x="40386" y="27431"/>
                </a:lnTo>
                <a:lnTo>
                  <a:pt x="40386" y="37337"/>
                </a:lnTo>
                <a:lnTo>
                  <a:pt x="42672" y="37337"/>
                </a:lnTo>
                <a:lnTo>
                  <a:pt x="44958" y="35813"/>
                </a:lnTo>
                <a:lnTo>
                  <a:pt x="44958" y="33527"/>
                </a:lnTo>
                <a:lnTo>
                  <a:pt x="48427" y="18349"/>
                </a:lnTo>
                <a:close/>
              </a:path>
              <a:path w="302259" h="268604">
                <a:moveTo>
                  <a:pt x="54973" y="10240"/>
                </a:moveTo>
                <a:lnTo>
                  <a:pt x="50270" y="3026"/>
                </a:lnTo>
                <a:lnTo>
                  <a:pt x="48768" y="1523"/>
                </a:lnTo>
                <a:lnTo>
                  <a:pt x="47244" y="761"/>
                </a:lnTo>
                <a:lnTo>
                  <a:pt x="44958" y="1523"/>
                </a:lnTo>
                <a:lnTo>
                  <a:pt x="43434" y="1523"/>
                </a:lnTo>
                <a:lnTo>
                  <a:pt x="41910" y="3047"/>
                </a:lnTo>
                <a:lnTo>
                  <a:pt x="41148" y="5333"/>
                </a:lnTo>
                <a:lnTo>
                  <a:pt x="40107" y="10388"/>
                </a:lnTo>
                <a:lnTo>
                  <a:pt x="41910" y="10370"/>
                </a:lnTo>
                <a:lnTo>
                  <a:pt x="41910" y="8381"/>
                </a:lnTo>
                <a:lnTo>
                  <a:pt x="51054" y="6857"/>
                </a:lnTo>
                <a:lnTo>
                  <a:pt x="51054" y="10279"/>
                </a:lnTo>
                <a:lnTo>
                  <a:pt x="54973" y="10240"/>
                </a:lnTo>
                <a:close/>
              </a:path>
              <a:path w="302259" h="268604">
                <a:moveTo>
                  <a:pt x="51054" y="6857"/>
                </a:moveTo>
                <a:lnTo>
                  <a:pt x="41910" y="8381"/>
                </a:lnTo>
                <a:lnTo>
                  <a:pt x="43201" y="10357"/>
                </a:lnTo>
                <a:lnTo>
                  <a:pt x="50270" y="10287"/>
                </a:lnTo>
                <a:lnTo>
                  <a:pt x="51054" y="6857"/>
                </a:lnTo>
                <a:close/>
              </a:path>
              <a:path w="302259" h="268604">
                <a:moveTo>
                  <a:pt x="43201" y="10357"/>
                </a:moveTo>
                <a:lnTo>
                  <a:pt x="41910" y="8381"/>
                </a:lnTo>
                <a:lnTo>
                  <a:pt x="41910" y="10370"/>
                </a:lnTo>
                <a:lnTo>
                  <a:pt x="43201" y="10357"/>
                </a:lnTo>
                <a:close/>
              </a:path>
              <a:path w="302259" h="268604">
                <a:moveTo>
                  <a:pt x="50270" y="10287"/>
                </a:moveTo>
                <a:lnTo>
                  <a:pt x="43201" y="10357"/>
                </a:lnTo>
                <a:lnTo>
                  <a:pt x="48427" y="18349"/>
                </a:lnTo>
                <a:lnTo>
                  <a:pt x="50270" y="10287"/>
                </a:lnTo>
                <a:close/>
              </a:path>
              <a:path w="302259" h="268604">
                <a:moveTo>
                  <a:pt x="216410" y="258267"/>
                </a:moveTo>
                <a:lnTo>
                  <a:pt x="54973" y="10240"/>
                </a:lnTo>
                <a:lnTo>
                  <a:pt x="50270" y="10287"/>
                </a:lnTo>
                <a:lnTo>
                  <a:pt x="48427" y="18349"/>
                </a:lnTo>
                <a:lnTo>
                  <a:pt x="210312" y="265938"/>
                </a:lnTo>
                <a:lnTo>
                  <a:pt x="211074" y="267462"/>
                </a:lnTo>
                <a:lnTo>
                  <a:pt x="212598" y="268223"/>
                </a:lnTo>
                <a:lnTo>
                  <a:pt x="214122" y="268223"/>
                </a:lnTo>
                <a:lnTo>
                  <a:pt x="214122" y="258317"/>
                </a:lnTo>
                <a:lnTo>
                  <a:pt x="216410" y="258267"/>
                </a:lnTo>
                <a:close/>
              </a:path>
              <a:path w="302259" h="268604">
                <a:moveTo>
                  <a:pt x="51054" y="10279"/>
                </a:moveTo>
                <a:lnTo>
                  <a:pt x="51054" y="6857"/>
                </a:lnTo>
                <a:lnTo>
                  <a:pt x="50270" y="10287"/>
                </a:lnTo>
                <a:lnTo>
                  <a:pt x="51054" y="10279"/>
                </a:lnTo>
                <a:close/>
              </a:path>
              <a:path w="302259" h="268604">
                <a:moveTo>
                  <a:pt x="88392" y="9905"/>
                </a:moveTo>
                <a:lnTo>
                  <a:pt x="83820" y="7619"/>
                </a:lnTo>
                <a:lnTo>
                  <a:pt x="85342" y="9936"/>
                </a:lnTo>
                <a:lnTo>
                  <a:pt x="88392" y="9905"/>
                </a:lnTo>
                <a:close/>
              </a:path>
              <a:path w="302259" h="268604">
                <a:moveTo>
                  <a:pt x="85342" y="9936"/>
                </a:moveTo>
                <a:lnTo>
                  <a:pt x="83820" y="7619"/>
                </a:lnTo>
                <a:lnTo>
                  <a:pt x="83820" y="9951"/>
                </a:lnTo>
                <a:lnTo>
                  <a:pt x="85342" y="9936"/>
                </a:lnTo>
                <a:close/>
              </a:path>
              <a:path w="302259" h="268604">
                <a:moveTo>
                  <a:pt x="88392" y="14574"/>
                </a:moveTo>
                <a:lnTo>
                  <a:pt x="88392" y="9905"/>
                </a:lnTo>
                <a:lnTo>
                  <a:pt x="85342" y="9936"/>
                </a:lnTo>
                <a:lnTo>
                  <a:pt x="88392" y="14574"/>
                </a:lnTo>
                <a:close/>
              </a:path>
              <a:path w="302259" h="268604">
                <a:moveTo>
                  <a:pt x="217932" y="260603"/>
                </a:moveTo>
                <a:lnTo>
                  <a:pt x="216410" y="258267"/>
                </a:lnTo>
                <a:lnTo>
                  <a:pt x="214122" y="258317"/>
                </a:lnTo>
                <a:lnTo>
                  <a:pt x="217932" y="260603"/>
                </a:lnTo>
                <a:close/>
              </a:path>
              <a:path w="302259" h="268604">
                <a:moveTo>
                  <a:pt x="217932" y="268139"/>
                </a:moveTo>
                <a:lnTo>
                  <a:pt x="217932" y="260603"/>
                </a:lnTo>
                <a:lnTo>
                  <a:pt x="214122" y="258317"/>
                </a:lnTo>
                <a:lnTo>
                  <a:pt x="214122" y="268223"/>
                </a:lnTo>
                <a:lnTo>
                  <a:pt x="217932" y="268139"/>
                </a:lnTo>
                <a:close/>
              </a:path>
              <a:path w="302259" h="268604">
                <a:moveTo>
                  <a:pt x="282702" y="266699"/>
                </a:moveTo>
                <a:lnTo>
                  <a:pt x="282702" y="256794"/>
                </a:lnTo>
                <a:lnTo>
                  <a:pt x="278130" y="259841"/>
                </a:lnTo>
                <a:lnTo>
                  <a:pt x="278130" y="256895"/>
                </a:lnTo>
                <a:lnTo>
                  <a:pt x="216410" y="258267"/>
                </a:lnTo>
                <a:lnTo>
                  <a:pt x="217932" y="260603"/>
                </a:lnTo>
                <a:lnTo>
                  <a:pt x="217932" y="268139"/>
                </a:lnTo>
                <a:lnTo>
                  <a:pt x="278130" y="266801"/>
                </a:lnTo>
                <a:lnTo>
                  <a:pt x="278130" y="259841"/>
                </a:lnTo>
                <a:lnTo>
                  <a:pt x="279469" y="256865"/>
                </a:lnTo>
                <a:lnTo>
                  <a:pt x="279469" y="266771"/>
                </a:lnTo>
                <a:lnTo>
                  <a:pt x="282702" y="266699"/>
                </a:lnTo>
                <a:close/>
              </a:path>
              <a:path w="302259" h="268604">
                <a:moveTo>
                  <a:pt x="253746" y="249173"/>
                </a:moveTo>
                <a:lnTo>
                  <a:pt x="249853" y="243225"/>
                </a:lnTo>
                <a:lnTo>
                  <a:pt x="246126" y="249935"/>
                </a:lnTo>
                <a:lnTo>
                  <a:pt x="253746" y="249173"/>
                </a:lnTo>
                <a:close/>
              </a:path>
              <a:path w="302259" h="268604">
                <a:moveTo>
                  <a:pt x="253746" y="256031"/>
                </a:moveTo>
                <a:lnTo>
                  <a:pt x="253746" y="249173"/>
                </a:lnTo>
                <a:lnTo>
                  <a:pt x="246126" y="249935"/>
                </a:lnTo>
                <a:lnTo>
                  <a:pt x="246126" y="254508"/>
                </a:lnTo>
                <a:lnTo>
                  <a:pt x="246888" y="256031"/>
                </a:lnTo>
                <a:lnTo>
                  <a:pt x="248412" y="256794"/>
                </a:lnTo>
                <a:lnTo>
                  <a:pt x="252222" y="256794"/>
                </a:lnTo>
                <a:lnTo>
                  <a:pt x="253746" y="256031"/>
                </a:lnTo>
                <a:close/>
              </a:path>
              <a:path w="302259" h="268604">
                <a:moveTo>
                  <a:pt x="301752" y="231647"/>
                </a:moveTo>
                <a:lnTo>
                  <a:pt x="300228" y="228599"/>
                </a:lnTo>
                <a:lnTo>
                  <a:pt x="299466" y="227837"/>
                </a:lnTo>
                <a:lnTo>
                  <a:pt x="297942" y="227075"/>
                </a:lnTo>
                <a:lnTo>
                  <a:pt x="259842" y="227075"/>
                </a:lnTo>
                <a:lnTo>
                  <a:pt x="258318" y="227837"/>
                </a:lnTo>
                <a:lnTo>
                  <a:pt x="257556" y="229361"/>
                </a:lnTo>
                <a:lnTo>
                  <a:pt x="249853" y="243225"/>
                </a:lnTo>
                <a:lnTo>
                  <a:pt x="253746" y="249173"/>
                </a:lnTo>
                <a:lnTo>
                  <a:pt x="253746" y="256031"/>
                </a:lnTo>
                <a:lnTo>
                  <a:pt x="254508" y="254508"/>
                </a:lnTo>
                <a:lnTo>
                  <a:pt x="261366" y="242163"/>
                </a:lnTo>
                <a:lnTo>
                  <a:pt x="261366" y="236219"/>
                </a:lnTo>
                <a:lnTo>
                  <a:pt x="265938" y="233933"/>
                </a:lnTo>
                <a:lnTo>
                  <a:pt x="265938" y="236219"/>
                </a:lnTo>
                <a:lnTo>
                  <a:pt x="288759" y="236219"/>
                </a:lnTo>
                <a:lnTo>
                  <a:pt x="291846" y="229361"/>
                </a:lnTo>
                <a:lnTo>
                  <a:pt x="296418" y="236219"/>
                </a:lnTo>
                <a:lnTo>
                  <a:pt x="296418" y="242797"/>
                </a:lnTo>
                <a:lnTo>
                  <a:pt x="300990" y="233171"/>
                </a:lnTo>
                <a:lnTo>
                  <a:pt x="301752" y="231647"/>
                </a:lnTo>
                <a:close/>
              </a:path>
              <a:path w="302259" h="268604">
                <a:moveTo>
                  <a:pt x="265938" y="233933"/>
                </a:moveTo>
                <a:lnTo>
                  <a:pt x="261366" y="236219"/>
                </a:lnTo>
                <a:lnTo>
                  <a:pt x="264668" y="236219"/>
                </a:lnTo>
                <a:lnTo>
                  <a:pt x="265938" y="233933"/>
                </a:lnTo>
                <a:close/>
              </a:path>
              <a:path w="302259" h="268604">
                <a:moveTo>
                  <a:pt x="264668" y="236220"/>
                </a:moveTo>
                <a:lnTo>
                  <a:pt x="261366" y="236219"/>
                </a:lnTo>
                <a:lnTo>
                  <a:pt x="261366" y="242163"/>
                </a:lnTo>
                <a:lnTo>
                  <a:pt x="264668" y="236220"/>
                </a:lnTo>
                <a:close/>
              </a:path>
              <a:path w="302259" h="268604">
                <a:moveTo>
                  <a:pt x="265938" y="236219"/>
                </a:moveTo>
                <a:lnTo>
                  <a:pt x="265938" y="233933"/>
                </a:lnTo>
                <a:lnTo>
                  <a:pt x="264668" y="236220"/>
                </a:lnTo>
                <a:lnTo>
                  <a:pt x="265938" y="236219"/>
                </a:lnTo>
                <a:close/>
              </a:path>
              <a:path w="302259" h="268604">
                <a:moveTo>
                  <a:pt x="282702" y="256794"/>
                </a:moveTo>
                <a:lnTo>
                  <a:pt x="279469" y="256865"/>
                </a:lnTo>
                <a:lnTo>
                  <a:pt x="278130" y="259841"/>
                </a:lnTo>
                <a:lnTo>
                  <a:pt x="282702" y="256794"/>
                </a:lnTo>
                <a:close/>
              </a:path>
              <a:path w="302259" h="268604">
                <a:moveTo>
                  <a:pt x="296418" y="242797"/>
                </a:moveTo>
                <a:lnTo>
                  <a:pt x="296418" y="236219"/>
                </a:lnTo>
                <a:lnTo>
                  <a:pt x="288759" y="236219"/>
                </a:lnTo>
                <a:lnTo>
                  <a:pt x="279469" y="256865"/>
                </a:lnTo>
                <a:lnTo>
                  <a:pt x="282702" y="256794"/>
                </a:lnTo>
                <a:lnTo>
                  <a:pt x="282702" y="266699"/>
                </a:lnTo>
                <a:lnTo>
                  <a:pt x="284226" y="266699"/>
                </a:lnTo>
                <a:lnTo>
                  <a:pt x="285750" y="265176"/>
                </a:lnTo>
                <a:lnTo>
                  <a:pt x="286512" y="263652"/>
                </a:lnTo>
                <a:lnTo>
                  <a:pt x="296418" y="242797"/>
                </a:lnTo>
                <a:close/>
              </a:path>
              <a:path w="302259" h="268604">
                <a:moveTo>
                  <a:pt x="296418" y="236219"/>
                </a:moveTo>
                <a:lnTo>
                  <a:pt x="291846" y="229361"/>
                </a:lnTo>
                <a:lnTo>
                  <a:pt x="288759" y="236219"/>
                </a:lnTo>
                <a:lnTo>
                  <a:pt x="296418" y="2362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2" name="object 100"/>
          <p:cNvSpPr/>
          <p:nvPr/>
        </p:nvSpPr>
        <p:spPr>
          <a:xfrm>
            <a:off x="6924655" y="3437472"/>
            <a:ext cx="274164" cy="89951"/>
          </a:xfrm>
          <a:prstGeom prst="rect">
            <a:avLst/>
          </a:prstGeom>
          <a:blipFill>
            <a:blip r:embed="rId6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3" name="object 101"/>
          <p:cNvSpPr/>
          <p:nvPr/>
        </p:nvSpPr>
        <p:spPr>
          <a:xfrm>
            <a:off x="6920753" y="3435002"/>
            <a:ext cx="282347" cy="94948"/>
          </a:xfrm>
          <a:custGeom>
            <a:avLst/>
            <a:gdLst/>
            <a:ahLst/>
            <a:cxnLst/>
            <a:rect l="l" t="t" r="r" b="b"/>
            <a:pathLst>
              <a:path w="386079" h="205104">
                <a:moveTo>
                  <a:pt x="385571" y="200406"/>
                </a:moveTo>
                <a:lnTo>
                  <a:pt x="385571" y="198882"/>
                </a:lnTo>
                <a:lnTo>
                  <a:pt x="384809" y="197358"/>
                </a:lnTo>
                <a:lnTo>
                  <a:pt x="252221" y="2286"/>
                </a:lnTo>
                <a:lnTo>
                  <a:pt x="251459" y="762"/>
                </a:lnTo>
                <a:lnTo>
                  <a:pt x="249935" y="0"/>
                </a:lnTo>
                <a:lnTo>
                  <a:pt x="3047" y="762"/>
                </a:lnTo>
                <a:lnTo>
                  <a:pt x="1523" y="1524"/>
                </a:lnTo>
                <a:lnTo>
                  <a:pt x="0" y="4572"/>
                </a:lnTo>
                <a:lnTo>
                  <a:pt x="0" y="6096"/>
                </a:lnTo>
                <a:lnTo>
                  <a:pt x="1523" y="7620"/>
                </a:lnTo>
                <a:lnTo>
                  <a:pt x="5333" y="13531"/>
                </a:lnTo>
                <a:lnTo>
                  <a:pt x="5333" y="9906"/>
                </a:lnTo>
                <a:lnTo>
                  <a:pt x="9143" y="2286"/>
                </a:lnTo>
                <a:lnTo>
                  <a:pt x="14085" y="9906"/>
                </a:lnTo>
                <a:lnTo>
                  <a:pt x="244601" y="9906"/>
                </a:lnTo>
                <a:lnTo>
                  <a:pt x="244601" y="7620"/>
                </a:lnTo>
                <a:lnTo>
                  <a:pt x="248411" y="9906"/>
                </a:lnTo>
                <a:lnTo>
                  <a:pt x="248411" y="13257"/>
                </a:lnTo>
                <a:lnTo>
                  <a:pt x="371278" y="195072"/>
                </a:lnTo>
                <a:lnTo>
                  <a:pt x="380237" y="195072"/>
                </a:lnTo>
                <a:lnTo>
                  <a:pt x="380237" y="204978"/>
                </a:lnTo>
                <a:lnTo>
                  <a:pt x="382523" y="204978"/>
                </a:lnTo>
                <a:lnTo>
                  <a:pt x="384047" y="203454"/>
                </a:lnTo>
                <a:lnTo>
                  <a:pt x="385571" y="200406"/>
                </a:lnTo>
                <a:close/>
              </a:path>
              <a:path w="386079" h="205104">
                <a:moveTo>
                  <a:pt x="14085" y="9906"/>
                </a:moveTo>
                <a:lnTo>
                  <a:pt x="9143" y="2286"/>
                </a:lnTo>
                <a:lnTo>
                  <a:pt x="5333" y="9906"/>
                </a:lnTo>
                <a:lnTo>
                  <a:pt x="14085" y="9906"/>
                </a:lnTo>
                <a:close/>
              </a:path>
              <a:path w="386079" h="205104">
                <a:moveTo>
                  <a:pt x="134153" y="195072"/>
                </a:moveTo>
                <a:lnTo>
                  <a:pt x="14085" y="9906"/>
                </a:lnTo>
                <a:lnTo>
                  <a:pt x="5333" y="9906"/>
                </a:lnTo>
                <a:lnTo>
                  <a:pt x="5333" y="13531"/>
                </a:lnTo>
                <a:lnTo>
                  <a:pt x="127253" y="202692"/>
                </a:lnTo>
                <a:lnTo>
                  <a:pt x="128777" y="203454"/>
                </a:lnTo>
                <a:lnTo>
                  <a:pt x="129539" y="204978"/>
                </a:lnTo>
                <a:lnTo>
                  <a:pt x="131825" y="204978"/>
                </a:lnTo>
                <a:lnTo>
                  <a:pt x="131825" y="195072"/>
                </a:lnTo>
                <a:lnTo>
                  <a:pt x="134153" y="195072"/>
                </a:lnTo>
                <a:close/>
              </a:path>
              <a:path w="386079" h="205104">
                <a:moveTo>
                  <a:pt x="135635" y="197358"/>
                </a:moveTo>
                <a:lnTo>
                  <a:pt x="134153" y="195072"/>
                </a:lnTo>
                <a:lnTo>
                  <a:pt x="131825" y="195072"/>
                </a:lnTo>
                <a:lnTo>
                  <a:pt x="135635" y="197358"/>
                </a:lnTo>
                <a:close/>
              </a:path>
              <a:path w="386079" h="205104">
                <a:moveTo>
                  <a:pt x="135635" y="204978"/>
                </a:moveTo>
                <a:lnTo>
                  <a:pt x="135635" y="197358"/>
                </a:lnTo>
                <a:lnTo>
                  <a:pt x="131825" y="195072"/>
                </a:lnTo>
                <a:lnTo>
                  <a:pt x="131825" y="204978"/>
                </a:lnTo>
                <a:lnTo>
                  <a:pt x="135635" y="204978"/>
                </a:lnTo>
                <a:close/>
              </a:path>
              <a:path w="386079" h="205104">
                <a:moveTo>
                  <a:pt x="380237" y="204978"/>
                </a:moveTo>
                <a:lnTo>
                  <a:pt x="380237" y="195072"/>
                </a:lnTo>
                <a:lnTo>
                  <a:pt x="376427" y="202692"/>
                </a:lnTo>
                <a:lnTo>
                  <a:pt x="371278" y="195072"/>
                </a:lnTo>
                <a:lnTo>
                  <a:pt x="134153" y="195072"/>
                </a:lnTo>
                <a:lnTo>
                  <a:pt x="135635" y="197358"/>
                </a:lnTo>
                <a:lnTo>
                  <a:pt x="135635" y="204978"/>
                </a:lnTo>
                <a:lnTo>
                  <a:pt x="380237" y="204978"/>
                </a:lnTo>
                <a:close/>
              </a:path>
              <a:path w="386079" h="205104">
                <a:moveTo>
                  <a:pt x="248411" y="9906"/>
                </a:moveTo>
                <a:lnTo>
                  <a:pt x="244601" y="7620"/>
                </a:lnTo>
                <a:lnTo>
                  <a:pt x="246146" y="9906"/>
                </a:lnTo>
                <a:lnTo>
                  <a:pt x="248411" y="9906"/>
                </a:lnTo>
                <a:close/>
              </a:path>
              <a:path w="386079" h="205104">
                <a:moveTo>
                  <a:pt x="246146" y="9906"/>
                </a:moveTo>
                <a:lnTo>
                  <a:pt x="244601" y="7620"/>
                </a:lnTo>
                <a:lnTo>
                  <a:pt x="244601" y="9906"/>
                </a:lnTo>
                <a:lnTo>
                  <a:pt x="246146" y="9906"/>
                </a:lnTo>
                <a:close/>
              </a:path>
              <a:path w="386079" h="205104">
                <a:moveTo>
                  <a:pt x="248411" y="13257"/>
                </a:moveTo>
                <a:lnTo>
                  <a:pt x="248411" y="9906"/>
                </a:lnTo>
                <a:lnTo>
                  <a:pt x="246146" y="9906"/>
                </a:lnTo>
                <a:lnTo>
                  <a:pt x="248411" y="13257"/>
                </a:lnTo>
                <a:close/>
              </a:path>
              <a:path w="386079" h="205104">
                <a:moveTo>
                  <a:pt x="380237" y="195072"/>
                </a:moveTo>
                <a:lnTo>
                  <a:pt x="371278" y="195072"/>
                </a:lnTo>
                <a:lnTo>
                  <a:pt x="376427" y="202692"/>
                </a:lnTo>
                <a:lnTo>
                  <a:pt x="380237" y="1950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4" name="object 102"/>
          <p:cNvSpPr/>
          <p:nvPr/>
        </p:nvSpPr>
        <p:spPr>
          <a:xfrm>
            <a:off x="7275730" y="3423479"/>
            <a:ext cx="212317" cy="118758"/>
          </a:xfrm>
          <a:prstGeom prst="rect">
            <a:avLst/>
          </a:prstGeom>
          <a:blipFill>
            <a:blip r:embed="rId6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5" name="object 103"/>
          <p:cNvSpPr/>
          <p:nvPr/>
        </p:nvSpPr>
        <p:spPr>
          <a:xfrm>
            <a:off x="7271272" y="3420540"/>
            <a:ext cx="221048" cy="124050"/>
          </a:xfrm>
          <a:custGeom>
            <a:avLst/>
            <a:gdLst/>
            <a:ahLst/>
            <a:cxnLst/>
            <a:rect l="l" t="t" r="r" b="b"/>
            <a:pathLst>
              <a:path w="302259" h="267970">
                <a:moveTo>
                  <a:pt x="249965" y="242263"/>
                </a:moveTo>
                <a:lnTo>
                  <a:pt x="92201" y="2285"/>
                </a:lnTo>
                <a:lnTo>
                  <a:pt x="91439" y="761"/>
                </a:lnTo>
                <a:lnTo>
                  <a:pt x="89915" y="0"/>
                </a:lnTo>
                <a:lnTo>
                  <a:pt x="84581" y="38"/>
                </a:lnTo>
                <a:lnTo>
                  <a:pt x="16763" y="716"/>
                </a:lnTo>
                <a:lnTo>
                  <a:pt x="9905" y="761"/>
                </a:lnTo>
                <a:lnTo>
                  <a:pt x="8381" y="2285"/>
                </a:lnTo>
                <a:lnTo>
                  <a:pt x="7619" y="4571"/>
                </a:lnTo>
                <a:lnTo>
                  <a:pt x="761" y="31241"/>
                </a:lnTo>
                <a:lnTo>
                  <a:pt x="0" y="32765"/>
                </a:lnTo>
                <a:lnTo>
                  <a:pt x="0" y="34289"/>
                </a:lnTo>
                <a:lnTo>
                  <a:pt x="1523" y="35051"/>
                </a:lnTo>
                <a:lnTo>
                  <a:pt x="2285" y="36575"/>
                </a:lnTo>
                <a:lnTo>
                  <a:pt x="3809" y="37337"/>
                </a:lnTo>
                <a:lnTo>
                  <a:pt x="5333" y="37337"/>
                </a:lnTo>
                <a:lnTo>
                  <a:pt x="5333" y="27431"/>
                </a:lnTo>
                <a:lnTo>
                  <a:pt x="11473" y="27431"/>
                </a:lnTo>
                <a:lnTo>
                  <a:pt x="12191" y="24637"/>
                </a:lnTo>
                <a:lnTo>
                  <a:pt x="12191" y="10667"/>
                </a:lnTo>
                <a:lnTo>
                  <a:pt x="16763" y="6857"/>
                </a:lnTo>
                <a:lnTo>
                  <a:pt x="16763" y="10622"/>
                </a:lnTo>
                <a:lnTo>
                  <a:pt x="40722" y="10382"/>
                </a:lnTo>
                <a:lnTo>
                  <a:pt x="41909" y="5333"/>
                </a:lnTo>
                <a:lnTo>
                  <a:pt x="41909" y="3047"/>
                </a:lnTo>
                <a:lnTo>
                  <a:pt x="43433" y="1523"/>
                </a:lnTo>
                <a:lnTo>
                  <a:pt x="45719" y="1523"/>
                </a:lnTo>
                <a:lnTo>
                  <a:pt x="47243" y="761"/>
                </a:lnTo>
                <a:lnTo>
                  <a:pt x="49529" y="1523"/>
                </a:lnTo>
                <a:lnTo>
                  <a:pt x="50291" y="3047"/>
                </a:lnTo>
                <a:lnTo>
                  <a:pt x="54973" y="10240"/>
                </a:lnTo>
                <a:lnTo>
                  <a:pt x="84581" y="9944"/>
                </a:lnTo>
                <a:lnTo>
                  <a:pt x="84581" y="7619"/>
                </a:lnTo>
                <a:lnTo>
                  <a:pt x="88391" y="9905"/>
                </a:lnTo>
                <a:lnTo>
                  <a:pt x="88391" y="13424"/>
                </a:lnTo>
                <a:lnTo>
                  <a:pt x="246125" y="253745"/>
                </a:lnTo>
                <a:lnTo>
                  <a:pt x="246125" y="249173"/>
                </a:lnTo>
                <a:lnTo>
                  <a:pt x="249965" y="242263"/>
                </a:lnTo>
                <a:close/>
              </a:path>
              <a:path w="302259" h="267970">
                <a:moveTo>
                  <a:pt x="11473" y="27431"/>
                </a:moveTo>
                <a:lnTo>
                  <a:pt x="5333" y="27431"/>
                </a:lnTo>
                <a:lnTo>
                  <a:pt x="9905" y="33527"/>
                </a:lnTo>
                <a:lnTo>
                  <a:pt x="11473" y="27431"/>
                </a:lnTo>
                <a:close/>
              </a:path>
              <a:path w="302259" h="267970">
                <a:moveTo>
                  <a:pt x="36710" y="27431"/>
                </a:moveTo>
                <a:lnTo>
                  <a:pt x="11473" y="27431"/>
                </a:lnTo>
                <a:lnTo>
                  <a:pt x="9905" y="33527"/>
                </a:lnTo>
                <a:lnTo>
                  <a:pt x="5333" y="27431"/>
                </a:lnTo>
                <a:lnTo>
                  <a:pt x="5333" y="37337"/>
                </a:lnTo>
                <a:lnTo>
                  <a:pt x="35813" y="37337"/>
                </a:lnTo>
                <a:lnTo>
                  <a:pt x="35813" y="31241"/>
                </a:lnTo>
                <a:lnTo>
                  <a:pt x="36710" y="27431"/>
                </a:lnTo>
                <a:close/>
              </a:path>
              <a:path w="302259" h="267970">
                <a:moveTo>
                  <a:pt x="16763" y="6857"/>
                </a:moveTo>
                <a:lnTo>
                  <a:pt x="12191" y="10667"/>
                </a:lnTo>
                <a:lnTo>
                  <a:pt x="15793" y="10631"/>
                </a:lnTo>
                <a:lnTo>
                  <a:pt x="16763" y="6857"/>
                </a:lnTo>
                <a:close/>
              </a:path>
              <a:path w="302259" h="267970">
                <a:moveTo>
                  <a:pt x="15793" y="10631"/>
                </a:moveTo>
                <a:lnTo>
                  <a:pt x="12191" y="10667"/>
                </a:lnTo>
                <a:lnTo>
                  <a:pt x="12191" y="24637"/>
                </a:lnTo>
                <a:lnTo>
                  <a:pt x="15793" y="10631"/>
                </a:lnTo>
                <a:close/>
              </a:path>
              <a:path w="302259" h="267970">
                <a:moveTo>
                  <a:pt x="16763" y="10622"/>
                </a:moveTo>
                <a:lnTo>
                  <a:pt x="16763" y="6857"/>
                </a:lnTo>
                <a:lnTo>
                  <a:pt x="15793" y="10631"/>
                </a:lnTo>
                <a:lnTo>
                  <a:pt x="16763" y="10622"/>
                </a:lnTo>
                <a:close/>
              </a:path>
              <a:path w="302259" h="267970">
                <a:moveTo>
                  <a:pt x="40385" y="27431"/>
                </a:moveTo>
                <a:lnTo>
                  <a:pt x="36710" y="27431"/>
                </a:lnTo>
                <a:lnTo>
                  <a:pt x="35813" y="31241"/>
                </a:lnTo>
                <a:lnTo>
                  <a:pt x="40385" y="27431"/>
                </a:lnTo>
                <a:close/>
              </a:path>
              <a:path w="302259" h="267970">
                <a:moveTo>
                  <a:pt x="40385" y="37337"/>
                </a:moveTo>
                <a:lnTo>
                  <a:pt x="40385" y="27431"/>
                </a:lnTo>
                <a:lnTo>
                  <a:pt x="35813" y="31241"/>
                </a:lnTo>
                <a:lnTo>
                  <a:pt x="35813" y="37337"/>
                </a:lnTo>
                <a:lnTo>
                  <a:pt x="40385" y="37337"/>
                </a:lnTo>
                <a:close/>
              </a:path>
              <a:path w="302259" h="267970">
                <a:moveTo>
                  <a:pt x="48854" y="17853"/>
                </a:moveTo>
                <a:lnTo>
                  <a:pt x="43956" y="10350"/>
                </a:lnTo>
                <a:lnTo>
                  <a:pt x="40722" y="10382"/>
                </a:lnTo>
                <a:lnTo>
                  <a:pt x="36710" y="27431"/>
                </a:lnTo>
                <a:lnTo>
                  <a:pt x="40385" y="27431"/>
                </a:lnTo>
                <a:lnTo>
                  <a:pt x="40385" y="37337"/>
                </a:lnTo>
                <a:lnTo>
                  <a:pt x="42671" y="37337"/>
                </a:lnTo>
                <a:lnTo>
                  <a:pt x="44957" y="35813"/>
                </a:lnTo>
                <a:lnTo>
                  <a:pt x="45719" y="33527"/>
                </a:lnTo>
                <a:lnTo>
                  <a:pt x="48854" y="17853"/>
                </a:lnTo>
                <a:close/>
              </a:path>
              <a:path w="302259" h="267970">
                <a:moveTo>
                  <a:pt x="54973" y="10240"/>
                </a:moveTo>
                <a:lnTo>
                  <a:pt x="50291" y="3047"/>
                </a:lnTo>
                <a:lnTo>
                  <a:pt x="49529" y="1523"/>
                </a:lnTo>
                <a:lnTo>
                  <a:pt x="47243" y="761"/>
                </a:lnTo>
                <a:lnTo>
                  <a:pt x="45719" y="1523"/>
                </a:lnTo>
                <a:lnTo>
                  <a:pt x="43433" y="1523"/>
                </a:lnTo>
                <a:lnTo>
                  <a:pt x="41909" y="3047"/>
                </a:lnTo>
                <a:lnTo>
                  <a:pt x="41909" y="5333"/>
                </a:lnTo>
                <a:lnTo>
                  <a:pt x="40722" y="10382"/>
                </a:lnTo>
                <a:lnTo>
                  <a:pt x="42671" y="10363"/>
                </a:lnTo>
                <a:lnTo>
                  <a:pt x="42671" y="8381"/>
                </a:lnTo>
                <a:lnTo>
                  <a:pt x="51053" y="6857"/>
                </a:lnTo>
                <a:lnTo>
                  <a:pt x="51053" y="10279"/>
                </a:lnTo>
                <a:lnTo>
                  <a:pt x="54973" y="10240"/>
                </a:lnTo>
                <a:close/>
              </a:path>
              <a:path w="302259" h="267970">
                <a:moveTo>
                  <a:pt x="51053" y="6857"/>
                </a:moveTo>
                <a:lnTo>
                  <a:pt x="42671" y="8381"/>
                </a:lnTo>
                <a:lnTo>
                  <a:pt x="43956" y="10350"/>
                </a:lnTo>
                <a:lnTo>
                  <a:pt x="50368" y="10286"/>
                </a:lnTo>
                <a:lnTo>
                  <a:pt x="51053" y="6857"/>
                </a:lnTo>
                <a:close/>
              </a:path>
              <a:path w="302259" h="267970">
                <a:moveTo>
                  <a:pt x="43956" y="10350"/>
                </a:moveTo>
                <a:lnTo>
                  <a:pt x="42671" y="8381"/>
                </a:lnTo>
                <a:lnTo>
                  <a:pt x="42671" y="10363"/>
                </a:lnTo>
                <a:lnTo>
                  <a:pt x="43956" y="10350"/>
                </a:lnTo>
                <a:close/>
              </a:path>
              <a:path w="302259" h="267970">
                <a:moveTo>
                  <a:pt x="50368" y="10286"/>
                </a:moveTo>
                <a:lnTo>
                  <a:pt x="43956" y="10350"/>
                </a:lnTo>
                <a:lnTo>
                  <a:pt x="48854" y="17853"/>
                </a:lnTo>
                <a:lnTo>
                  <a:pt x="50368" y="10286"/>
                </a:lnTo>
                <a:close/>
              </a:path>
              <a:path w="302259" h="267970">
                <a:moveTo>
                  <a:pt x="216410" y="258267"/>
                </a:moveTo>
                <a:lnTo>
                  <a:pt x="54973" y="10240"/>
                </a:lnTo>
                <a:lnTo>
                  <a:pt x="50368" y="10286"/>
                </a:lnTo>
                <a:lnTo>
                  <a:pt x="48854" y="17853"/>
                </a:lnTo>
                <a:lnTo>
                  <a:pt x="210311" y="265176"/>
                </a:lnTo>
                <a:lnTo>
                  <a:pt x="211073" y="266699"/>
                </a:lnTo>
                <a:lnTo>
                  <a:pt x="212597" y="267462"/>
                </a:lnTo>
                <a:lnTo>
                  <a:pt x="214121" y="267462"/>
                </a:lnTo>
                <a:lnTo>
                  <a:pt x="214121" y="258317"/>
                </a:lnTo>
                <a:lnTo>
                  <a:pt x="216410" y="258267"/>
                </a:lnTo>
                <a:close/>
              </a:path>
              <a:path w="302259" h="267970">
                <a:moveTo>
                  <a:pt x="51053" y="10279"/>
                </a:moveTo>
                <a:lnTo>
                  <a:pt x="51053" y="6857"/>
                </a:lnTo>
                <a:lnTo>
                  <a:pt x="50368" y="10286"/>
                </a:lnTo>
                <a:lnTo>
                  <a:pt x="51053" y="10279"/>
                </a:lnTo>
                <a:close/>
              </a:path>
              <a:path w="302259" h="267970">
                <a:moveTo>
                  <a:pt x="88391" y="9905"/>
                </a:moveTo>
                <a:lnTo>
                  <a:pt x="84581" y="7619"/>
                </a:lnTo>
                <a:lnTo>
                  <a:pt x="86097" y="9928"/>
                </a:lnTo>
                <a:lnTo>
                  <a:pt x="88391" y="9905"/>
                </a:lnTo>
                <a:close/>
              </a:path>
              <a:path w="302259" h="267970">
                <a:moveTo>
                  <a:pt x="86097" y="9928"/>
                </a:moveTo>
                <a:lnTo>
                  <a:pt x="84581" y="7619"/>
                </a:lnTo>
                <a:lnTo>
                  <a:pt x="84581" y="9944"/>
                </a:lnTo>
                <a:lnTo>
                  <a:pt x="86097" y="9928"/>
                </a:lnTo>
                <a:close/>
              </a:path>
              <a:path w="302259" h="267970">
                <a:moveTo>
                  <a:pt x="88391" y="13424"/>
                </a:moveTo>
                <a:lnTo>
                  <a:pt x="88391" y="9905"/>
                </a:lnTo>
                <a:lnTo>
                  <a:pt x="86097" y="9928"/>
                </a:lnTo>
                <a:lnTo>
                  <a:pt x="88391" y="13424"/>
                </a:lnTo>
                <a:close/>
              </a:path>
              <a:path w="302259" h="267970">
                <a:moveTo>
                  <a:pt x="217931" y="260603"/>
                </a:moveTo>
                <a:lnTo>
                  <a:pt x="216410" y="258267"/>
                </a:lnTo>
                <a:lnTo>
                  <a:pt x="214121" y="258317"/>
                </a:lnTo>
                <a:lnTo>
                  <a:pt x="217931" y="260603"/>
                </a:lnTo>
                <a:close/>
              </a:path>
              <a:path w="302259" h="267970">
                <a:moveTo>
                  <a:pt x="217931" y="267377"/>
                </a:moveTo>
                <a:lnTo>
                  <a:pt x="217931" y="260603"/>
                </a:lnTo>
                <a:lnTo>
                  <a:pt x="214121" y="258317"/>
                </a:lnTo>
                <a:lnTo>
                  <a:pt x="214121" y="267462"/>
                </a:lnTo>
                <a:lnTo>
                  <a:pt x="217931" y="267377"/>
                </a:lnTo>
                <a:close/>
              </a:path>
              <a:path w="302259" h="267970">
                <a:moveTo>
                  <a:pt x="282701" y="265938"/>
                </a:moveTo>
                <a:lnTo>
                  <a:pt x="282701" y="256794"/>
                </a:lnTo>
                <a:lnTo>
                  <a:pt x="278129" y="259079"/>
                </a:lnTo>
                <a:lnTo>
                  <a:pt x="278129" y="256895"/>
                </a:lnTo>
                <a:lnTo>
                  <a:pt x="216410" y="258267"/>
                </a:lnTo>
                <a:lnTo>
                  <a:pt x="217931" y="260603"/>
                </a:lnTo>
                <a:lnTo>
                  <a:pt x="217931" y="267377"/>
                </a:lnTo>
                <a:lnTo>
                  <a:pt x="278129" y="266039"/>
                </a:lnTo>
                <a:lnTo>
                  <a:pt x="278129" y="259079"/>
                </a:lnTo>
                <a:lnTo>
                  <a:pt x="279205" y="256871"/>
                </a:lnTo>
                <a:lnTo>
                  <a:pt x="279205" y="266015"/>
                </a:lnTo>
                <a:lnTo>
                  <a:pt x="282701" y="265938"/>
                </a:lnTo>
                <a:close/>
              </a:path>
              <a:path w="302259" h="267970">
                <a:moveTo>
                  <a:pt x="254507" y="249173"/>
                </a:moveTo>
                <a:lnTo>
                  <a:pt x="249965" y="242263"/>
                </a:lnTo>
                <a:lnTo>
                  <a:pt x="246125" y="249173"/>
                </a:lnTo>
                <a:lnTo>
                  <a:pt x="254507" y="249173"/>
                </a:lnTo>
                <a:close/>
              </a:path>
              <a:path w="302259" h="267970">
                <a:moveTo>
                  <a:pt x="254507" y="253745"/>
                </a:moveTo>
                <a:lnTo>
                  <a:pt x="254507" y="249173"/>
                </a:lnTo>
                <a:lnTo>
                  <a:pt x="246125" y="249173"/>
                </a:lnTo>
                <a:lnTo>
                  <a:pt x="246125" y="253745"/>
                </a:lnTo>
                <a:lnTo>
                  <a:pt x="247649" y="255269"/>
                </a:lnTo>
                <a:lnTo>
                  <a:pt x="249173" y="256031"/>
                </a:lnTo>
                <a:lnTo>
                  <a:pt x="252221" y="256031"/>
                </a:lnTo>
                <a:lnTo>
                  <a:pt x="253745" y="255269"/>
                </a:lnTo>
                <a:lnTo>
                  <a:pt x="254507" y="253745"/>
                </a:lnTo>
                <a:close/>
              </a:path>
              <a:path w="302259" h="267970">
                <a:moveTo>
                  <a:pt x="301751" y="231647"/>
                </a:moveTo>
                <a:lnTo>
                  <a:pt x="301751" y="230123"/>
                </a:lnTo>
                <a:lnTo>
                  <a:pt x="300227" y="227075"/>
                </a:lnTo>
                <a:lnTo>
                  <a:pt x="298703" y="226313"/>
                </a:lnTo>
                <a:lnTo>
                  <a:pt x="259841" y="226313"/>
                </a:lnTo>
                <a:lnTo>
                  <a:pt x="258317" y="227075"/>
                </a:lnTo>
                <a:lnTo>
                  <a:pt x="257555" y="228599"/>
                </a:lnTo>
                <a:lnTo>
                  <a:pt x="249965" y="242263"/>
                </a:lnTo>
                <a:lnTo>
                  <a:pt x="254507" y="249173"/>
                </a:lnTo>
                <a:lnTo>
                  <a:pt x="254507" y="253745"/>
                </a:lnTo>
                <a:lnTo>
                  <a:pt x="262127" y="240029"/>
                </a:lnTo>
                <a:lnTo>
                  <a:pt x="262127" y="235457"/>
                </a:lnTo>
                <a:lnTo>
                  <a:pt x="265937" y="233171"/>
                </a:lnTo>
                <a:lnTo>
                  <a:pt x="265937" y="235457"/>
                </a:lnTo>
                <a:lnTo>
                  <a:pt x="289638" y="235457"/>
                </a:lnTo>
                <a:lnTo>
                  <a:pt x="292607" y="229361"/>
                </a:lnTo>
                <a:lnTo>
                  <a:pt x="296417" y="235457"/>
                </a:lnTo>
                <a:lnTo>
                  <a:pt x="296417" y="243331"/>
                </a:lnTo>
                <a:lnTo>
                  <a:pt x="300989" y="233171"/>
                </a:lnTo>
                <a:lnTo>
                  <a:pt x="301751" y="231647"/>
                </a:lnTo>
                <a:close/>
              </a:path>
              <a:path w="302259" h="267970">
                <a:moveTo>
                  <a:pt x="265937" y="233171"/>
                </a:moveTo>
                <a:lnTo>
                  <a:pt x="262127" y="235457"/>
                </a:lnTo>
                <a:lnTo>
                  <a:pt x="264667" y="235457"/>
                </a:lnTo>
                <a:lnTo>
                  <a:pt x="265937" y="233171"/>
                </a:lnTo>
                <a:close/>
              </a:path>
              <a:path w="302259" h="267970">
                <a:moveTo>
                  <a:pt x="264667" y="235457"/>
                </a:moveTo>
                <a:lnTo>
                  <a:pt x="262127" y="235457"/>
                </a:lnTo>
                <a:lnTo>
                  <a:pt x="262127" y="240029"/>
                </a:lnTo>
                <a:lnTo>
                  <a:pt x="264667" y="235457"/>
                </a:lnTo>
                <a:close/>
              </a:path>
              <a:path w="302259" h="267970">
                <a:moveTo>
                  <a:pt x="265937" y="235457"/>
                </a:moveTo>
                <a:lnTo>
                  <a:pt x="265937" y="233171"/>
                </a:lnTo>
                <a:lnTo>
                  <a:pt x="264667" y="235457"/>
                </a:lnTo>
                <a:lnTo>
                  <a:pt x="265937" y="235457"/>
                </a:lnTo>
                <a:close/>
              </a:path>
              <a:path w="302259" h="267970">
                <a:moveTo>
                  <a:pt x="282701" y="256794"/>
                </a:moveTo>
                <a:lnTo>
                  <a:pt x="279205" y="256871"/>
                </a:lnTo>
                <a:lnTo>
                  <a:pt x="278129" y="259079"/>
                </a:lnTo>
                <a:lnTo>
                  <a:pt x="282701" y="256794"/>
                </a:lnTo>
                <a:close/>
              </a:path>
              <a:path w="302259" h="267970">
                <a:moveTo>
                  <a:pt x="296417" y="243331"/>
                </a:moveTo>
                <a:lnTo>
                  <a:pt x="296417" y="235457"/>
                </a:lnTo>
                <a:lnTo>
                  <a:pt x="289638" y="235457"/>
                </a:lnTo>
                <a:lnTo>
                  <a:pt x="279205" y="256871"/>
                </a:lnTo>
                <a:lnTo>
                  <a:pt x="282701" y="256794"/>
                </a:lnTo>
                <a:lnTo>
                  <a:pt x="282701" y="265938"/>
                </a:lnTo>
                <a:lnTo>
                  <a:pt x="284987" y="265938"/>
                </a:lnTo>
                <a:lnTo>
                  <a:pt x="286511" y="265176"/>
                </a:lnTo>
                <a:lnTo>
                  <a:pt x="287273" y="263652"/>
                </a:lnTo>
                <a:lnTo>
                  <a:pt x="296417" y="243331"/>
                </a:lnTo>
                <a:close/>
              </a:path>
              <a:path w="302259" h="267970">
                <a:moveTo>
                  <a:pt x="296417" y="235457"/>
                </a:moveTo>
                <a:lnTo>
                  <a:pt x="292607" y="229361"/>
                </a:lnTo>
                <a:lnTo>
                  <a:pt x="289638" y="235457"/>
                </a:lnTo>
                <a:lnTo>
                  <a:pt x="296417" y="2354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6" name="object 104"/>
          <p:cNvSpPr/>
          <p:nvPr/>
        </p:nvSpPr>
        <p:spPr>
          <a:xfrm>
            <a:off x="7138086" y="3437472"/>
            <a:ext cx="274721" cy="89951"/>
          </a:xfrm>
          <a:prstGeom prst="rect">
            <a:avLst/>
          </a:prstGeom>
          <a:blipFill>
            <a:blip r:embed="rId6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7" name="object 105"/>
          <p:cNvSpPr/>
          <p:nvPr/>
        </p:nvSpPr>
        <p:spPr>
          <a:xfrm>
            <a:off x="7134184" y="3435002"/>
            <a:ext cx="282347" cy="94654"/>
          </a:xfrm>
          <a:custGeom>
            <a:avLst/>
            <a:gdLst/>
            <a:ahLst/>
            <a:cxnLst/>
            <a:rect l="l" t="t" r="r" b="b"/>
            <a:pathLst>
              <a:path w="386079" h="204470">
                <a:moveTo>
                  <a:pt x="385571" y="200406"/>
                </a:moveTo>
                <a:lnTo>
                  <a:pt x="385571" y="198882"/>
                </a:lnTo>
                <a:lnTo>
                  <a:pt x="384809" y="197358"/>
                </a:lnTo>
                <a:lnTo>
                  <a:pt x="252221" y="2286"/>
                </a:lnTo>
                <a:lnTo>
                  <a:pt x="249935" y="0"/>
                </a:lnTo>
                <a:lnTo>
                  <a:pt x="3809" y="762"/>
                </a:lnTo>
                <a:lnTo>
                  <a:pt x="2285" y="1524"/>
                </a:lnTo>
                <a:lnTo>
                  <a:pt x="761" y="3048"/>
                </a:lnTo>
                <a:lnTo>
                  <a:pt x="0" y="4572"/>
                </a:lnTo>
                <a:lnTo>
                  <a:pt x="0" y="6858"/>
                </a:lnTo>
                <a:lnTo>
                  <a:pt x="1523" y="8382"/>
                </a:lnTo>
                <a:lnTo>
                  <a:pt x="5333" y="14234"/>
                </a:lnTo>
                <a:lnTo>
                  <a:pt x="5333" y="9906"/>
                </a:lnTo>
                <a:lnTo>
                  <a:pt x="9143" y="3048"/>
                </a:lnTo>
                <a:lnTo>
                  <a:pt x="13608" y="9906"/>
                </a:lnTo>
                <a:lnTo>
                  <a:pt x="244601" y="9906"/>
                </a:lnTo>
                <a:lnTo>
                  <a:pt x="244601" y="7620"/>
                </a:lnTo>
                <a:lnTo>
                  <a:pt x="248411" y="9906"/>
                </a:lnTo>
                <a:lnTo>
                  <a:pt x="248411" y="13225"/>
                </a:lnTo>
                <a:lnTo>
                  <a:pt x="372010" y="195072"/>
                </a:lnTo>
                <a:lnTo>
                  <a:pt x="380999" y="195072"/>
                </a:lnTo>
                <a:lnTo>
                  <a:pt x="380999" y="204216"/>
                </a:lnTo>
                <a:lnTo>
                  <a:pt x="382523" y="204216"/>
                </a:lnTo>
                <a:lnTo>
                  <a:pt x="384047" y="203454"/>
                </a:lnTo>
                <a:lnTo>
                  <a:pt x="385571" y="200406"/>
                </a:lnTo>
                <a:close/>
              </a:path>
              <a:path w="386079" h="204470">
                <a:moveTo>
                  <a:pt x="13608" y="9906"/>
                </a:moveTo>
                <a:lnTo>
                  <a:pt x="9143" y="3048"/>
                </a:lnTo>
                <a:lnTo>
                  <a:pt x="5333" y="9906"/>
                </a:lnTo>
                <a:lnTo>
                  <a:pt x="13608" y="9906"/>
                </a:lnTo>
                <a:close/>
              </a:path>
              <a:path w="386079" h="204470">
                <a:moveTo>
                  <a:pt x="134147" y="195072"/>
                </a:moveTo>
                <a:lnTo>
                  <a:pt x="13608" y="9906"/>
                </a:lnTo>
                <a:lnTo>
                  <a:pt x="5333" y="9906"/>
                </a:lnTo>
                <a:lnTo>
                  <a:pt x="5333" y="14234"/>
                </a:lnTo>
                <a:lnTo>
                  <a:pt x="128015" y="202692"/>
                </a:lnTo>
                <a:lnTo>
                  <a:pt x="128777" y="203454"/>
                </a:lnTo>
                <a:lnTo>
                  <a:pt x="130301" y="204216"/>
                </a:lnTo>
                <a:lnTo>
                  <a:pt x="131825" y="204216"/>
                </a:lnTo>
                <a:lnTo>
                  <a:pt x="131825" y="195072"/>
                </a:lnTo>
                <a:lnTo>
                  <a:pt x="134147" y="195072"/>
                </a:lnTo>
                <a:close/>
              </a:path>
              <a:path w="386079" h="204470">
                <a:moveTo>
                  <a:pt x="135635" y="197358"/>
                </a:moveTo>
                <a:lnTo>
                  <a:pt x="134147" y="195072"/>
                </a:lnTo>
                <a:lnTo>
                  <a:pt x="131825" y="195072"/>
                </a:lnTo>
                <a:lnTo>
                  <a:pt x="135635" y="197358"/>
                </a:lnTo>
                <a:close/>
              </a:path>
              <a:path w="386079" h="204470">
                <a:moveTo>
                  <a:pt x="135635" y="204216"/>
                </a:moveTo>
                <a:lnTo>
                  <a:pt x="135635" y="197358"/>
                </a:lnTo>
                <a:lnTo>
                  <a:pt x="131825" y="195072"/>
                </a:lnTo>
                <a:lnTo>
                  <a:pt x="131825" y="204216"/>
                </a:lnTo>
                <a:lnTo>
                  <a:pt x="135635" y="204216"/>
                </a:lnTo>
                <a:close/>
              </a:path>
              <a:path w="386079" h="204470">
                <a:moveTo>
                  <a:pt x="380999" y="204216"/>
                </a:moveTo>
                <a:lnTo>
                  <a:pt x="380999" y="195072"/>
                </a:lnTo>
                <a:lnTo>
                  <a:pt x="377189" y="202692"/>
                </a:lnTo>
                <a:lnTo>
                  <a:pt x="372010" y="195072"/>
                </a:lnTo>
                <a:lnTo>
                  <a:pt x="134147" y="195072"/>
                </a:lnTo>
                <a:lnTo>
                  <a:pt x="135635" y="197358"/>
                </a:lnTo>
                <a:lnTo>
                  <a:pt x="135635" y="204216"/>
                </a:lnTo>
                <a:lnTo>
                  <a:pt x="380999" y="204216"/>
                </a:lnTo>
                <a:close/>
              </a:path>
              <a:path w="386079" h="204470">
                <a:moveTo>
                  <a:pt x="248411" y="9906"/>
                </a:moveTo>
                <a:lnTo>
                  <a:pt x="244601" y="7620"/>
                </a:lnTo>
                <a:lnTo>
                  <a:pt x="246155" y="9906"/>
                </a:lnTo>
                <a:lnTo>
                  <a:pt x="248411" y="9906"/>
                </a:lnTo>
                <a:close/>
              </a:path>
              <a:path w="386079" h="204470">
                <a:moveTo>
                  <a:pt x="246155" y="9906"/>
                </a:moveTo>
                <a:lnTo>
                  <a:pt x="244601" y="7620"/>
                </a:lnTo>
                <a:lnTo>
                  <a:pt x="244601" y="9906"/>
                </a:lnTo>
                <a:lnTo>
                  <a:pt x="246155" y="9906"/>
                </a:lnTo>
                <a:close/>
              </a:path>
              <a:path w="386079" h="204470">
                <a:moveTo>
                  <a:pt x="248411" y="13225"/>
                </a:moveTo>
                <a:lnTo>
                  <a:pt x="248411" y="9906"/>
                </a:lnTo>
                <a:lnTo>
                  <a:pt x="246155" y="9906"/>
                </a:lnTo>
                <a:lnTo>
                  <a:pt x="248411" y="13225"/>
                </a:lnTo>
                <a:close/>
              </a:path>
              <a:path w="386079" h="204470">
                <a:moveTo>
                  <a:pt x="380999" y="195072"/>
                </a:moveTo>
                <a:lnTo>
                  <a:pt x="372010" y="195072"/>
                </a:lnTo>
                <a:lnTo>
                  <a:pt x="377189" y="202692"/>
                </a:lnTo>
                <a:lnTo>
                  <a:pt x="380999" y="1950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8" name="object 106"/>
          <p:cNvSpPr/>
          <p:nvPr/>
        </p:nvSpPr>
        <p:spPr>
          <a:xfrm>
            <a:off x="7488048" y="3423479"/>
            <a:ext cx="212865" cy="118758"/>
          </a:xfrm>
          <a:prstGeom prst="rect">
            <a:avLst/>
          </a:prstGeom>
          <a:blipFill>
            <a:blip r:embed="rId6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59" name="object 107"/>
          <p:cNvSpPr/>
          <p:nvPr/>
        </p:nvSpPr>
        <p:spPr>
          <a:xfrm>
            <a:off x="7484146" y="3420540"/>
            <a:ext cx="221048" cy="124050"/>
          </a:xfrm>
          <a:custGeom>
            <a:avLst/>
            <a:gdLst/>
            <a:ahLst/>
            <a:cxnLst/>
            <a:rect l="l" t="t" r="r" b="b"/>
            <a:pathLst>
              <a:path w="302259" h="267970">
                <a:moveTo>
                  <a:pt x="249965" y="242263"/>
                </a:moveTo>
                <a:lnTo>
                  <a:pt x="92202" y="2285"/>
                </a:lnTo>
                <a:lnTo>
                  <a:pt x="91440" y="761"/>
                </a:lnTo>
                <a:lnTo>
                  <a:pt x="89916" y="0"/>
                </a:lnTo>
                <a:lnTo>
                  <a:pt x="84582" y="38"/>
                </a:lnTo>
                <a:lnTo>
                  <a:pt x="16764" y="716"/>
                </a:lnTo>
                <a:lnTo>
                  <a:pt x="9906" y="761"/>
                </a:lnTo>
                <a:lnTo>
                  <a:pt x="8382" y="2285"/>
                </a:lnTo>
                <a:lnTo>
                  <a:pt x="7620" y="4571"/>
                </a:lnTo>
                <a:lnTo>
                  <a:pt x="0" y="31241"/>
                </a:lnTo>
                <a:lnTo>
                  <a:pt x="0" y="34289"/>
                </a:lnTo>
                <a:lnTo>
                  <a:pt x="3048" y="37337"/>
                </a:lnTo>
                <a:lnTo>
                  <a:pt x="4572" y="37337"/>
                </a:lnTo>
                <a:lnTo>
                  <a:pt x="4572" y="27431"/>
                </a:lnTo>
                <a:lnTo>
                  <a:pt x="10885" y="27431"/>
                </a:lnTo>
                <a:lnTo>
                  <a:pt x="12192" y="22859"/>
                </a:lnTo>
                <a:lnTo>
                  <a:pt x="12192" y="10667"/>
                </a:lnTo>
                <a:lnTo>
                  <a:pt x="16764" y="6857"/>
                </a:lnTo>
                <a:lnTo>
                  <a:pt x="16764" y="10622"/>
                </a:lnTo>
                <a:lnTo>
                  <a:pt x="40722" y="10382"/>
                </a:lnTo>
                <a:lnTo>
                  <a:pt x="41910" y="5333"/>
                </a:lnTo>
                <a:lnTo>
                  <a:pt x="41910" y="3047"/>
                </a:lnTo>
                <a:lnTo>
                  <a:pt x="43434" y="1523"/>
                </a:lnTo>
                <a:lnTo>
                  <a:pt x="45720" y="1523"/>
                </a:lnTo>
                <a:lnTo>
                  <a:pt x="47244" y="761"/>
                </a:lnTo>
                <a:lnTo>
                  <a:pt x="49530" y="1523"/>
                </a:lnTo>
                <a:lnTo>
                  <a:pt x="50292" y="3047"/>
                </a:lnTo>
                <a:lnTo>
                  <a:pt x="54973" y="10240"/>
                </a:lnTo>
                <a:lnTo>
                  <a:pt x="84582" y="9944"/>
                </a:lnTo>
                <a:lnTo>
                  <a:pt x="84582" y="7619"/>
                </a:lnTo>
                <a:lnTo>
                  <a:pt x="88392" y="9905"/>
                </a:lnTo>
                <a:lnTo>
                  <a:pt x="88392" y="13424"/>
                </a:lnTo>
                <a:lnTo>
                  <a:pt x="246126" y="253745"/>
                </a:lnTo>
                <a:lnTo>
                  <a:pt x="246126" y="249173"/>
                </a:lnTo>
                <a:lnTo>
                  <a:pt x="249965" y="242263"/>
                </a:lnTo>
                <a:close/>
              </a:path>
              <a:path w="302259" h="267970">
                <a:moveTo>
                  <a:pt x="10885" y="27431"/>
                </a:moveTo>
                <a:lnTo>
                  <a:pt x="4572" y="27431"/>
                </a:lnTo>
                <a:lnTo>
                  <a:pt x="9144" y="33527"/>
                </a:lnTo>
                <a:lnTo>
                  <a:pt x="10885" y="27431"/>
                </a:lnTo>
                <a:close/>
              </a:path>
              <a:path w="302259" h="267970">
                <a:moveTo>
                  <a:pt x="36710" y="27431"/>
                </a:moveTo>
                <a:lnTo>
                  <a:pt x="10885" y="27431"/>
                </a:lnTo>
                <a:lnTo>
                  <a:pt x="9144" y="33527"/>
                </a:lnTo>
                <a:lnTo>
                  <a:pt x="4572" y="27431"/>
                </a:lnTo>
                <a:lnTo>
                  <a:pt x="4572" y="37337"/>
                </a:lnTo>
                <a:lnTo>
                  <a:pt x="35814" y="37337"/>
                </a:lnTo>
                <a:lnTo>
                  <a:pt x="35814" y="31241"/>
                </a:lnTo>
                <a:lnTo>
                  <a:pt x="36710" y="27431"/>
                </a:lnTo>
                <a:close/>
              </a:path>
              <a:path w="302259" h="267970">
                <a:moveTo>
                  <a:pt x="16764" y="6857"/>
                </a:moveTo>
                <a:lnTo>
                  <a:pt x="12192" y="10667"/>
                </a:lnTo>
                <a:lnTo>
                  <a:pt x="15685" y="10633"/>
                </a:lnTo>
                <a:lnTo>
                  <a:pt x="16764" y="6857"/>
                </a:lnTo>
                <a:close/>
              </a:path>
              <a:path w="302259" h="267970">
                <a:moveTo>
                  <a:pt x="15685" y="10633"/>
                </a:moveTo>
                <a:lnTo>
                  <a:pt x="12192" y="10667"/>
                </a:lnTo>
                <a:lnTo>
                  <a:pt x="12192" y="22859"/>
                </a:lnTo>
                <a:lnTo>
                  <a:pt x="15685" y="10633"/>
                </a:lnTo>
                <a:close/>
              </a:path>
              <a:path w="302259" h="267970">
                <a:moveTo>
                  <a:pt x="16764" y="10622"/>
                </a:moveTo>
                <a:lnTo>
                  <a:pt x="16764" y="6857"/>
                </a:lnTo>
                <a:lnTo>
                  <a:pt x="15685" y="10633"/>
                </a:lnTo>
                <a:lnTo>
                  <a:pt x="16764" y="10622"/>
                </a:lnTo>
                <a:close/>
              </a:path>
              <a:path w="302259" h="267970">
                <a:moveTo>
                  <a:pt x="40386" y="27431"/>
                </a:moveTo>
                <a:lnTo>
                  <a:pt x="36710" y="27431"/>
                </a:lnTo>
                <a:lnTo>
                  <a:pt x="35814" y="31241"/>
                </a:lnTo>
                <a:lnTo>
                  <a:pt x="40386" y="27431"/>
                </a:lnTo>
                <a:close/>
              </a:path>
              <a:path w="302259" h="267970">
                <a:moveTo>
                  <a:pt x="40386" y="37337"/>
                </a:moveTo>
                <a:lnTo>
                  <a:pt x="40386" y="27431"/>
                </a:lnTo>
                <a:lnTo>
                  <a:pt x="35814" y="31241"/>
                </a:lnTo>
                <a:lnTo>
                  <a:pt x="35814" y="37337"/>
                </a:lnTo>
                <a:lnTo>
                  <a:pt x="40386" y="37337"/>
                </a:lnTo>
                <a:close/>
              </a:path>
              <a:path w="302259" h="267970">
                <a:moveTo>
                  <a:pt x="48622" y="17496"/>
                </a:moveTo>
                <a:lnTo>
                  <a:pt x="43956" y="10350"/>
                </a:lnTo>
                <a:lnTo>
                  <a:pt x="40722" y="10382"/>
                </a:lnTo>
                <a:lnTo>
                  <a:pt x="36710" y="27431"/>
                </a:lnTo>
                <a:lnTo>
                  <a:pt x="40386" y="27431"/>
                </a:lnTo>
                <a:lnTo>
                  <a:pt x="40386" y="37337"/>
                </a:lnTo>
                <a:lnTo>
                  <a:pt x="42672" y="37337"/>
                </a:lnTo>
                <a:lnTo>
                  <a:pt x="44958" y="35813"/>
                </a:lnTo>
                <a:lnTo>
                  <a:pt x="44958" y="33527"/>
                </a:lnTo>
                <a:lnTo>
                  <a:pt x="48622" y="17496"/>
                </a:lnTo>
                <a:close/>
              </a:path>
              <a:path w="302259" h="267970">
                <a:moveTo>
                  <a:pt x="54973" y="10240"/>
                </a:moveTo>
                <a:lnTo>
                  <a:pt x="50270" y="3004"/>
                </a:lnTo>
                <a:lnTo>
                  <a:pt x="49530" y="1523"/>
                </a:lnTo>
                <a:lnTo>
                  <a:pt x="47244" y="761"/>
                </a:lnTo>
                <a:lnTo>
                  <a:pt x="45720" y="1523"/>
                </a:lnTo>
                <a:lnTo>
                  <a:pt x="43434" y="1523"/>
                </a:lnTo>
                <a:lnTo>
                  <a:pt x="41910" y="3047"/>
                </a:lnTo>
                <a:lnTo>
                  <a:pt x="41910" y="5333"/>
                </a:lnTo>
                <a:lnTo>
                  <a:pt x="40722" y="10382"/>
                </a:lnTo>
                <a:lnTo>
                  <a:pt x="42672" y="10363"/>
                </a:lnTo>
                <a:lnTo>
                  <a:pt x="42672" y="8381"/>
                </a:lnTo>
                <a:lnTo>
                  <a:pt x="51054" y="6857"/>
                </a:lnTo>
                <a:lnTo>
                  <a:pt x="51054" y="10279"/>
                </a:lnTo>
                <a:lnTo>
                  <a:pt x="54973" y="10240"/>
                </a:lnTo>
                <a:close/>
              </a:path>
              <a:path w="302259" h="267970">
                <a:moveTo>
                  <a:pt x="51054" y="6857"/>
                </a:moveTo>
                <a:lnTo>
                  <a:pt x="42672" y="8381"/>
                </a:lnTo>
                <a:lnTo>
                  <a:pt x="43956" y="10350"/>
                </a:lnTo>
                <a:lnTo>
                  <a:pt x="50270" y="10287"/>
                </a:lnTo>
                <a:lnTo>
                  <a:pt x="51054" y="6857"/>
                </a:lnTo>
                <a:close/>
              </a:path>
              <a:path w="302259" h="267970">
                <a:moveTo>
                  <a:pt x="43956" y="10350"/>
                </a:moveTo>
                <a:lnTo>
                  <a:pt x="42672" y="8381"/>
                </a:lnTo>
                <a:lnTo>
                  <a:pt x="42672" y="10363"/>
                </a:lnTo>
                <a:lnTo>
                  <a:pt x="43956" y="10350"/>
                </a:lnTo>
                <a:close/>
              </a:path>
              <a:path w="302259" h="267970">
                <a:moveTo>
                  <a:pt x="50270" y="10287"/>
                </a:moveTo>
                <a:lnTo>
                  <a:pt x="43956" y="10350"/>
                </a:lnTo>
                <a:lnTo>
                  <a:pt x="48622" y="17496"/>
                </a:lnTo>
                <a:lnTo>
                  <a:pt x="50270" y="10287"/>
                </a:lnTo>
                <a:close/>
              </a:path>
              <a:path w="302259" h="267970">
                <a:moveTo>
                  <a:pt x="216410" y="258267"/>
                </a:moveTo>
                <a:lnTo>
                  <a:pt x="54973" y="10240"/>
                </a:lnTo>
                <a:lnTo>
                  <a:pt x="50270" y="10287"/>
                </a:lnTo>
                <a:lnTo>
                  <a:pt x="48622" y="17496"/>
                </a:lnTo>
                <a:lnTo>
                  <a:pt x="210312" y="265176"/>
                </a:lnTo>
                <a:lnTo>
                  <a:pt x="211074" y="266699"/>
                </a:lnTo>
                <a:lnTo>
                  <a:pt x="212598" y="267462"/>
                </a:lnTo>
                <a:lnTo>
                  <a:pt x="214122" y="267462"/>
                </a:lnTo>
                <a:lnTo>
                  <a:pt x="214122" y="258317"/>
                </a:lnTo>
                <a:lnTo>
                  <a:pt x="216410" y="258267"/>
                </a:lnTo>
                <a:close/>
              </a:path>
              <a:path w="302259" h="267970">
                <a:moveTo>
                  <a:pt x="51054" y="10279"/>
                </a:moveTo>
                <a:lnTo>
                  <a:pt x="51054" y="6857"/>
                </a:lnTo>
                <a:lnTo>
                  <a:pt x="50270" y="10287"/>
                </a:lnTo>
                <a:lnTo>
                  <a:pt x="51054" y="10279"/>
                </a:lnTo>
                <a:close/>
              </a:path>
              <a:path w="302259" h="267970">
                <a:moveTo>
                  <a:pt x="88392" y="9905"/>
                </a:moveTo>
                <a:lnTo>
                  <a:pt x="84582" y="7619"/>
                </a:lnTo>
                <a:lnTo>
                  <a:pt x="86097" y="9928"/>
                </a:lnTo>
                <a:lnTo>
                  <a:pt x="88392" y="9905"/>
                </a:lnTo>
                <a:close/>
              </a:path>
              <a:path w="302259" h="267970">
                <a:moveTo>
                  <a:pt x="86097" y="9928"/>
                </a:moveTo>
                <a:lnTo>
                  <a:pt x="84582" y="7619"/>
                </a:lnTo>
                <a:lnTo>
                  <a:pt x="84582" y="9944"/>
                </a:lnTo>
                <a:lnTo>
                  <a:pt x="86097" y="9928"/>
                </a:lnTo>
                <a:close/>
              </a:path>
              <a:path w="302259" h="267970">
                <a:moveTo>
                  <a:pt x="88392" y="13424"/>
                </a:moveTo>
                <a:lnTo>
                  <a:pt x="88392" y="9905"/>
                </a:lnTo>
                <a:lnTo>
                  <a:pt x="86097" y="9928"/>
                </a:lnTo>
                <a:lnTo>
                  <a:pt x="88392" y="13424"/>
                </a:lnTo>
                <a:close/>
              </a:path>
              <a:path w="302259" h="267970">
                <a:moveTo>
                  <a:pt x="217932" y="260603"/>
                </a:moveTo>
                <a:lnTo>
                  <a:pt x="216410" y="258267"/>
                </a:lnTo>
                <a:lnTo>
                  <a:pt x="214122" y="258317"/>
                </a:lnTo>
                <a:lnTo>
                  <a:pt x="217932" y="260603"/>
                </a:lnTo>
                <a:close/>
              </a:path>
              <a:path w="302259" h="267970">
                <a:moveTo>
                  <a:pt x="217932" y="267377"/>
                </a:moveTo>
                <a:lnTo>
                  <a:pt x="217932" y="260603"/>
                </a:lnTo>
                <a:lnTo>
                  <a:pt x="214122" y="258317"/>
                </a:lnTo>
                <a:lnTo>
                  <a:pt x="214122" y="267462"/>
                </a:lnTo>
                <a:lnTo>
                  <a:pt x="217932" y="267377"/>
                </a:lnTo>
                <a:close/>
              </a:path>
              <a:path w="302259" h="267970">
                <a:moveTo>
                  <a:pt x="282702" y="265938"/>
                </a:moveTo>
                <a:lnTo>
                  <a:pt x="282702" y="256794"/>
                </a:lnTo>
                <a:lnTo>
                  <a:pt x="278130" y="259079"/>
                </a:lnTo>
                <a:lnTo>
                  <a:pt x="278130" y="256895"/>
                </a:lnTo>
                <a:lnTo>
                  <a:pt x="216410" y="258267"/>
                </a:lnTo>
                <a:lnTo>
                  <a:pt x="217932" y="260603"/>
                </a:lnTo>
                <a:lnTo>
                  <a:pt x="217932" y="267377"/>
                </a:lnTo>
                <a:lnTo>
                  <a:pt x="278130" y="266039"/>
                </a:lnTo>
                <a:lnTo>
                  <a:pt x="278130" y="259079"/>
                </a:lnTo>
                <a:lnTo>
                  <a:pt x="279205" y="256871"/>
                </a:lnTo>
                <a:lnTo>
                  <a:pt x="279205" y="266015"/>
                </a:lnTo>
                <a:lnTo>
                  <a:pt x="282702" y="265938"/>
                </a:lnTo>
                <a:close/>
              </a:path>
              <a:path w="302259" h="267970">
                <a:moveTo>
                  <a:pt x="254508" y="249173"/>
                </a:moveTo>
                <a:lnTo>
                  <a:pt x="249965" y="242263"/>
                </a:lnTo>
                <a:lnTo>
                  <a:pt x="246126" y="249173"/>
                </a:lnTo>
                <a:lnTo>
                  <a:pt x="254508" y="249173"/>
                </a:lnTo>
                <a:close/>
              </a:path>
              <a:path w="302259" h="267970">
                <a:moveTo>
                  <a:pt x="254508" y="253745"/>
                </a:moveTo>
                <a:lnTo>
                  <a:pt x="254508" y="249173"/>
                </a:lnTo>
                <a:lnTo>
                  <a:pt x="246126" y="249173"/>
                </a:lnTo>
                <a:lnTo>
                  <a:pt x="246126" y="253745"/>
                </a:lnTo>
                <a:lnTo>
                  <a:pt x="246888" y="255269"/>
                </a:lnTo>
                <a:lnTo>
                  <a:pt x="249174" y="256031"/>
                </a:lnTo>
                <a:lnTo>
                  <a:pt x="252222" y="256031"/>
                </a:lnTo>
                <a:lnTo>
                  <a:pt x="253746" y="255269"/>
                </a:lnTo>
                <a:lnTo>
                  <a:pt x="254508" y="253745"/>
                </a:lnTo>
                <a:close/>
              </a:path>
              <a:path w="302259" h="267970">
                <a:moveTo>
                  <a:pt x="301752" y="231647"/>
                </a:moveTo>
                <a:lnTo>
                  <a:pt x="301752" y="230123"/>
                </a:lnTo>
                <a:lnTo>
                  <a:pt x="300990" y="228599"/>
                </a:lnTo>
                <a:lnTo>
                  <a:pt x="299466" y="227075"/>
                </a:lnTo>
                <a:lnTo>
                  <a:pt x="297942" y="226313"/>
                </a:lnTo>
                <a:lnTo>
                  <a:pt x="259842" y="226313"/>
                </a:lnTo>
                <a:lnTo>
                  <a:pt x="258318" y="227075"/>
                </a:lnTo>
                <a:lnTo>
                  <a:pt x="257556" y="228599"/>
                </a:lnTo>
                <a:lnTo>
                  <a:pt x="249965" y="242263"/>
                </a:lnTo>
                <a:lnTo>
                  <a:pt x="254508" y="249173"/>
                </a:lnTo>
                <a:lnTo>
                  <a:pt x="254508" y="253745"/>
                </a:lnTo>
                <a:lnTo>
                  <a:pt x="262128" y="240029"/>
                </a:lnTo>
                <a:lnTo>
                  <a:pt x="262128" y="235457"/>
                </a:lnTo>
                <a:lnTo>
                  <a:pt x="265938" y="233171"/>
                </a:lnTo>
                <a:lnTo>
                  <a:pt x="265938" y="235457"/>
                </a:lnTo>
                <a:lnTo>
                  <a:pt x="289638" y="235457"/>
                </a:lnTo>
                <a:lnTo>
                  <a:pt x="292608" y="229361"/>
                </a:lnTo>
                <a:lnTo>
                  <a:pt x="296418" y="235457"/>
                </a:lnTo>
                <a:lnTo>
                  <a:pt x="296418" y="243331"/>
                </a:lnTo>
                <a:lnTo>
                  <a:pt x="300990" y="233171"/>
                </a:lnTo>
                <a:lnTo>
                  <a:pt x="301752" y="231647"/>
                </a:lnTo>
                <a:close/>
              </a:path>
              <a:path w="302259" h="267970">
                <a:moveTo>
                  <a:pt x="265938" y="233171"/>
                </a:moveTo>
                <a:lnTo>
                  <a:pt x="262128" y="235457"/>
                </a:lnTo>
                <a:lnTo>
                  <a:pt x="264668" y="235457"/>
                </a:lnTo>
                <a:lnTo>
                  <a:pt x="265938" y="233171"/>
                </a:lnTo>
                <a:close/>
              </a:path>
              <a:path w="302259" h="267970">
                <a:moveTo>
                  <a:pt x="264668" y="235457"/>
                </a:moveTo>
                <a:lnTo>
                  <a:pt x="262128" y="235457"/>
                </a:lnTo>
                <a:lnTo>
                  <a:pt x="262128" y="240029"/>
                </a:lnTo>
                <a:lnTo>
                  <a:pt x="264668" y="235457"/>
                </a:lnTo>
                <a:close/>
              </a:path>
              <a:path w="302259" h="267970">
                <a:moveTo>
                  <a:pt x="265938" y="235457"/>
                </a:moveTo>
                <a:lnTo>
                  <a:pt x="265938" y="233171"/>
                </a:lnTo>
                <a:lnTo>
                  <a:pt x="264668" y="235457"/>
                </a:lnTo>
                <a:lnTo>
                  <a:pt x="265938" y="235457"/>
                </a:lnTo>
                <a:close/>
              </a:path>
              <a:path w="302259" h="267970">
                <a:moveTo>
                  <a:pt x="282702" y="256794"/>
                </a:moveTo>
                <a:lnTo>
                  <a:pt x="279205" y="256871"/>
                </a:lnTo>
                <a:lnTo>
                  <a:pt x="278130" y="259079"/>
                </a:lnTo>
                <a:lnTo>
                  <a:pt x="282702" y="256794"/>
                </a:lnTo>
                <a:close/>
              </a:path>
              <a:path w="302259" h="267970">
                <a:moveTo>
                  <a:pt x="296418" y="243331"/>
                </a:moveTo>
                <a:lnTo>
                  <a:pt x="296418" y="235457"/>
                </a:lnTo>
                <a:lnTo>
                  <a:pt x="289638" y="235457"/>
                </a:lnTo>
                <a:lnTo>
                  <a:pt x="279205" y="256871"/>
                </a:lnTo>
                <a:lnTo>
                  <a:pt x="282702" y="256794"/>
                </a:lnTo>
                <a:lnTo>
                  <a:pt x="282702" y="265938"/>
                </a:lnTo>
                <a:lnTo>
                  <a:pt x="284988" y="265938"/>
                </a:lnTo>
                <a:lnTo>
                  <a:pt x="286512" y="265176"/>
                </a:lnTo>
                <a:lnTo>
                  <a:pt x="287274" y="263652"/>
                </a:lnTo>
                <a:lnTo>
                  <a:pt x="296418" y="243331"/>
                </a:lnTo>
                <a:close/>
              </a:path>
              <a:path w="302259" h="267970">
                <a:moveTo>
                  <a:pt x="296418" y="235457"/>
                </a:moveTo>
                <a:lnTo>
                  <a:pt x="292608" y="229361"/>
                </a:lnTo>
                <a:lnTo>
                  <a:pt x="289638" y="235457"/>
                </a:lnTo>
                <a:lnTo>
                  <a:pt x="296418" y="23545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0" name="object 108"/>
          <p:cNvSpPr/>
          <p:nvPr/>
        </p:nvSpPr>
        <p:spPr>
          <a:xfrm>
            <a:off x="7351509" y="3437472"/>
            <a:ext cx="274740" cy="89951"/>
          </a:xfrm>
          <a:prstGeom prst="rect">
            <a:avLst/>
          </a:prstGeom>
          <a:blipFill>
            <a:blip r:embed="rId6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1" name="object 109"/>
          <p:cNvSpPr/>
          <p:nvPr/>
        </p:nvSpPr>
        <p:spPr>
          <a:xfrm>
            <a:off x="7347608" y="3435002"/>
            <a:ext cx="282347" cy="94654"/>
          </a:xfrm>
          <a:custGeom>
            <a:avLst/>
            <a:gdLst/>
            <a:ahLst/>
            <a:cxnLst/>
            <a:rect l="l" t="t" r="r" b="b"/>
            <a:pathLst>
              <a:path w="386079" h="204470">
                <a:moveTo>
                  <a:pt x="385571" y="200406"/>
                </a:moveTo>
                <a:lnTo>
                  <a:pt x="385571" y="198120"/>
                </a:lnTo>
                <a:lnTo>
                  <a:pt x="384809" y="196596"/>
                </a:lnTo>
                <a:lnTo>
                  <a:pt x="252221" y="2286"/>
                </a:lnTo>
                <a:lnTo>
                  <a:pt x="251459" y="762"/>
                </a:lnTo>
                <a:lnTo>
                  <a:pt x="249935" y="0"/>
                </a:lnTo>
                <a:lnTo>
                  <a:pt x="5333" y="0"/>
                </a:lnTo>
                <a:lnTo>
                  <a:pt x="3809" y="762"/>
                </a:lnTo>
                <a:lnTo>
                  <a:pt x="1523" y="1524"/>
                </a:lnTo>
                <a:lnTo>
                  <a:pt x="0" y="4572"/>
                </a:lnTo>
                <a:lnTo>
                  <a:pt x="0" y="6096"/>
                </a:lnTo>
                <a:lnTo>
                  <a:pt x="1523" y="7620"/>
                </a:lnTo>
                <a:lnTo>
                  <a:pt x="5333" y="13472"/>
                </a:lnTo>
                <a:lnTo>
                  <a:pt x="5333" y="9906"/>
                </a:lnTo>
                <a:lnTo>
                  <a:pt x="9143" y="2286"/>
                </a:lnTo>
                <a:lnTo>
                  <a:pt x="14104" y="9906"/>
                </a:lnTo>
                <a:lnTo>
                  <a:pt x="244601" y="9906"/>
                </a:lnTo>
                <a:lnTo>
                  <a:pt x="244601" y="7620"/>
                </a:lnTo>
                <a:lnTo>
                  <a:pt x="248411" y="9906"/>
                </a:lnTo>
                <a:lnTo>
                  <a:pt x="248411" y="13203"/>
                </a:lnTo>
                <a:lnTo>
                  <a:pt x="371990" y="194310"/>
                </a:lnTo>
                <a:lnTo>
                  <a:pt x="380999" y="194310"/>
                </a:lnTo>
                <a:lnTo>
                  <a:pt x="380999" y="204216"/>
                </a:lnTo>
                <a:lnTo>
                  <a:pt x="382523" y="204216"/>
                </a:lnTo>
                <a:lnTo>
                  <a:pt x="384047" y="203454"/>
                </a:lnTo>
                <a:lnTo>
                  <a:pt x="385571" y="200406"/>
                </a:lnTo>
                <a:close/>
              </a:path>
              <a:path w="386079" h="204470">
                <a:moveTo>
                  <a:pt x="14104" y="9906"/>
                </a:moveTo>
                <a:lnTo>
                  <a:pt x="9143" y="2286"/>
                </a:lnTo>
                <a:lnTo>
                  <a:pt x="5333" y="9906"/>
                </a:lnTo>
                <a:lnTo>
                  <a:pt x="14104" y="9906"/>
                </a:lnTo>
                <a:close/>
              </a:path>
              <a:path w="386079" h="204470">
                <a:moveTo>
                  <a:pt x="134147" y="194310"/>
                </a:moveTo>
                <a:lnTo>
                  <a:pt x="14104" y="9906"/>
                </a:lnTo>
                <a:lnTo>
                  <a:pt x="5333" y="9906"/>
                </a:lnTo>
                <a:lnTo>
                  <a:pt x="5333" y="13472"/>
                </a:lnTo>
                <a:lnTo>
                  <a:pt x="128015" y="201930"/>
                </a:lnTo>
                <a:lnTo>
                  <a:pt x="128777" y="203454"/>
                </a:lnTo>
                <a:lnTo>
                  <a:pt x="130301" y="204216"/>
                </a:lnTo>
                <a:lnTo>
                  <a:pt x="131825" y="204216"/>
                </a:lnTo>
                <a:lnTo>
                  <a:pt x="131825" y="194310"/>
                </a:lnTo>
                <a:lnTo>
                  <a:pt x="134147" y="194310"/>
                </a:lnTo>
                <a:close/>
              </a:path>
              <a:path w="386079" h="204470">
                <a:moveTo>
                  <a:pt x="135635" y="196596"/>
                </a:moveTo>
                <a:lnTo>
                  <a:pt x="134147" y="194310"/>
                </a:lnTo>
                <a:lnTo>
                  <a:pt x="131825" y="194310"/>
                </a:lnTo>
                <a:lnTo>
                  <a:pt x="135635" y="196596"/>
                </a:lnTo>
                <a:close/>
              </a:path>
              <a:path w="386079" h="204470">
                <a:moveTo>
                  <a:pt x="135635" y="204216"/>
                </a:moveTo>
                <a:lnTo>
                  <a:pt x="135635" y="196596"/>
                </a:lnTo>
                <a:lnTo>
                  <a:pt x="131825" y="194310"/>
                </a:lnTo>
                <a:lnTo>
                  <a:pt x="131825" y="204216"/>
                </a:lnTo>
                <a:lnTo>
                  <a:pt x="135635" y="204216"/>
                </a:lnTo>
                <a:close/>
              </a:path>
              <a:path w="386079" h="204470">
                <a:moveTo>
                  <a:pt x="380999" y="204216"/>
                </a:moveTo>
                <a:lnTo>
                  <a:pt x="380999" y="194310"/>
                </a:lnTo>
                <a:lnTo>
                  <a:pt x="377189" y="201930"/>
                </a:lnTo>
                <a:lnTo>
                  <a:pt x="371990" y="194310"/>
                </a:lnTo>
                <a:lnTo>
                  <a:pt x="134147" y="194310"/>
                </a:lnTo>
                <a:lnTo>
                  <a:pt x="135635" y="196596"/>
                </a:lnTo>
                <a:lnTo>
                  <a:pt x="135635" y="204216"/>
                </a:lnTo>
                <a:lnTo>
                  <a:pt x="380999" y="204216"/>
                </a:lnTo>
                <a:close/>
              </a:path>
              <a:path w="386079" h="204470">
                <a:moveTo>
                  <a:pt x="248411" y="9906"/>
                </a:moveTo>
                <a:lnTo>
                  <a:pt x="244601" y="7620"/>
                </a:lnTo>
                <a:lnTo>
                  <a:pt x="246161" y="9906"/>
                </a:lnTo>
                <a:lnTo>
                  <a:pt x="248411" y="9906"/>
                </a:lnTo>
                <a:close/>
              </a:path>
              <a:path w="386079" h="204470">
                <a:moveTo>
                  <a:pt x="246161" y="9906"/>
                </a:moveTo>
                <a:lnTo>
                  <a:pt x="244601" y="7620"/>
                </a:lnTo>
                <a:lnTo>
                  <a:pt x="244601" y="9906"/>
                </a:lnTo>
                <a:lnTo>
                  <a:pt x="246161" y="9906"/>
                </a:lnTo>
                <a:close/>
              </a:path>
              <a:path w="386079" h="204470">
                <a:moveTo>
                  <a:pt x="248411" y="13203"/>
                </a:moveTo>
                <a:lnTo>
                  <a:pt x="248411" y="9906"/>
                </a:lnTo>
                <a:lnTo>
                  <a:pt x="246161" y="9906"/>
                </a:lnTo>
                <a:lnTo>
                  <a:pt x="248411" y="13203"/>
                </a:lnTo>
                <a:close/>
              </a:path>
              <a:path w="386079" h="204470">
                <a:moveTo>
                  <a:pt x="380999" y="194310"/>
                </a:moveTo>
                <a:lnTo>
                  <a:pt x="371990" y="194310"/>
                </a:lnTo>
                <a:lnTo>
                  <a:pt x="377189" y="201930"/>
                </a:lnTo>
                <a:lnTo>
                  <a:pt x="380999" y="19431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2" name="object 110"/>
          <p:cNvSpPr/>
          <p:nvPr/>
        </p:nvSpPr>
        <p:spPr>
          <a:xfrm>
            <a:off x="7990698" y="3436060"/>
            <a:ext cx="201729" cy="89951"/>
          </a:xfrm>
          <a:prstGeom prst="rect">
            <a:avLst/>
          </a:prstGeom>
          <a:blipFill>
            <a:blip r:embed="rId6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3" name="object 111"/>
          <p:cNvSpPr/>
          <p:nvPr/>
        </p:nvSpPr>
        <p:spPr>
          <a:xfrm>
            <a:off x="7985683" y="3432886"/>
            <a:ext cx="210367" cy="95830"/>
          </a:xfrm>
          <a:custGeom>
            <a:avLst/>
            <a:gdLst/>
            <a:ahLst/>
            <a:cxnLst/>
            <a:rect l="l" t="t" r="r" b="b"/>
            <a:pathLst>
              <a:path w="287654" h="207010">
                <a:moveTo>
                  <a:pt x="287273" y="5334"/>
                </a:moveTo>
                <a:lnTo>
                  <a:pt x="286511" y="3810"/>
                </a:lnTo>
                <a:lnTo>
                  <a:pt x="284987" y="2286"/>
                </a:lnTo>
                <a:lnTo>
                  <a:pt x="283463" y="1524"/>
                </a:lnTo>
                <a:lnTo>
                  <a:pt x="3809" y="0"/>
                </a:lnTo>
                <a:lnTo>
                  <a:pt x="2285" y="1524"/>
                </a:lnTo>
                <a:lnTo>
                  <a:pt x="1523" y="3048"/>
                </a:lnTo>
                <a:lnTo>
                  <a:pt x="0" y="4572"/>
                </a:lnTo>
                <a:lnTo>
                  <a:pt x="0" y="6096"/>
                </a:lnTo>
                <a:lnTo>
                  <a:pt x="1523" y="7620"/>
                </a:lnTo>
                <a:lnTo>
                  <a:pt x="5333" y="13541"/>
                </a:lnTo>
                <a:lnTo>
                  <a:pt x="5333" y="9906"/>
                </a:lnTo>
                <a:lnTo>
                  <a:pt x="9143" y="2286"/>
                </a:lnTo>
                <a:lnTo>
                  <a:pt x="14077" y="9954"/>
                </a:lnTo>
                <a:lnTo>
                  <a:pt x="278094" y="11404"/>
                </a:lnTo>
                <a:lnTo>
                  <a:pt x="278129" y="6858"/>
                </a:lnTo>
                <a:lnTo>
                  <a:pt x="282701" y="11430"/>
                </a:lnTo>
                <a:lnTo>
                  <a:pt x="282701" y="206502"/>
                </a:lnTo>
                <a:lnTo>
                  <a:pt x="283463" y="206502"/>
                </a:lnTo>
                <a:lnTo>
                  <a:pt x="285749" y="204216"/>
                </a:lnTo>
                <a:lnTo>
                  <a:pt x="285749" y="201930"/>
                </a:lnTo>
                <a:lnTo>
                  <a:pt x="287273" y="5334"/>
                </a:lnTo>
                <a:close/>
              </a:path>
              <a:path w="287654" h="207010">
                <a:moveTo>
                  <a:pt x="14077" y="9954"/>
                </a:moveTo>
                <a:lnTo>
                  <a:pt x="9143" y="2286"/>
                </a:lnTo>
                <a:lnTo>
                  <a:pt x="5333" y="9906"/>
                </a:lnTo>
                <a:lnTo>
                  <a:pt x="14077" y="9954"/>
                </a:lnTo>
                <a:close/>
              </a:path>
              <a:path w="287654" h="207010">
                <a:moveTo>
                  <a:pt x="134165" y="196596"/>
                </a:moveTo>
                <a:lnTo>
                  <a:pt x="14077" y="9954"/>
                </a:lnTo>
                <a:lnTo>
                  <a:pt x="5333" y="9906"/>
                </a:lnTo>
                <a:lnTo>
                  <a:pt x="5333" y="13541"/>
                </a:lnTo>
                <a:lnTo>
                  <a:pt x="128015" y="204216"/>
                </a:lnTo>
                <a:lnTo>
                  <a:pt x="128777" y="205740"/>
                </a:lnTo>
                <a:lnTo>
                  <a:pt x="130301" y="206502"/>
                </a:lnTo>
                <a:lnTo>
                  <a:pt x="131825" y="206502"/>
                </a:lnTo>
                <a:lnTo>
                  <a:pt x="131825" y="196596"/>
                </a:lnTo>
                <a:lnTo>
                  <a:pt x="134165" y="196596"/>
                </a:lnTo>
                <a:close/>
              </a:path>
              <a:path w="287654" h="207010">
                <a:moveTo>
                  <a:pt x="135635" y="198882"/>
                </a:moveTo>
                <a:lnTo>
                  <a:pt x="134165" y="196596"/>
                </a:lnTo>
                <a:lnTo>
                  <a:pt x="131825" y="196596"/>
                </a:lnTo>
                <a:lnTo>
                  <a:pt x="135635" y="198882"/>
                </a:lnTo>
                <a:close/>
              </a:path>
              <a:path w="287654" h="207010">
                <a:moveTo>
                  <a:pt x="135635" y="206502"/>
                </a:moveTo>
                <a:lnTo>
                  <a:pt x="135635" y="198882"/>
                </a:lnTo>
                <a:lnTo>
                  <a:pt x="131825" y="196596"/>
                </a:lnTo>
                <a:lnTo>
                  <a:pt x="131825" y="206502"/>
                </a:lnTo>
                <a:lnTo>
                  <a:pt x="135635" y="206502"/>
                </a:lnTo>
                <a:close/>
              </a:path>
              <a:path w="287654" h="207010">
                <a:moveTo>
                  <a:pt x="276641" y="196596"/>
                </a:moveTo>
                <a:lnTo>
                  <a:pt x="134165" y="196596"/>
                </a:lnTo>
                <a:lnTo>
                  <a:pt x="135635" y="198882"/>
                </a:lnTo>
                <a:lnTo>
                  <a:pt x="135635" y="206502"/>
                </a:lnTo>
                <a:lnTo>
                  <a:pt x="276605" y="206502"/>
                </a:lnTo>
                <a:lnTo>
                  <a:pt x="276605" y="201168"/>
                </a:lnTo>
                <a:lnTo>
                  <a:pt x="276641" y="196596"/>
                </a:lnTo>
                <a:close/>
              </a:path>
              <a:path w="287654" h="207010">
                <a:moveTo>
                  <a:pt x="281177" y="196596"/>
                </a:moveTo>
                <a:lnTo>
                  <a:pt x="276641" y="196596"/>
                </a:lnTo>
                <a:lnTo>
                  <a:pt x="276605" y="201168"/>
                </a:lnTo>
                <a:lnTo>
                  <a:pt x="281177" y="196596"/>
                </a:lnTo>
                <a:close/>
              </a:path>
              <a:path w="287654" h="207010">
                <a:moveTo>
                  <a:pt x="281177" y="206502"/>
                </a:moveTo>
                <a:lnTo>
                  <a:pt x="281177" y="196596"/>
                </a:lnTo>
                <a:lnTo>
                  <a:pt x="276605" y="201168"/>
                </a:lnTo>
                <a:lnTo>
                  <a:pt x="276605" y="206502"/>
                </a:lnTo>
                <a:lnTo>
                  <a:pt x="281177" y="206502"/>
                </a:lnTo>
                <a:close/>
              </a:path>
              <a:path w="287654" h="207010">
                <a:moveTo>
                  <a:pt x="282701" y="206502"/>
                </a:moveTo>
                <a:lnTo>
                  <a:pt x="282701" y="11430"/>
                </a:lnTo>
                <a:lnTo>
                  <a:pt x="278094" y="11404"/>
                </a:lnTo>
                <a:lnTo>
                  <a:pt x="276641" y="196596"/>
                </a:lnTo>
                <a:lnTo>
                  <a:pt x="281177" y="196596"/>
                </a:lnTo>
                <a:lnTo>
                  <a:pt x="281177" y="206502"/>
                </a:lnTo>
                <a:lnTo>
                  <a:pt x="282701" y="206502"/>
                </a:lnTo>
                <a:close/>
              </a:path>
              <a:path w="287654" h="207010">
                <a:moveTo>
                  <a:pt x="282701" y="11430"/>
                </a:moveTo>
                <a:lnTo>
                  <a:pt x="278129" y="6858"/>
                </a:lnTo>
                <a:lnTo>
                  <a:pt x="278094" y="11404"/>
                </a:lnTo>
                <a:lnTo>
                  <a:pt x="282701" y="114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4" name="object 112"/>
          <p:cNvSpPr/>
          <p:nvPr/>
        </p:nvSpPr>
        <p:spPr>
          <a:xfrm>
            <a:off x="7401671" y="3245340"/>
            <a:ext cx="363336" cy="176963"/>
          </a:xfrm>
          <a:prstGeom prst="rect">
            <a:avLst/>
          </a:prstGeom>
          <a:blipFill>
            <a:blip r:embed="rId6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5" name="object 113"/>
          <p:cNvSpPr/>
          <p:nvPr/>
        </p:nvSpPr>
        <p:spPr>
          <a:xfrm>
            <a:off x="7265142" y="3087191"/>
            <a:ext cx="648746" cy="339521"/>
          </a:xfrm>
          <a:custGeom>
            <a:avLst/>
            <a:gdLst/>
            <a:ahLst/>
            <a:cxnLst/>
            <a:rect l="l" t="t" r="r" b="b"/>
            <a:pathLst>
              <a:path w="887095" h="733425">
                <a:moveTo>
                  <a:pt x="886967" y="11430"/>
                </a:moveTo>
                <a:lnTo>
                  <a:pt x="886967" y="7620"/>
                </a:lnTo>
                <a:lnTo>
                  <a:pt x="885443" y="5334"/>
                </a:lnTo>
                <a:lnTo>
                  <a:pt x="883919" y="2286"/>
                </a:lnTo>
                <a:lnTo>
                  <a:pt x="880871" y="0"/>
                </a:lnTo>
                <a:lnTo>
                  <a:pt x="6857" y="0"/>
                </a:lnTo>
                <a:lnTo>
                  <a:pt x="3809" y="2286"/>
                </a:lnTo>
                <a:lnTo>
                  <a:pt x="2285" y="4572"/>
                </a:lnTo>
                <a:lnTo>
                  <a:pt x="0" y="7620"/>
                </a:lnTo>
                <a:lnTo>
                  <a:pt x="0" y="11430"/>
                </a:lnTo>
                <a:lnTo>
                  <a:pt x="1523" y="14478"/>
                </a:lnTo>
                <a:lnTo>
                  <a:pt x="9905" y="30249"/>
                </a:lnTo>
                <a:lnTo>
                  <a:pt x="9905" y="19050"/>
                </a:lnTo>
                <a:lnTo>
                  <a:pt x="18287" y="5334"/>
                </a:lnTo>
                <a:lnTo>
                  <a:pt x="25569" y="19049"/>
                </a:lnTo>
                <a:lnTo>
                  <a:pt x="860252" y="19050"/>
                </a:lnTo>
                <a:lnTo>
                  <a:pt x="868679" y="4572"/>
                </a:lnTo>
                <a:lnTo>
                  <a:pt x="877061" y="19050"/>
                </a:lnTo>
                <a:lnTo>
                  <a:pt x="877061" y="28849"/>
                </a:lnTo>
                <a:lnTo>
                  <a:pt x="885443" y="14478"/>
                </a:lnTo>
                <a:lnTo>
                  <a:pt x="886967" y="11430"/>
                </a:lnTo>
                <a:close/>
              </a:path>
              <a:path w="887095" h="733425">
                <a:moveTo>
                  <a:pt x="25569" y="19050"/>
                </a:moveTo>
                <a:lnTo>
                  <a:pt x="18287" y="5334"/>
                </a:lnTo>
                <a:lnTo>
                  <a:pt x="9905" y="19050"/>
                </a:lnTo>
                <a:lnTo>
                  <a:pt x="25569" y="19050"/>
                </a:lnTo>
                <a:close/>
              </a:path>
              <a:path w="887095" h="733425">
                <a:moveTo>
                  <a:pt x="366521" y="713994"/>
                </a:moveTo>
                <a:lnTo>
                  <a:pt x="366521" y="660654"/>
                </a:lnTo>
                <a:lnTo>
                  <a:pt x="365759" y="659892"/>
                </a:lnTo>
                <a:lnTo>
                  <a:pt x="25569" y="19050"/>
                </a:lnTo>
                <a:lnTo>
                  <a:pt x="9905" y="19050"/>
                </a:lnTo>
                <a:lnTo>
                  <a:pt x="9905" y="30249"/>
                </a:lnTo>
                <a:lnTo>
                  <a:pt x="347471" y="665406"/>
                </a:lnTo>
                <a:lnTo>
                  <a:pt x="347471" y="663702"/>
                </a:lnTo>
                <a:lnTo>
                  <a:pt x="348995" y="668274"/>
                </a:lnTo>
                <a:lnTo>
                  <a:pt x="348995" y="730504"/>
                </a:lnTo>
                <a:lnTo>
                  <a:pt x="352043" y="733044"/>
                </a:lnTo>
                <a:lnTo>
                  <a:pt x="357377" y="733044"/>
                </a:lnTo>
                <a:lnTo>
                  <a:pt x="357377" y="713994"/>
                </a:lnTo>
                <a:lnTo>
                  <a:pt x="366521" y="713994"/>
                </a:lnTo>
                <a:close/>
              </a:path>
              <a:path w="887095" h="733425">
                <a:moveTo>
                  <a:pt x="348995" y="668274"/>
                </a:moveTo>
                <a:lnTo>
                  <a:pt x="347471" y="663702"/>
                </a:lnTo>
                <a:lnTo>
                  <a:pt x="347471" y="665406"/>
                </a:lnTo>
                <a:lnTo>
                  <a:pt x="348995" y="668274"/>
                </a:lnTo>
                <a:close/>
              </a:path>
              <a:path w="887095" h="733425">
                <a:moveTo>
                  <a:pt x="348995" y="730504"/>
                </a:moveTo>
                <a:lnTo>
                  <a:pt x="348995" y="668274"/>
                </a:lnTo>
                <a:lnTo>
                  <a:pt x="347471" y="665406"/>
                </a:lnTo>
                <a:lnTo>
                  <a:pt x="347471" y="729234"/>
                </a:lnTo>
                <a:lnTo>
                  <a:pt x="348995" y="730504"/>
                </a:lnTo>
                <a:close/>
              </a:path>
              <a:path w="887095" h="733425">
                <a:moveTo>
                  <a:pt x="495299" y="713994"/>
                </a:moveTo>
                <a:lnTo>
                  <a:pt x="357377" y="713994"/>
                </a:lnTo>
                <a:lnTo>
                  <a:pt x="366521" y="723900"/>
                </a:lnTo>
                <a:lnTo>
                  <a:pt x="366521" y="733044"/>
                </a:lnTo>
                <a:lnTo>
                  <a:pt x="486155" y="733044"/>
                </a:lnTo>
                <a:lnTo>
                  <a:pt x="486155" y="723900"/>
                </a:lnTo>
                <a:lnTo>
                  <a:pt x="495299" y="713994"/>
                </a:lnTo>
                <a:close/>
              </a:path>
              <a:path w="887095" h="733425">
                <a:moveTo>
                  <a:pt x="366521" y="733044"/>
                </a:moveTo>
                <a:lnTo>
                  <a:pt x="366521" y="723900"/>
                </a:lnTo>
                <a:lnTo>
                  <a:pt x="357377" y="713994"/>
                </a:lnTo>
                <a:lnTo>
                  <a:pt x="357377" y="733044"/>
                </a:lnTo>
                <a:lnTo>
                  <a:pt x="366521" y="733044"/>
                </a:lnTo>
                <a:close/>
              </a:path>
              <a:path w="887095" h="733425">
                <a:moveTo>
                  <a:pt x="877061" y="28849"/>
                </a:moveTo>
                <a:lnTo>
                  <a:pt x="877061" y="19050"/>
                </a:lnTo>
                <a:lnTo>
                  <a:pt x="860252" y="19050"/>
                </a:lnTo>
                <a:lnTo>
                  <a:pt x="487679" y="659130"/>
                </a:lnTo>
                <a:lnTo>
                  <a:pt x="486155" y="662178"/>
                </a:lnTo>
                <a:lnTo>
                  <a:pt x="486155" y="713994"/>
                </a:lnTo>
                <a:lnTo>
                  <a:pt x="495299" y="713994"/>
                </a:lnTo>
                <a:lnTo>
                  <a:pt x="495299" y="733044"/>
                </a:lnTo>
                <a:lnTo>
                  <a:pt x="500633" y="733044"/>
                </a:lnTo>
                <a:lnTo>
                  <a:pt x="503681" y="730504"/>
                </a:lnTo>
                <a:lnTo>
                  <a:pt x="503681" y="669036"/>
                </a:lnTo>
                <a:lnTo>
                  <a:pt x="505205" y="663702"/>
                </a:lnTo>
                <a:lnTo>
                  <a:pt x="505205" y="666422"/>
                </a:lnTo>
                <a:lnTo>
                  <a:pt x="877061" y="28849"/>
                </a:lnTo>
                <a:close/>
              </a:path>
              <a:path w="887095" h="733425">
                <a:moveTo>
                  <a:pt x="495299" y="733044"/>
                </a:moveTo>
                <a:lnTo>
                  <a:pt x="495299" y="713994"/>
                </a:lnTo>
                <a:lnTo>
                  <a:pt x="486155" y="723900"/>
                </a:lnTo>
                <a:lnTo>
                  <a:pt x="486155" y="733044"/>
                </a:lnTo>
                <a:lnTo>
                  <a:pt x="495299" y="733044"/>
                </a:lnTo>
                <a:close/>
              </a:path>
              <a:path w="887095" h="733425">
                <a:moveTo>
                  <a:pt x="505205" y="666422"/>
                </a:moveTo>
                <a:lnTo>
                  <a:pt x="505205" y="663702"/>
                </a:lnTo>
                <a:lnTo>
                  <a:pt x="503681" y="669036"/>
                </a:lnTo>
                <a:lnTo>
                  <a:pt x="505205" y="666422"/>
                </a:lnTo>
                <a:close/>
              </a:path>
              <a:path w="887095" h="733425">
                <a:moveTo>
                  <a:pt x="505205" y="729234"/>
                </a:moveTo>
                <a:lnTo>
                  <a:pt x="505205" y="666422"/>
                </a:lnTo>
                <a:lnTo>
                  <a:pt x="503681" y="669036"/>
                </a:lnTo>
                <a:lnTo>
                  <a:pt x="503681" y="730504"/>
                </a:lnTo>
                <a:lnTo>
                  <a:pt x="505205" y="729234"/>
                </a:lnTo>
                <a:close/>
              </a:path>
              <a:path w="887095" h="733425">
                <a:moveTo>
                  <a:pt x="877061" y="19050"/>
                </a:moveTo>
                <a:lnTo>
                  <a:pt x="868679" y="4572"/>
                </a:lnTo>
                <a:lnTo>
                  <a:pt x="860252" y="19050"/>
                </a:lnTo>
                <a:lnTo>
                  <a:pt x="877061" y="19050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6" name="object 114"/>
          <p:cNvSpPr/>
          <p:nvPr/>
        </p:nvSpPr>
        <p:spPr>
          <a:xfrm>
            <a:off x="7272388" y="3050505"/>
            <a:ext cx="634164" cy="41272"/>
          </a:xfrm>
          <a:prstGeom prst="rect">
            <a:avLst/>
          </a:prstGeom>
          <a:blipFill>
            <a:blip r:embed="rId6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7" name="object 115"/>
          <p:cNvSpPr/>
          <p:nvPr/>
        </p:nvSpPr>
        <p:spPr>
          <a:xfrm>
            <a:off x="7265699" y="3045920"/>
            <a:ext cx="648283" cy="45858"/>
          </a:xfrm>
          <a:custGeom>
            <a:avLst/>
            <a:gdLst/>
            <a:ahLst/>
            <a:cxnLst/>
            <a:rect l="l" t="t" r="r" b="b"/>
            <a:pathLst>
              <a:path w="886459" h="99060">
                <a:moveTo>
                  <a:pt x="886206" y="99060"/>
                </a:moveTo>
                <a:lnTo>
                  <a:pt x="886206" y="4572"/>
                </a:lnTo>
                <a:lnTo>
                  <a:pt x="881634" y="0"/>
                </a:lnTo>
                <a:lnTo>
                  <a:pt x="3809" y="0"/>
                </a:lnTo>
                <a:lnTo>
                  <a:pt x="0" y="4572"/>
                </a:lnTo>
                <a:lnTo>
                  <a:pt x="0" y="99060"/>
                </a:lnTo>
                <a:lnTo>
                  <a:pt x="9143" y="99060"/>
                </a:lnTo>
                <a:lnTo>
                  <a:pt x="9143" y="19050"/>
                </a:lnTo>
                <a:lnTo>
                  <a:pt x="19049" y="9906"/>
                </a:lnTo>
                <a:lnTo>
                  <a:pt x="19049" y="19050"/>
                </a:lnTo>
                <a:lnTo>
                  <a:pt x="867156" y="19050"/>
                </a:lnTo>
                <a:lnTo>
                  <a:pt x="867156" y="9906"/>
                </a:lnTo>
                <a:lnTo>
                  <a:pt x="876300" y="19050"/>
                </a:lnTo>
                <a:lnTo>
                  <a:pt x="876300" y="99060"/>
                </a:lnTo>
                <a:lnTo>
                  <a:pt x="886206" y="99060"/>
                </a:lnTo>
                <a:close/>
              </a:path>
              <a:path w="886459" h="99060">
                <a:moveTo>
                  <a:pt x="19049" y="19050"/>
                </a:moveTo>
                <a:lnTo>
                  <a:pt x="19049" y="9906"/>
                </a:lnTo>
                <a:lnTo>
                  <a:pt x="9143" y="19050"/>
                </a:lnTo>
                <a:lnTo>
                  <a:pt x="19049" y="19050"/>
                </a:lnTo>
                <a:close/>
              </a:path>
              <a:path w="886459" h="99060">
                <a:moveTo>
                  <a:pt x="19050" y="99060"/>
                </a:moveTo>
                <a:lnTo>
                  <a:pt x="19049" y="19050"/>
                </a:lnTo>
                <a:lnTo>
                  <a:pt x="9143" y="19050"/>
                </a:lnTo>
                <a:lnTo>
                  <a:pt x="9143" y="99060"/>
                </a:lnTo>
                <a:lnTo>
                  <a:pt x="19050" y="99060"/>
                </a:lnTo>
                <a:close/>
              </a:path>
              <a:path w="886459" h="99060">
                <a:moveTo>
                  <a:pt x="876300" y="19050"/>
                </a:moveTo>
                <a:lnTo>
                  <a:pt x="867156" y="9906"/>
                </a:lnTo>
                <a:lnTo>
                  <a:pt x="867156" y="19050"/>
                </a:lnTo>
                <a:lnTo>
                  <a:pt x="876300" y="19050"/>
                </a:lnTo>
                <a:close/>
              </a:path>
              <a:path w="886459" h="99060">
                <a:moveTo>
                  <a:pt x="876300" y="99060"/>
                </a:moveTo>
                <a:lnTo>
                  <a:pt x="876300" y="19050"/>
                </a:lnTo>
                <a:lnTo>
                  <a:pt x="867156" y="19050"/>
                </a:lnTo>
                <a:lnTo>
                  <a:pt x="867156" y="99060"/>
                </a:lnTo>
                <a:lnTo>
                  <a:pt x="876300" y="99060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8" name="object 116"/>
          <p:cNvSpPr/>
          <p:nvPr/>
        </p:nvSpPr>
        <p:spPr>
          <a:xfrm>
            <a:off x="5737684" y="3392848"/>
            <a:ext cx="317175" cy="0"/>
          </a:xfrm>
          <a:custGeom>
            <a:avLst/>
            <a:gdLst/>
            <a:ahLst/>
            <a:cxnLst/>
            <a:rect l="l" t="t" r="r" b="b"/>
            <a:pathLst>
              <a:path w="433704">
                <a:moveTo>
                  <a:pt x="0" y="0"/>
                </a:moveTo>
                <a:lnTo>
                  <a:pt x="433577" y="0"/>
                </a:lnTo>
              </a:path>
            </a:pathLst>
          </a:custGeom>
          <a:ln w="37337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69" name="object 117"/>
          <p:cNvSpPr/>
          <p:nvPr/>
        </p:nvSpPr>
        <p:spPr>
          <a:xfrm>
            <a:off x="5734341" y="3382089"/>
            <a:ext cx="324141" cy="21753"/>
          </a:xfrm>
          <a:custGeom>
            <a:avLst/>
            <a:gdLst/>
            <a:ahLst/>
            <a:cxnLst/>
            <a:rect l="l" t="t" r="r" b="b"/>
            <a:pathLst>
              <a:path w="443229" h="46989">
                <a:moveTo>
                  <a:pt x="442721" y="46482"/>
                </a:moveTo>
                <a:lnTo>
                  <a:pt x="442721" y="0"/>
                </a:lnTo>
                <a:lnTo>
                  <a:pt x="0" y="0"/>
                </a:lnTo>
                <a:lnTo>
                  <a:pt x="0" y="46482"/>
                </a:lnTo>
                <a:lnTo>
                  <a:pt x="4571" y="46482"/>
                </a:lnTo>
                <a:lnTo>
                  <a:pt x="4571" y="9144"/>
                </a:lnTo>
                <a:lnTo>
                  <a:pt x="9905" y="4572"/>
                </a:lnTo>
                <a:lnTo>
                  <a:pt x="9905" y="9144"/>
                </a:lnTo>
                <a:lnTo>
                  <a:pt x="433577" y="9144"/>
                </a:lnTo>
                <a:lnTo>
                  <a:pt x="433577" y="4572"/>
                </a:lnTo>
                <a:lnTo>
                  <a:pt x="438149" y="9144"/>
                </a:lnTo>
                <a:lnTo>
                  <a:pt x="438149" y="46482"/>
                </a:lnTo>
                <a:lnTo>
                  <a:pt x="442721" y="46482"/>
                </a:lnTo>
                <a:close/>
              </a:path>
              <a:path w="443229" h="46989">
                <a:moveTo>
                  <a:pt x="9905" y="9144"/>
                </a:moveTo>
                <a:lnTo>
                  <a:pt x="9905" y="4572"/>
                </a:lnTo>
                <a:lnTo>
                  <a:pt x="4571" y="9144"/>
                </a:lnTo>
                <a:lnTo>
                  <a:pt x="9905" y="9144"/>
                </a:lnTo>
                <a:close/>
              </a:path>
              <a:path w="443229" h="46989">
                <a:moveTo>
                  <a:pt x="9905" y="37338"/>
                </a:moveTo>
                <a:lnTo>
                  <a:pt x="9905" y="9144"/>
                </a:lnTo>
                <a:lnTo>
                  <a:pt x="4571" y="9144"/>
                </a:lnTo>
                <a:lnTo>
                  <a:pt x="4571" y="37338"/>
                </a:lnTo>
                <a:lnTo>
                  <a:pt x="9905" y="37338"/>
                </a:lnTo>
                <a:close/>
              </a:path>
              <a:path w="443229" h="46989">
                <a:moveTo>
                  <a:pt x="438149" y="37338"/>
                </a:moveTo>
                <a:lnTo>
                  <a:pt x="4571" y="37338"/>
                </a:lnTo>
                <a:lnTo>
                  <a:pt x="9905" y="41910"/>
                </a:lnTo>
                <a:lnTo>
                  <a:pt x="9905" y="46482"/>
                </a:lnTo>
                <a:lnTo>
                  <a:pt x="433577" y="46482"/>
                </a:lnTo>
                <a:lnTo>
                  <a:pt x="433577" y="41910"/>
                </a:lnTo>
                <a:lnTo>
                  <a:pt x="438149" y="37338"/>
                </a:lnTo>
                <a:close/>
              </a:path>
              <a:path w="443229" h="46989">
                <a:moveTo>
                  <a:pt x="9905" y="46482"/>
                </a:moveTo>
                <a:lnTo>
                  <a:pt x="9905" y="41910"/>
                </a:lnTo>
                <a:lnTo>
                  <a:pt x="4571" y="37338"/>
                </a:lnTo>
                <a:lnTo>
                  <a:pt x="4571" y="46482"/>
                </a:lnTo>
                <a:lnTo>
                  <a:pt x="9905" y="46482"/>
                </a:lnTo>
                <a:close/>
              </a:path>
              <a:path w="443229" h="46989">
                <a:moveTo>
                  <a:pt x="438149" y="9144"/>
                </a:moveTo>
                <a:lnTo>
                  <a:pt x="433577" y="4572"/>
                </a:lnTo>
                <a:lnTo>
                  <a:pt x="433577" y="9144"/>
                </a:lnTo>
                <a:lnTo>
                  <a:pt x="438149" y="9144"/>
                </a:lnTo>
                <a:close/>
              </a:path>
              <a:path w="443229" h="46989">
                <a:moveTo>
                  <a:pt x="438149" y="37338"/>
                </a:moveTo>
                <a:lnTo>
                  <a:pt x="438149" y="9144"/>
                </a:lnTo>
                <a:lnTo>
                  <a:pt x="433577" y="9144"/>
                </a:lnTo>
                <a:lnTo>
                  <a:pt x="433577" y="37338"/>
                </a:lnTo>
                <a:lnTo>
                  <a:pt x="438149" y="37338"/>
                </a:lnTo>
                <a:close/>
              </a:path>
              <a:path w="443229" h="46989">
                <a:moveTo>
                  <a:pt x="438149" y="46482"/>
                </a:moveTo>
                <a:lnTo>
                  <a:pt x="438149" y="37338"/>
                </a:lnTo>
                <a:lnTo>
                  <a:pt x="433577" y="41910"/>
                </a:lnTo>
                <a:lnTo>
                  <a:pt x="433577" y="46482"/>
                </a:lnTo>
                <a:lnTo>
                  <a:pt x="438149" y="4648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0" name="object 118"/>
          <p:cNvSpPr/>
          <p:nvPr/>
        </p:nvSpPr>
        <p:spPr>
          <a:xfrm>
            <a:off x="5275713" y="3402902"/>
            <a:ext cx="2203046" cy="77311"/>
          </a:xfrm>
          <a:custGeom>
            <a:avLst/>
            <a:gdLst/>
            <a:ahLst/>
            <a:cxnLst/>
            <a:rect l="l" t="t" r="r" b="b"/>
            <a:pathLst>
              <a:path w="3012440" h="167004">
                <a:moveTo>
                  <a:pt x="3012186" y="37338"/>
                </a:moveTo>
                <a:lnTo>
                  <a:pt x="3012186" y="0"/>
                </a:lnTo>
                <a:lnTo>
                  <a:pt x="541020" y="0"/>
                </a:lnTo>
                <a:lnTo>
                  <a:pt x="0" y="166878"/>
                </a:lnTo>
                <a:lnTo>
                  <a:pt x="64769" y="166878"/>
                </a:lnTo>
                <a:lnTo>
                  <a:pt x="541020" y="37338"/>
                </a:lnTo>
                <a:lnTo>
                  <a:pt x="3012186" y="37338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1" name="object 119"/>
          <p:cNvSpPr/>
          <p:nvPr/>
        </p:nvSpPr>
        <p:spPr>
          <a:xfrm>
            <a:off x="5271812" y="3400432"/>
            <a:ext cx="2210477" cy="82014"/>
          </a:xfrm>
          <a:custGeom>
            <a:avLst/>
            <a:gdLst/>
            <a:ahLst/>
            <a:cxnLst/>
            <a:rect l="l" t="t" r="r" b="b"/>
            <a:pathLst>
              <a:path w="3022600" h="177164">
                <a:moveTo>
                  <a:pt x="3022092" y="44958"/>
                </a:moveTo>
                <a:lnTo>
                  <a:pt x="3022092" y="2286"/>
                </a:lnTo>
                <a:lnTo>
                  <a:pt x="3019806" y="0"/>
                </a:lnTo>
                <a:lnTo>
                  <a:pt x="545592" y="0"/>
                </a:lnTo>
                <a:lnTo>
                  <a:pt x="545592" y="762"/>
                </a:lnTo>
                <a:lnTo>
                  <a:pt x="544830" y="762"/>
                </a:lnTo>
                <a:lnTo>
                  <a:pt x="3810" y="167640"/>
                </a:lnTo>
                <a:lnTo>
                  <a:pt x="1524" y="168402"/>
                </a:lnTo>
                <a:lnTo>
                  <a:pt x="0" y="170688"/>
                </a:lnTo>
                <a:lnTo>
                  <a:pt x="0" y="172974"/>
                </a:lnTo>
                <a:lnTo>
                  <a:pt x="762" y="175260"/>
                </a:lnTo>
                <a:lnTo>
                  <a:pt x="3048" y="176784"/>
                </a:lnTo>
                <a:lnTo>
                  <a:pt x="5334" y="176784"/>
                </a:lnTo>
                <a:lnTo>
                  <a:pt x="5334" y="167640"/>
                </a:lnTo>
                <a:lnTo>
                  <a:pt x="35782" y="167640"/>
                </a:lnTo>
                <a:lnTo>
                  <a:pt x="546354" y="10375"/>
                </a:lnTo>
                <a:lnTo>
                  <a:pt x="546354" y="9906"/>
                </a:lnTo>
                <a:lnTo>
                  <a:pt x="3012186" y="9906"/>
                </a:lnTo>
                <a:lnTo>
                  <a:pt x="3012186" y="5334"/>
                </a:lnTo>
                <a:lnTo>
                  <a:pt x="3017520" y="9906"/>
                </a:lnTo>
                <a:lnTo>
                  <a:pt x="3017520" y="47244"/>
                </a:lnTo>
                <a:lnTo>
                  <a:pt x="3019806" y="47244"/>
                </a:lnTo>
                <a:lnTo>
                  <a:pt x="3022092" y="44958"/>
                </a:lnTo>
                <a:close/>
              </a:path>
              <a:path w="3022600" h="177164">
                <a:moveTo>
                  <a:pt x="35782" y="167640"/>
                </a:moveTo>
                <a:lnTo>
                  <a:pt x="5334" y="167640"/>
                </a:lnTo>
                <a:lnTo>
                  <a:pt x="6096" y="176783"/>
                </a:lnTo>
                <a:lnTo>
                  <a:pt x="35782" y="167640"/>
                </a:lnTo>
                <a:close/>
              </a:path>
              <a:path w="3022600" h="177164">
                <a:moveTo>
                  <a:pt x="6096" y="176784"/>
                </a:moveTo>
                <a:lnTo>
                  <a:pt x="5334" y="167640"/>
                </a:lnTo>
                <a:lnTo>
                  <a:pt x="5334" y="176784"/>
                </a:lnTo>
                <a:lnTo>
                  <a:pt x="6096" y="176784"/>
                </a:lnTo>
                <a:close/>
              </a:path>
              <a:path w="3022600" h="177164">
                <a:moveTo>
                  <a:pt x="70104" y="176784"/>
                </a:moveTo>
                <a:lnTo>
                  <a:pt x="70104" y="167640"/>
                </a:lnTo>
                <a:lnTo>
                  <a:pt x="35782" y="167640"/>
                </a:lnTo>
                <a:lnTo>
                  <a:pt x="6096" y="176784"/>
                </a:lnTo>
                <a:lnTo>
                  <a:pt x="70104" y="176784"/>
                </a:lnTo>
                <a:close/>
              </a:path>
              <a:path w="3022600" h="177164">
                <a:moveTo>
                  <a:pt x="3017520" y="37338"/>
                </a:moveTo>
                <a:lnTo>
                  <a:pt x="545592" y="37338"/>
                </a:lnTo>
                <a:lnTo>
                  <a:pt x="545592" y="38100"/>
                </a:lnTo>
                <a:lnTo>
                  <a:pt x="544830" y="38100"/>
                </a:lnTo>
                <a:lnTo>
                  <a:pt x="68580" y="167640"/>
                </a:lnTo>
                <a:lnTo>
                  <a:pt x="70104" y="167640"/>
                </a:lnTo>
                <a:lnTo>
                  <a:pt x="70104" y="176784"/>
                </a:lnTo>
                <a:lnTo>
                  <a:pt x="71628" y="176784"/>
                </a:lnTo>
                <a:lnTo>
                  <a:pt x="546354" y="47658"/>
                </a:lnTo>
                <a:lnTo>
                  <a:pt x="546354" y="47244"/>
                </a:lnTo>
                <a:lnTo>
                  <a:pt x="3012186" y="47244"/>
                </a:lnTo>
                <a:lnTo>
                  <a:pt x="3012186" y="42672"/>
                </a:lnTo>
                <a:lnTo>
                  <a:pt x="3017520" y="37338"/>
                </a:lnTo>
                <a:close/>
              </a:path>
              <a:path w="3022600" h="177164">
                <a:moveTo>
                  <a:pt x="547878" y="9906"/>
                </a:moveTo>
                <a:lnTo>
                  <a:pt x="546354" y="9906"/>
                </a:lnTo>
                <a:lnTo>
                  <a:pt x="546354" y="10375"/>
                </a:lnTo>
                <a:lnTo>
                  <a:pt x="547878" y="9906"/>
                </a:lnTo>
                <a:close/>
              </a:path>
              <a:path w="3022600" h="177164">
                <a:moveTo>
                  <a:pt x="547878" y="47244"/>
                </a:moveTo>
                <a:lnTo>
                  <a:pt x="546354" y="47244"/>
                </a:lnTo>
                <a:lnTo>
                  <a:pt x="546354" y="47658"/>
                </a:lnTo>
                <a:lnTo>
                  <a:pt x="547878" y="47244"/>
                </a:lnTo>
                <a:close/>
              </a:path>
              <a:path w="3022600" h="177164">
                <a:moveTo>
                  <a:pt x="3017520" y="9906"/>
                </a:moveTo>
                <a:lnTo>
                  <a:pt x="3012186" y="5334"/>
                </a:lnTo>
                <a:lnTo>
                  <a:pt x="3012186" y="9906"/>
                </a:lnTo>
                <a:lnTo>
                  <a:pt x="3017520" y="9906"/>
                </a:lnTo>
                <a:close/>
              </a:path>
              <a:path w="3022600" h="177164">
                <a:moveTo>
                  <a:pt x="3017520" y="37338"/>
                </a:moveTo>
                <a:lnTo>
                  <a:pt x="3017520" y="9906"/>
                </a:lnTo>
                <a:lnTo>
                  <a:pt x="3012186" y="9906"/>
                </a:lnTo>
                <a:lnTo>
                  <a:pt x="3012186" y="37338"/>
                </a:lnTo>
                <a:lnTo>
                  <a:pt x="3017520" y="37338"/>
                </a:lnTo>
                <a:close/>
              </a:path>
              <a:path w="3022600" h="177164">
                <a:moveTo>
                  <a:pt x="3017520" y="47244"/>
                </a:moveTo>
                <a:lnTo>
                  <a:pt x="3017520" y="37338"/>
                </a:lnTo>
                <a:lnTo>
                  <a:pt x="3012186" y="42672"/>
                </a:lnTo>
                <a:lnTo>
                  <a:pt x="3012186" y="47244"/>
                </a:lnTo>
                <a:lnTo>
                  <a:pt x="3017520" y="4724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2" name="object 120"/>
          <p:cNvSpPr/>
          <p:nvPr/>
        </p:nvSpPr>
        <p:spPr>
          <a:xfrm>
            <a:off x="6134456" y="3392496"/>
            <a:ext cx="317175" cy="0"/>
          </a:xfrm>
          <a:custGeom>
            <a:avLst/>
            <a:gdLst/>
            <a:ahLst/>
            <a:cxnLst/>
            <a:rect l="l" t="t" r="r" b="b"/>
            <a:pathLst>
              <a:path w="433704">
                <a:moveTo>
                  <a:pt x="0" y="0"/>
                </a:moveTo>
                <a:lnTo>
                  <a:pt x="433577" y="0"/>
                </a:lnTo>
              </a:path>
            </a:pathLst>
          </a:custGeom>
          <a:ln w="37337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3" name="object 121"/>
          <p:cNvSpPr/>
          <p:nvPr/>
        </p:nvSpPr>
        <p:spPr>
          <a:xfrm>
            <a:off x="6130545" y="3381737"/>
            <a:ext cx="324606" cy="22047"/>
          </a:xfrm>
          <a:custGeom>
            <a:avLst/>
            <a:gdLst/>
            <a:ahLst/>
            <a:cxnLst/>
            <a:rect l="l" t="t" r="r" b="b"/>
            <a:pathLst>
              <a:path w="443865" h="47625">
                <a:moveTo>
                  <a:pt x="443483" y="47244"/>
                </a:moveTo>
                <a:lnTo>
                  <a:pt x="443483" y="0"/>
                </a:lnTo>
                <a:lnTo>
                  <a:pt x="0" y="0"/>
                </a:lnTo>
                <a:lnTo>
                  <a:pt x="0" y="47244"/>
                </a:lnTo>
                <a:lnTo>
                  <a:pt x="5346" y="47244"/>
                </a:lnTo>
                <a:lnTo>
                  <a:pt x="5346" y="9906"/>
                </a:lnTo>
                <a:lnTo>
                  <a:pt x="9918" y="4572"/>
                </a:lnTo>
                <a:lnTo>
                  <a:pt x="9918" y="9906"/>
                </a:lnTo>
                <a:lnTo>
                  <a:pt x="433578" y="9906"/>
                </a:lnTo>
                <a:lnTo>
                  <a:pt x="433578" y="4572"/>
                </a:lnTo>
                <a:lnTo>
                  <a:pt x="438912" y="9906"/>
                </a:lnTo>
                <a:lnTo>
                  <a:pt x="438912" y="47244"/>
                </a:lnTo>
                <a:lnTo>
                  <a:pt x="443483" y="47244"/>
                </a:lnTo>
                <a:close/>
              </a:path>
              <a:path w="443865" h="47625">
                <a:moveTo>
                  <a:pt x="9918" y="9906"/>
                </a:moveTo>
                <a:lnTo>
                  <a:pt x="9918" y="4572"/>
                </a:lnTo>
                <a:lnTo>
                  <a:pt x="5346" y="9906"/>
                </a:lnTo>
                <a:lnTo>
                  <a:pt x="9918" y="9906"/>
                </a:lnTo>
                <a:close/>
              </a:path>
              <a:path w="443865" h="47625">
                <a:moveTo>
                  <a:pt x="9918" y="37338"/>
                </a:moveTo>
                <a:lnTo>
                  <a:pt x="9918" y="9906"/>
                </a:lnTo>
                <a:lnTo>
                  <a:pt x="5346" y="9906"/>
                </a:lnTo>
                <a:lnTo>
                  <a:pt x="5346" y="37338"/>
                </a:lnTo>
                <a:lnTo>
                  <a:pt x="9918" y="37338"/>
                </a:lnTo>
                <a:close/>
              </a:path>
              <a:path w="443865" h="47625">
                <a:moveTo>
                  <a:pt x="438912" y="37338"/>
                </a:moveTo>
                <a:lnTo>
                  <a:pt x="5346" y="37338"/>
                </a:lnTo>
                <a:lnTo>
                  <a:pt x="9918" y="41910"/>
                </a:lnTo>
                <a:lnTo>
                  <a:pt x="9918" y="47244"/>
                </a:lnTo>
                <a:lnTo>
                  <a:pt x="433578" y="47244"/>
                </a:lnTo>
                <a:lnTo>
                  <a:pt x="433578" y="41910"/>
                </a:lnTo>
                <a:lnTo>
                  <a:pt x="438912" y="37338"/>
                </a:lnTo>
                <a:close/>
              </a:path>
              <a:path w="443865" h="47625">
                <a:moveTo>
                  <a:pt x="9918" y="47244"/>
                </a:moveTo>
                <a:lnTo>
                  <a:pt x="9918" y="41910"/>
                </a:lnTo>
                <a:lnTo>
                  <a:pt x="5346" y="37338"/>
                </a:lnTo>
                <a:lnTo>
                  <a:pt x="5346" y="47244"/>
                </a:lnTo>
                <a:lnTo>
                  <a:pt x="9918" y="47244"/>
                </a:lnTo>
                <a:close/>
              </a:path>
              <a:path w="443865" h="47625">
                <a:moveTo>
                  <a:pt x="438912" y="9906"/>
                </a:moveTo>
                <a:lnTo>
                  <a:pt x="433578" y="4572"/>
                </a:lnTo>
                <a:lnTo>
                  <a:pt x="433578" y="9906"/>
                </a:lnTo>
                <a:lnTo>
                  <a:pt x="438912" y="9906"/>
                </a:lnTo>
                <a:close/>
              </a:path>
              <a:path w="443865" h="47625">
                <a:moveTo>
                  <a:pt x="438912" y="37338"/>
                </a:moveTo>
                <a:lnTo>
                  <a:pt x="438912" y="9906"/>
                </a:lnTo>
                <a:lnTo>
                  <a:pt x="433578" y="9906"/>
                </a:lnTo>
                <a:lnTo>
                  <a:pt x="433578" y="37338"/>
                </a:lnTo>
                <a:lnTo>
                  <a:pt x="438912" y="37338"/>
                </a:lnTo>
                <a:close/>
              </a:path>
              <a:path w="443865" h="47625">
                <a:moveTo>
                  <a:pt x="438912" y="47244"/>
                </a:moveTo>
                <a:lnTo>
                  <a:pt x="438912" y="37338"/>
                </a:lnTo>
                <a:lnTo>
                  <a:pt x="433578" y="41910"/>
                </a:lnTo>
                <a:lnTo>
                  <a:pt x="433578" y="47244"/>
                </a:lnTo>
                <a:lnTo>
                  <a:pt x="438912" y="47244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4" name="object 122"/>
          <p:cNvSpPr/>
          <p:nvPr/>
        </p:nvSpPr>
        <p:spPr>
          <a:xfrm>
            <a:off x="6530661" y="3392319"/>
            <a:ext cx="317175" cy="0"/>
          </a:xfrm>
          <a:custGeom>
            <a:avLst/>
            <a:gdLst/>
            <a:ahLst/>
            <a:cxnLst/>
            <a:rect l="l" t="t" r="r" b="b"/>
            <a:pathLst>
              <a:path w="433704">
                <a:moveTo>
                  <a:pt x="0" y="0"/>
                </a:moveTo>
                <a:lnTo>
                  <a:pt x="433577" y="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5" name="object 123"/>
          <p:cNvSpPr/>
          <p:nvPr/>
        </p:nvSpPr>
        <p:spPr>
          <a:xfrm>
            <a:off x="6527326" y="3381384"/>
            <a:ext cx="324141" cy="22047"/>
          </a:xfrm>
          <a:custGeom>
            <a:avLst/>
            <a:gdLst/>
            <a:ahLst/>
            <a:cxnLst/>
            <a:rect l="l" t="t" r="r" b="b"/>
            <a:pathLst>
              <a:path w="443229" h="47625">
                <a:moveTo>
                  <a:pt x="442722" y="47244"/>
                </a:moveTo>
                <a:lnTo>
                  <a:pt x="442722" y="0"/>
                </a:lnTo>
                <a:lnTo>
                  <a:pt x="0" y="0"/>
                </a:lnTo>
                <a:lnTo>
                  <a:pt x="0" y="47244"/>
                </a:lnTo>
                <a:lnTo>
                  <a:pt x="4559" y="47244"/>
                </a:lnTo>
                <a:lnTo>
                  <a:pt x="4559" y="9906"/>
                </a:lnTo>
                <a:lnTo>
                  <a:pt x="9131" y="4572"/>
                </a:lnTo>
                <a:lnTo>
                  <a:pt x="9131" y="9906"/>
                </a:lnTo>
                <a:lnTo>
                  <a:pt x="433577" y="9906"/>
                </a:lnTo>
                <a:lnTo>
                  <a:pt x="433577" y="4572"/>
                </a:lnTo>
                <a:lnTo>
                  <a:pt x="438150" y="9906"/>
                </a:lnTo>
                <a:lnTo>
                  <a:pt x="438150" y="47244"/>
                </a:lnTo>
                <a:lnTo>
                  <a:pt x="442722" y="47244"/>
                </a:lnTo>
                <a:close/>
              </a:path>
              <a:path w="443229" h="47625">
                <a:moveTo>
                  <a:pt x="9131" y="9906"/>
                </a:moveTo>
                <a:lnTo>
                  <a:pt x="9131" y="4572"/>
                </a:lnTo>
                <a:lnTo>
                  <a:pt x="4559" y="9906"/>
                </a:lnTo>
                <a:lnTo>
                  <a:pt x="9131" y="9906"/>
                </a:lnTo>
                <a:close/>
              </a:path>
              <a:path w="443229" h="47625">
                <a:moveTo>
                  <a:pt x="9131" y="37338"/>
                </a:moveTo>
                <a:lnTo>
                  <a:pt x="9131" y="9906"/>
                </a:lnTo>
                <a:lnTo>
                  <a:pt x="4559" y="9906"/>
                </a:lnTo>
                <a:lnTo>
                  <a:pt x="4559" y="37338"/>
                </a:lnTo>
                <a:lnTo>
                  <a:pt x="9131" y="37338"/>
                </a:lnTo>
                <a:close/>
              </a:path>
              <a:path w="443229" h="47625">
                <a:moveTo>
                  <a:pt x="438150" y="37338"/>
                </a:moveTo>
                <a:lnTo>
                  <a:pt x="4559" y="37338"/>
                </a:lnTo>
                <a:lnTo>
                  <a:pt x="9131" y="42672"/>
                </a:lnTo>
                <a:lnTo>
                  <a:pt x="9131" y="47244"/>
                </a:lnTo>
                <a:lnTo>
                  <a:pt x="433577" y="47244"/>
                </a:lnTo>
                <a:lnTo>
                  <a:pt x="433577" y="42672"/>
                </a:lnTo>
                <a:lnTo>
                  <a:pt x="438150" y="37338"/>
                </a:lnTo>
                <a:close/>
              </a:path>
              <a:path w="443229" h="47625">
                <a:moveTo>
                  <a:pt x="9131" y="47244"/>
                </a:moveTo>
                <a:lnTo>
                  <a:pt x="9131" y="42672"/>
                </a:lnTo>
                <a:lnTo>
                  <a:pt x="4559" y="37338"/>
                </a:lnTo>
                <a:lnTo>
                  <a:pt x="4559" y="47244"/>
                </a:lnTo>
                <a:lnTo>
                  <a:pt x="9131" y="47244"/>
                </a:lnTo>
                <a:close/>
              </a:path>
              <a:path w="443229" h="47625">
                <a:moveTo>
                  <a:pt x="438150" y="9906"/>
                </a:moveTo>
                <a:lnTo>
                  <a:pt x="433577" y="4572"/>
                </a:lnTo>
                <a:lnTo>
                  <a:pt x="433577" y="9906"/>
                </a:lnTo>
                <a:lnTo>
                  <a:pt x="438150" y="9906"/>
                </a:lnTo>
                <a:close/>
              </a:path>
              <a:path w="443229" h="47625">
                <a:moveTo>
                  <a:pt x="438150" y="37338"/>
                </a:moveTo>
                <a:lnTo>
                  <a:pt x="438150" y="9906"/>
                </a:lnTo>
                <a:lnTo>
                  <a:pt x="433577" y="9906"/>
                </a:lnTo>
                <a:lnTo>
                  <a:pt x="433577" y="37338"/>
                </a:lnTo>
                <a:lnTo>
                  <a:pt x="438150" y="37338"/>
                </a:lnTo>
                <a:close/>
              </a:path>
              <a:path w="443229" h="47625">
                <a:moveTo>
                  <a:pt x="438150" y="47244"/>
                </a:moveTo>
                <a:lnTo>
                  <a:pt x="438150" y="37338"/>
                </a:lnTo>
                <a:lnTo>
                  <a:pt x="433577" y="42672"/>
                </a:lnTo>
                <a:lnTo>
                  <a:pt x="433577" y="47244"/>
                </a:lnTo>
                <a:lnTo>
                  <a:pt x="438150" y="47244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6" name="object 124"/>
          <p:cNvSpPr/>
          <p:nvPr/>
        </p:nvSpPr>
        <p:spPr>
          <a:xfrm>
            <a:off x="6924088" y="3392319"/>
            <a:ext cx="317175" cy="0"/>
          </a:xfrm>
          <a:custGeom>
            <a:avLst/>
            <a:gdLst/>
            <a:ahLst/>
            <a:cxnLst/>
            <a:rect l="l" t="t" r="r" b="b"/>
            <a:pathLst>
              <a:path w="433704">
                <a:moveTo>
                  <a:pt x="0" y="0"/>
                </a:moveTo>
                <a:lnTo>
                  <a:pt x="433577" y="0"/>
                </a:lnTo>
              </a:path>
            </a:pathLst>
          </a:custGeom>
          <a:ln w="38100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7" name="object 125"/>
          <p:cNvSpPr/>
          <p:nvPr/>
        </p:nvSpPr>
        <p:spPr>
          <a:xfrm>
            <a:off x="6920745" y="3381384"/>
            <a:ext cx="324141" cy="22047"/>
          </a:xfrm>
          <a:custGeom>
            <a:avLst/>
            <a:gdLst/>
            <a:ahLst/>
            <a:cxnLst/>
            <a:rect l="l" t="t" r="r" b="b"/>
            <a:pathLst>
              <a:path w="443229" h="47625">
                <a:moveTo>
                  <a:pt x="442722" y="47244"/>
                </a:moveTo>
                <a:lnTo>
                  <a:pt x="442722" y="0"/>
                </a:lnTo>
                <a:lnTo>
                  <a:pt x="0" y="0"/>
                </a:lnTo>
                <a:lnTo>
                  <a:pt x="0" y="47244"/>
                </a:lnTo>
                <a:lnTo>
                  <a:pt x="4572" y="47244"/>
                </a:lnTo>
                <a:lnTo>
                  <a:pt x="4572" y="9906"/>
                </a:lnTo>
                <a:lnTo>
                  <a:pt x="9918" y="4572"/>
                </a:lnTo>
                <a:lnTo>
                  <a:pt x="9918" y="9906"/>
                </a:lnTo>
                <a:lnTo>
                  <a:pt x="433590" y="9906"/>
                </a:lnTo>
                <a:lnTo>
                  <a:pt x="433590" y="4572"/>
                </a:lnTo>
                <a:lnTo>
                  <a:pt x="438150" y="9906"/>
                </a:lnTo>
                <a:lnTo>
                  <a:pt x="438150" y="47244"/>
                </a:lnTo>
                <a:lnTo>
                  <a:pt x="442722" y="47244"/>
                </a:lnTo>
                <a:close/>
              </a:path>
              <a:path w="443229" h="47625">
                <a:moveTo>
                  <a:pt x="9918" y="9906"/>
                </a:moveTo>
                <a:lnTo>
                  <a:pt x="9918" y="4572"/>
                </a:lnTo>
                <a:lnTo>
                  <a:pt x="4572" y="9906"/>
                </a:lnTo>
                <a:lnTo>
                  <a:pt x="9918" y="9906"/>
                </a:lnTo>
                <a:close/>
              </a:path>
              <a:path w="443229" h="47625">
                <a:moveTo>
                  <a:pt x="9918" y="37338"/>
                </a:moveTo>
                <a:lnTo>
                  <a:pt x="9918" y="9906"/>
                </a:lnTo>
                <a:lnTo>
                  <a:pt x="4572" y="9906"/>
                </a:lnTo>
                <a:lnTo>
                  <a:pt x="4572" y="37338"/>
                </a:lnTo>
                <a:lnTo>
                  <a:pt x="9918" y="37338"/>
                </a:lnTo>
                <a:close/>
              </a:path>
              <a:path w="443229" h="47625">
                <a:moveTo>
                  <a:pt x="438150" y="37338"/>
                </a:moveTo>
                <a:lnTo>
                  <a:pt x="4572" y="37338"/>
                </a:lnTo>
                <a:lnTo>
                  <a:pt x="9918" y="42672"/>
                </a:lnTo>
                <a:lnTo>
                  <a:pt x="9918" y="47244"/>
                </a:lnTo>
                <a:lnTo>
                  <a:pt x="433590" y="47244"/>
                </a:lnTo>
                <a:lnTo>
                  <a:pt x="433590" y="42672"/>
                </a:lnTo>
                <a:lnTo>
                  <a:pt x="438150" y="37338"/>
                </a:lnTo>
                <a:close/>
              </a:path>
              <a:path w="443229" h="47625">
                <a:moveTo>
                  <a:pt x="9918" y="47244"/>
                </a:moveTo>
                <a:lnTo>
                  <a:pt x="9918" y="42672"/>
                </a:lnTo>
                <a:lnTo>
                  <a:pt x="4572" y="37338"/>
                </a:lnTo>
                <a:lnTo>
                  <a:pt x="4572" y="47244"/>
                </a:lnTo>
                <a:lnTo>
                  <a:pt x="9918" y="47244"/>
                </a:lnTo>
                <a:close/>
              </a:path>
              <a:path w="443229" h="47625">
                <a:moveTo>
                  <a:pt x="438150" y="9906"/>
                </a:moveTo>
                <a:lnTo>
                  <a:pt x="433590" y="4572"/>
                </a:lnTo>
                <a:lnTo>
                  <a:pt x="433590" y="9906"/>
                </a:lnTo>
                <a:lnTo>
                  <a:pt x="438150" y="9906"/>
                </a:lnTo>
                <a:close/>
              </a:path>
              <a:path w="443229" h="47625">
                <a:moveTo>
                  <a:pt x="438150" y="37338"/>
                </a:moveTo>
                <a:lnTo>
                  <a:pt x="438150" y="9906"/>
                </a:lnTo>
                <a:lnTo>
                  <a:pt x="433590" y="9906"/>
                </a:lnTo>
                <a:lnTo>
                  <a:pt x="433590" y="37338"/>
                </a:lnTo>
                <a:lnTo>
                  <a:pt x="438150" y="37338"/>
                </a:lnTo>
                <a:close/>
              </a:path>
              <a:path w="443229" h="47625">
                <a:moveTo>
                  <a:pt x="438150" y="47244"/>
                </a:moveTo>
                <a:lnTo>
                  <a:pt x="438150" y="37338"/>
                </a:lnTo>
                <a:lnTo>
                  <a:pt x="433590" y="42672"/>
                </a:lnTo>
                <a:lnTo>
                  <a:pt x="433590" y="47244"/>
                </a:lnTo>
                <a:lnTo>
                  <a:pt x="438150" y="47244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8" name="object 126"/>
          <p:cNvSpPr/>
          <p:nvPr/>
        </p:nvSpPr>
        <p:spPr>
          <a:xfrm>
            <a:off x="5737684" y="3557582"/>
            <a:ext cx="317175" cy="0"/>
          </a:xfrm>
          <a:custGeom>
            <a:avLst/>
            <a:gdLst/>
            <a:ahLst/>
            <a:cxnLst/>
            <a:rect l="l" t="t" r="r" b="b"/>
            <a:pathLst>
              <a:path w="433704">
                <a:moveTo>
                  <a:pt x="0" y="0"/>
                </a:moveTo>
                <a:lnTo>
                  <a:pt x="433577" y="0"/>
                </a:lnTo>
              </a:path>
            </a:pathLst>
          </a:custGeom>
          <a:ln w="29717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79" name="object 127"/>
          <p:cNvSpPr/>
          <p:nvPr/>
        </p:nvSpPr>
        <p:spPr>
          <a:xfrm>
            <a:off x="5734341" y="3548587"/>
            <a:ext cx="324141" cy="18226"/>
          </a:xfrm>
          <a:custGeom>
            <a:avLst/>
            <a:gdLst/>
            <a:ahLst/>
            <a:cxnLst/>
            <a:rect l="l" t="t" r="r" b="b"/>
            <a:pathLst>
              <a:path w="443229" h="39370">
                <a:moveTo>
                  <a:pt x="442721" y="38862"/>
                </a:moveTo>
                <a:lnTo>
                  <a:pt x="442721" y="0"/>
                </a:lnTo>
                <a:lnTo>
                  <a:pt x="0" y="0"/>
                </a:lnTo>
                <a:lnTo>
                  <a:pt x="0" y="38862"/>
                </a:lnTo>
                <a:lnTo>
                  <a:pt x="4571" y="38862"/>
                </a:lnTo>
                <a:lnTo>
                  <a:pt x="4571" y="9905"/>
                </a:lnTo>
                <a:lnTo>
                  <a:pt x="9905" y="4571"/>
                </a:lnTo>
                <a:lnTo>
                  <a:pt x="9905" y="9905"/>
                </a:lnTo>
                <a:lnTo>
                  <a:pt x="433577" y="9905"/>
                </a:lnTo>
                <a:lnTo>
                  <a:pt x="433577" y="4571"/>
                </a:lnTo>
                <a:lnTo>
                  <a:pt x="438149" y="9905"/>
                </a:lnTo>
                <a:lnTo>
                  <a:pt x="438149" y="38862"/>
                </a:lnTo>
                <a:lnTo>
                  <a:pt x="442721" y="38862"/>
                </a:lnTo>
                <a:close/>
              </a:path>
              <a:path w="443229" h="39370">
                <a:moveTo>
                  <a:pt x="9905" y="9905"/>
                </a:moveTo>
                <a:lnTo>
                  <a:pt x="9905" y="4571"/>
                </a:lnTo>
                <a:lnTo>
                  <a:pt x="4571" y="9905"/>
                </a:lnTo>
                <a:lnTo>
                  <a:pt x="9905" y="9905"/>
                </a:lnTo>
                <a:close/>
              </a:path>
              <a:path w="443229" h="39370">
                <a:moveTo>
                  <a:pt x="9905" y="29717"/>
                </a:moveTo>
                <a:lnTo>
                  <a:pt x="9905" y="9905"/>
                </a:lnTo>
                <a:lnTo>
                  <a:pt x="4571" y="9905"/>
                </a:lnTo>
                <a:lnTo>
                  <a:pt x="4571" y="29717"/>
                </a:lnTo>
                <a:lnTo>
                  <a:pt x="9905" y="29717"/>
                </a:lnTo>
                <a:close/>
              </a:path>
              <a:path w="443229" h="39370">
                <a:moveTo>
                  <a:pt x="438149" y="29717"/>
                </a:moveTo>
                <a:lnTo>
                  <a:pt x="4571" y="29717"/>
                </a:lnTo>
                <a:lnTo>
                  <a:pt x="9905" y="34289"/>
                </a:lnTo>
                <a:lnTo>
                  <a:pt x="9905" y="38862"/>
                </a:lnTo>
                <a:lnTo>
                  <a:pt x="433577" y="38862"/>
                </a:lnTo>
                <a:lnTo>
                  <a:pt x="433577" y="34289"/>
                </a:lnTo>
                <a:lnTo>
                  <a:pt x="438149" y="29717"/>
                </a:lnTo>
                <a:close/>
              </a:path>
              <a:path w="443229" h="39370">
                <a:moveTo>
                  <a:pt x="9905" y="38862"/>
                </a:moveTo>
                <a:lnTo>
                  <a:pt x="9905" y="34289"/>
                </a:lnTo>
                <a:lnTo>
                  <a:pt x="4571" y="29717"/>
                </a:lnTo>
                <a:lnTo>
                  <a:pt x="4571" y="38862"/>
                </a:lnTo>
                <a:lnTo>
                  <a:pt x="9905" y="38862"/>
                </a:lnTo>
                <a:close/>
              </a:path>
              <a:path w="443229" h="39370">
                <a:moveTo>
                  <a:pt x="438149" y="9905"/>
                </a:moveTo>
                <a:lnTo>
                  <a:pt x="433577" y="4571"/>
                </a:lnTo>
                <a:lnTo>
                  <a:pt x="433577" y="9905"/>
                </a:lnTo>
                <a:lnTo>
                  <a:pt x="438149" y="9905"/>
                </a:lnTo>
                <a:close/>
              </a:path>
              <a:path w="443229" h="39370">
                <a:moveTo>
                  <a:pt x="438149" y="29717"/>
                </a:moveTo>
                <a:lnTo>
                  <a:pt x="438149" y="9905"/>
                </a:lnTo>
                <a:lnTo>
                  <a:pt x="433577" y="9905"/>
                </a:lnTo>
                <a:lnTo>
                  <a:pt x="433577" y="29717"/>
                </a:lnTo>
                <a:lnTo>
                  <a:pt x="438149" y="29717"/>
                </a:lnTo>
                <a:close/>
              </a:path>
              <a:path w="443229" h="39370">
                <a:moveTo>
                  <a:pt x="438149" y="38862"/>
                </a:moveTo>
                <a:lnTo>
                  <a:pt x="438149" y="29717"/>
                </a:lnTo>
                <a:lnTo>
                  <a:pt x="433577" y="34289"/>
                </a:lnTo>
                <a:lnTo>
                  <a:pt x="433577" y="38862"/>
                </a:lnTo>
                <a:lnTo>
                  <a:pt x="438149" y="3886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0" name="object 128"/>
          <p:cNvSpPr/>
          <p:nvPr/>
        </p:nvSpPr>
        <p:spPr>
          <a:xfrm>
            <a:off x="5275713" y="3489325"/>
            <a:ext cx="2203046" cy="60849"/>
          </a:xfrm>
          <a:custGeom>
            <a:avLst/>
            <a:gdLst/>
            <a:ahLst/>
            <a:cxnLst/>
            <a:rect l="l" t="t" r="r" b="b"/>
            <a:pathLst>
              <a:path w="3012440" h="131445">
                <a:moveTo>
                  <a:pt x="3012186" y="131063"/>
                </a:moveTo>
                <a:lnTo>
                  <a:pt x="3012186" y="101345"/>
                </a:lnTo>
                <a:lnTo>
                  <a:pt x="541020" y="101345"/>
                </a:lnTo>
                <a:lnTo>
                  <a:pt x="64769" y="0"/>
                </a:lnTo>
                <a:lnTo>
                  <a:pt x="0" y="0"/>
                </a:lnTo>
                <a:lnTo>
                  <a:pt x="541020" y="131063"/>
                </a:lnTo>
                <a:lnTo>
                  <a:pt x="3012186" y="131063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1" name="object 129"/>
          <p:cNvSpPr/>
          <p:nvPr/>
        </p:nvSpPr>
        <p:spPr>
          <a:xfrm>
            <a:off x="5271812" y="3487209"/>
            <a:ext cx="2210477" cy="64965"/>
          </a:xfrm>
          <a:custGeom>
            <a:avLst/>
            <a:gdLst/>
            <a:ahLst/>
            <a:cxnLst/>
            <a:rect l="l" t="t" r="r" b="b"/>
            <a:pathLst>
              <a:path w="3022600" h="140335">
                <a:moveTo>
                  <a:pt x="6096" y="0"/>
                </a:moveTo>
                <a:lnTo>
                  <a:pt x="2286" y="0"/>
                </a:lnTo>
                <a:lnTo>
                  <a:pt x="762" y="1524"/>
                </a:lnTo>
                <a:lnTo>
                  <a:pt x="0" y="3810"/>
                </a:lnTo>
                <a:lnTo>
                  <a:pt x="0" y="6096"/>
                </a:lnTo>
                <a:lnTo>
                  <a:pt x="1524" y="8382"/>
                </a:lnTo>
                <a:lnTo>
                  <a:pt x="3810" y="9144"/>
                </a:lnTo>
                <a:lnTo>
                  <a:pt x="5334" y="9513"/>
                </a:lnTo>
                <a:lnTo>
                  <a:pt x="5334" y="9144"/>
                </a:lnTo>
                <a:lnTo>
                  <a:pt x="6096" y="0"/>
                </a:lnTo>
                <a:close/>
              </a:path>
              <a:path w="3022600" h="140335">
                <a:moveTo>
                  <a:pt x="43841" y="9143"/>
                </a:moveTo>
                <a:lnTo>
                  <a:pt x="6096" y="0"/>
                </a:lnTo>
                <a:lnTo>
                  <a:pt x="5334" y="9144"/>
                </a:lnTo>
                <a:lnTo>
                  <a:pt x="43841" y="9143"/>
                </a:lnTo>
                <a:close/>
              </a:path>
              <a:path w="3022600" h="140335">
                <a:moveTo>
                  <a:pt x="547116" y="140207"/>
                </a:moveTo>
                <a:lnTo>
                  <a:pt x="547116" y="131063"/>
                </a:lnTo>
                <a:lnTo>
                  <a:pt x="43841" y="9143"/>
                </a:lnTo>
                <a:lnTo>
                  <a:pt x="5334" y="9144"/>
                </a:lnTo>
                <a:lnTo>
                  <a:pt x="5334" y="9513"/>
                </a:lnTo>
                <a:lnTo>
                  <a:pt x="544830" y="140207"/>
                </a:lnTo>
                <a:lnTo>
                  <a:pt x="547116" y="140207"/>
                </a:lnTo>
                <a:close/>
              </a:path>
              <a:path w="3022600" h="140335">
                <a:moveTo>
                  <a:pt x="547116" y="101345"/>
                </a:moveTo>
                <a:lnTo>
                  <a:pt x="70866" y="0"/>
                </a:lnTo>
                <a:lnTo>
                  <a:pt x="6096" y="0"/>
                </a:lnTo>
                <a:lnTo>
                  <a:pt x="43841" y="9144"/>
                </a:lnTo>
                <a:lnTo>
                  <a:pt x="70104" y="9143"/>
                </a:lnTo>
                <a:lnTo>
                  <a:pt x="70104" y="9306"/>
                </a:lnTo>
                <a:lnTo>
                  <a:pt x="545592" y="110489"/>
                </a:lnTo>
                <a:lnTo>
                  <a:pt x="545592" y="111251"/>
                </a:lnTo>
                <a:lnTo>
                  <a:pt x="546354" y="111251"/>
                </a:lnTo>
                <a:lnTo>
                  <a:pt x="546354" y="101345"/>
                </a:lnTo>
                <a:lnTo>
                  <a:pt x="547116" y="101345"/>
                </a:lnTo>
                <a:close/>
              </a:path>
              <a:path w="3022600" h="140335">
                <a:moveTo>
                  <a:pt x="70104" y="9306"/>
                </a:moveTo>
                <a:lnTo>
                  <a:pt x="70104" y="9143"/>
                </a:lnTo>
                <a:lnTo>
                  <a:pt x="69342" y="9143"/>
                </a:lnTo>
                <a:lnTo>
                  <a:pt x="70104" y="9306"/>
                </a:lnTo>
                <a:close/>
              </a:path>
              <a:path w="3022600" h="140335">
                <a:moveTo>
                  <a:pt x="3022092" y="137921"/>
                </a:moveTo>
                <a:lnTo>
                  <a:pt x="3022092" y="103631"/>
                </a:lnTo>
                <a:lnTo>
                  <a:pt x="3019806" y="101345"/>
                </a:lnTo>
                <a:lnTo>
                  <a:pt x="546354" y="101345"/>
                </a:lnTo>
                <a:lnTo>
                  <a:pt x="546354" y="111251"/>
                </a:lnTo>
                <a:lnTo>
                  <a:pt x="3012186" y="111251"/>
                </a:lnTo>
                <a:lnTo>
                  <a:pt x="3012186" y="105917"/>
                </a:lnTo>
                <a:lnTo>
                  <a:pt x="3017520" y="111251"/>
                </a:lnTo>
                <a:lnTo>
                  <a:pt x="3017520" y="140207"/>
                </a:lnTo>
                <a:lnTo>
                  <a:pt x="3019806" y="140207"/>
                </a:lnTo>
                <a:lnTo>
                  <a:pt x="3022092" y="137921"/>
                </a:lnTo>
                <a:close/>
              </a:path>
              <a:path w="3022600" h="140335">
                <a:moveTo>
                  <a:pt x="3017520" y="130301"/>
                </a:moveTo>
                <a:lnTo>
                  <a:pt x="546354" y="130301"/>
                </a:lnTo>
                <a:lnTo>
                  <a:pt x="547116" y="131063"/>
                </a:lnTo>
                <a:lnTo>
                  <a:pt x="547116" y="140207"/>
                </a:lnTo>
                <a:lnTo>
                  <a:pt x="3012186" y="140207"/>
                </a:lnTo>
                <a:lnTo>
                  <a:pt x="3012186" y="135635"/>
                </a:lnTo>
                <a:lnTo>
                  <a:pt x="3017520" y="130301"/>
                </a:lnTo>
                <a:close/>
              </a:path>
              <a:path w="3022600" h="140335">
                <a:moveTo>
                  <a:pt x="3017520" y="111251"/>
                </a:moveTo>
                <a:lnTo>
                  <a:pt x="3012186" y="105917"/>
                </a:lnTo>
                <a:lnTo>
                  <a:pt x="3012186" y="111251"/>
                </a:lnTo>
                <a:lnTo>
                  <a:pt x="3017520" y="111251"/>
                </a:lnTo>
                <a:close/>
              </a:path>
              <a:path w="3022600" h="140335">
                <a:moveTo>
                  <a:pt x="3017520" y="130301"/>
                </a:moveTo>
                <a:lnTo>
                  <a:pt x="3017520" y="111251"/>
                </a:lnTo>
                <a:lnTo>
                  <a:pt x="3012186" y="111251"/>
                </a:lnTo>
                <a:lnTo>
                  <a:pt x="3012186" y="130301"/>
                </a:lnTo>
                <a:lnTo>
                  <a:pt x="3017520" y="130301"/>
                </a:lnTo>
                <a:close/>
              </a:path>
              <a:path w="3022600" h="140335">
                <a:moveTo>
                  <a:pt x="3017520" y="140207"/>
                </a:moveTo>
                <a:lnTo>
                  <a:pt x="3017520" y="130301"/>
                </a:lnTo>
                <a:lnTo>
                  <a:pt x="3012186" y="135635"/>
                </a:lnTo>
                <a:lnTo>
                  <a:pt x="3012186" y="140207"/>
                </a:lnTo>
                <a:lnTo>
                  <a:pt x="3017520" y="1402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2" name="object 130"/>
          <p:cNvSpPr/>
          <p:nvPr/>
        </p:nvSpPr>
        <p:spPr>
          <a:xfrm>
            <a:off x="6134456" y="3557759"/>
            <a:ext cx="317175" cy="0"/>
          </a:xfrm>
          <a:custGeom>
            <a:avLst/>
            <a:gdLst/>
            <a:ahLst/>
            <a:cxnLst/>
            <a:rect l="l" t="t" r="r" b="b"/>
            <a:pathLst>
              <a:path w="433704">
                <a:moveTo>
                  <a:pt x="0" y="0"/>
                </a:moveTo>
                <a:lnTo>
                  <a:pt x="433577" y="0"/>
                </a:lnTo>
              </a:path>
            </a:pathLst>
          </a:custGeom>
          <a:ln w="2895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3" name="object 131"/>
          <p:cNvSpPr/>
          <p:nvPr/>
        </p:nvSpPr>
        <p:spPr>
          <a:xfrm>
            <a:off x="6130545" y="3548940"/>
            <a:ext cx="324606" cy="18226"/>
          </a:xfrm>
          <a:custGeom>
            <a:avLst/>
            <a:gdLst/>
            <a:ahLst/>
            <a:cxnLst/>
            <a:rect l="l" t="t" r="r" b="b"/>
            <a:pathLst>
              <a:path w="443865" h="39370">
                <a:moveTo>
                  <a:pt x="443483" y="38862"/>
                </a:moveTo>
                <a:lnTo>
                  <a:pt x="443483" y="0"/>
                </a:lnTo>
                <a:lnTo>
                  <a:pt x="0" y="0"/>
                </a:lnTo>
                <a:lnTo>
                  <a:pt x="0" y="38862"/>
                </a:lnTo>
                <a:lnTo>
                  <a:pt x="5346" y="38862"/>
                </a:lnTo>
                <a:lnTo>
                  <a:pt x="5346" y="9143"/>
                </a:lnTo>
                <a:lnTo>
                  <a:pt x="9918" y="4571"/>
                </a:lnTo>
                <a:lnTo>
                  <a:pt x="9918" y="9143"/>
                </a:lnTo>
                <a:lnTo>
                  <a:pt x="433578" y="9143"/>
                </a:lnTo>
                <a:lnTo>
                  <a:pt x="433578" y="4571"/>
                </a:lnTo>
                <a:lnTo>
                  <a:pt x="438912" y="9143"/>
                </a:lnTo>
                <a:lnTo>
                  <a:pt x="438912" y="38862"/>
                </a:lnTo>
                <a:lnTo>
                  <a:pt x="443483" y="38862"/>
                </a:lnTo>
                <a:close/>
              </a:path>
              <a:path w="443865" h="39370">
                <a:moveTo>
                  <a:pt x="9918" y="9143"/>
                </a:moveTo>
                <a:lnTo>
                  <a:pt x="9918" y="4571"/>
                </a:lnTo>
                <a:lnTo>
                  <a:pt x="5346" y="9143"/>
                </a:lnTo>
                <a:lnTo>
                  <a:pt x="9918" y="9143"/>
                </a:lnTo>
                <a:close/>
              </a:path>
              <a:path w="443865" h="39370">
                <a:moveTo>
                  <a:pt x="9918" y="28955"/>
                </a:moveTo>
                <a:lnTo>
                  <a:pt x="9918" y="9143"/>
                </a:lnTo>
                <a:lnTo>
                  <a:pt x="5346" y="9143"/>
                </a:lnTo>
                <a:lnTo>
                  <a:pt x="5346" y="28955"/>
                </a:lnTo>
                <a:lnTo>
                  <a:pt x="9918" y="28955"/>
                </a:lnTo>
                <a:close/>
              </a:path>
              <a:path w="443865" h="39370">
                <a:moveTo>
                  <a:pt x="438912" y="28955"/>
                </a:moveTo>
                <a:lnTo>
                  <a:pt x="5346" y="28955"/>
                </a:lnTo>
                <a:lnTo>
                  <a:pt x="9918" y="33527"/>
                </a:lnTo>
                <a:lnTo>
                  <a:pt x="9918" y="38862"/>
                </a:lnTo>
                <a:lnTo>
                  <a:pt x="433578" y="38862"/>
                </a:lnTo>
                <a:lnTo>
                  <a:pt x="433578" y="33527"/>
                </a:lnTo>
                <a:lnTo>
                  <a:pt x="438912" y="28955"/>
                </a:lnTo>
                <a:close/>
              </a:path>
              <a:path w="443865" h="39370">
                <a:moveTo>
                  <a:pt x="9918" y="38862"/>
                </a:moveTo>
                <a:lnTo>
                  <a:pt x="9918" y="33527"/>
                </a:lnTo>
                <a:lnTo>
                  <a:pt x="5346" y="28955"/>
                </a:lnTo>
                <a:lnTo>
                  <a:pt x="5346" y="38862"/>
                </a:lnTo>
                <a:lnTo>
                  <a:pt x="9918" y="38862"/>
                </a:lnTo>
                <a:close/>
              </a:path>
              <a:path w="443865" h="39370">
                <a:moveTo>
                  <a:pt x="438912" y="9143"/>
                </a:moveTo>
                <a:lnTo>
                  <a:pt x="433578" y="4571"/>
                </a:lnTo>
                <a:lnTo>
                  <a:pt x="433578" y="9143"/>
                </a:lnTo>
                <a:lnTo>
                  <a:pt x="438912" y="9143"/>
                </a:lnTo>
                <a:close/>
              </a:path>
              <a:path w="443865" h="39370">
                <a:moveTo>
                  <a:pt x="438912" y="28955"/>
                </a:moveTo>
                <a:lnTo>
                  <a:pt x="438912" y="9143"/>
                </a:lnTo>
                <a:lnTo>
                  <a:pt x="433578" y="9143"/>
                </a:lnTo>
                <a:lnTo>
                  <a:pt x="433578" y="28955"/>
                </a:lnTo>
                <a:lnTo>
                  <a:pt x="438912" y="28955"/>
                </a:lnTo>
                <a:close/>
              </a:path>
              <a:path w="443865" h="39370">
                <a:moveTo>
                  <a:pt x="438912" y="38862"/>
                </a:moveTo>
                <a:lnTo>
                  <a:pt x="438912" y="28955"/>
                </a:lnTo>
                <a:lnTo>
                  <a:pt x="433578" y="33527"/>
                </a:lnTo>
                <a:lnTo>
                  <a:pt x="433578" y="38862"/>
                </a:lnTo>
                <a:lnTo>
                  <a:pt x="438912" y="3886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4" name="object 132"/>
          <p:cNvSpPr/>
          <p:nvPr/>
        </p:nvSpPr>
        <p:spPr>
          <a:xfrm>
            <a:off x="6530661" y="3558112"/>
            <a:ext cx="317175" cy="0"/>
          </a:xfrm>
          <a:custGeom>
            <a:avLst/>
            <a:gdLst/>
            <a:ahLst/>
            <a:cxnLst/>
            <a:rect l="l" t="t" r="r" b="b"/>
            <a:pathLst>
              <a:path w="433704">
                <a:moveTo>
                  <a:pt x="0" y="0"/>
                </a:moveTo>
                <a:lnTo>
                  <a:pt x="433577" y="0"/>
                </a:lnTo>
              </a:path>
            </a:pathLst>
          </a:custGeom>
          <a:ln w="2895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5" name="object 133"/>
          <p:cNvSpPr/>
          <p:nvPr/>
        </p:nvSpPr>
        <p:spPr>
          <a:xfrm>
            <a:off x="6527326" y="3548940"/>
            <a:ext cx="324141" cy="18226"/>
          </a:xfrm>
          <a:custGeom>
            <a:avLst/>
            <a:gdLst/>
            <a:ahLst/>
            <a:cxnLst/>
            <a:rect l="l" t="t" r="r" b="b"/>
            <a:pathLst>
              <a:path w="443229" h="39370">
                <a:moveTo>
                  <a:pt x="442722" y="38862"/>
                </a:moveTo>
                <a:lnTo>
                  <a:pt x="442722" y="0"/>
                </a:lnTo>
                <a:lnTo>
                  <a:pt x="0" y="0"/>
                </a:lnTo>
                <a:lnTo>
                  <a:pt x="0" y="38862"/>
                </a:lnTo>
                <a:lnTo>
                  <a:pt x="4559" y="38862"/>
                </a:lnTo>
                <a:lnTo>
                  <a:pt x="4559" y="9905"/>
                </a:lnTo>
                <a:lnTo>
                  <a:pt x="9131" y="5333"/>
                </a:lnTo>
                <a:lnTo>
                  <a:pt x="9131" y="9905"/>
                </a:lnTo>
                <a:lnTo>
                  <a:pt x="433577" y="9905"/>
                </a:lnTo>
                <a:lnTo>
                  <a:pt x="433577" y="5333"/>
                </a:lnTo>
                <a:lnTo>
                  <a:pt x="438150" y="9905"/>
                </a:lnTo>
                <a:lnTo>
                  <a:pt x="438150" y="38862"/>
                </a:lnTo>
                <a:lnTo>
                  <a:pt x="442722" y="38862"/>
                </a:lnTo>
                <a:close/>
              </a:path>
              <a:path w="443229" h="39370">
                <a:moveTo>
                  <a:pt x="9131" y="9905"/>
                </a:moveTo>
                <a:lnTo>
                  <a:pt x="9131" y="5333"/>
                </a:lnTo>
                <a:lnTo>
                  <a:pt x="4559" y="9905"/>
                </a:lnTo>
                <a:lnTo>
                  <a:pt x="9131" y="9905"/>
                </a:lnTo>
                <a:close/>
              </a:path>
              <a:path w="443229" h="39370">
                <a:moveTo>
                  <a:pt x="9131" y="29717"/>
                </a:moveTo>
                <a:lnTo>
                  <a:pt x="9131" y="9905"/>
                </a:lnTo>
                <a:lnTo>
                  <a:pt x="4559" y="9905"/>
                </a:lnTo>
                <a:lnTo>
                  <a:pt x="4559" y="29717"/>
                </a:lnTo>
                <a:lnTo>
                  <a:pt x="9131" y="29717"/>
                </a:lnTo>
                <a:close/>
              </a:path>
              <a:path w="443229" h="39370">
                <a:moveTo>
                  <a:pt x="438150" y="29717"/>
                </a:moveTo>
                <a:lnTo>
                  <a:pt x="4559" y="29717"/>
                </a:lnTo>
                <a:lnTo>
                  <a:pt x="9131" y="34289"/>
                </a:lnTo>
                <a:lnTo>
                  <a:pt x="9131" y="38862"/>
                </a:lnTo>
                <a:lnTo>
                  <a:pt x="433577" y="38862"/>
                </a:lnTo>
                <a:lnTo>
                  <a:pt x="433577" y="34289"/>
                </a:lnTo>
                <a:lnTo>
                  <a:pt x="438150" y="29717"/>
                </a:lnTo>
                <a:close/>
              </a:path>
              <a:path w="443229" h="39370">
                <a:moveTo>
                  <a:pt x="9131" y="38862"/>
                </a:moveTo>
                <a:lnTo>
                  <a:pt x="9131" y="34289"/>
                </a:lnTo>
                <a:lnTo>
                  <a:pt x="4559" y="29717"/>
                </a:lnTo>
                <a:lnTo>
                  <a:pt x="4559" y="38862"/>
                </a:lnTo>
                <a:lnTo>
                  <a:pt x="9131" y="38862"/>
                </a:lnTo>
                <a:close/>
              </a:path>
              <a:path w="443229" h="39370">
                <a:moveTo>
                  <a:pt x="438150" y="9905"/>
                </a:moveTo>
                <a:lnTo>
                  <a:pt x="433577" y="5333"/>
                </a:lnTo>
                <a:lnTo>
                  <a:pt x="433577" y="9905"/>
                </a:lnTo>
                <a:lnTo>
                  <a:pt x="438150" y="9905"/>
                </a:lnTo>
                <a:close/>
              </a:path>
              <a:path w="443229" h="39370">
                <a:moveTo>
                  <a:pt x="438150" y="29717"/>
                </a:moveTo>
                <a:lnTo>
                  <a:pt x="438150" y="9905"/>
                </a:lnTo>
                <a:lnTo>
                  <a:pt x="433577" y="9905"/>
                </a:lnTo>
                <a:lnTo>
                  <a:pt x="433577" y="29717"/>
                </a:lnTo>
                <a:lnTo>
                  <a:pt x="438150" y="29717"/>
                </a:lnTo>
                <a:close/>
              </a:path>
              <a:path w="443229" h="39370">
                <a:moveTo>
                  <a:pt x="438150" y="38862"/>
                </a:moveTo>
                <a:lnTo>
                  <a:pt x="438150" y="29717"/>
                </a:lnTo>
                <a:lnTo>
                  <a:pt x="433577" y="34289"/>
                </a:lnTo>
                <a:lnTo>
                  <a:pt x="433577" y="38862"/>
                </a:lnTo>
                <a:lnTo>
                  <a:pt x="438150" y="3886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6" name="object 134"/>
          <p:cNvSpPr/>
          <p:nvPr/>
        </p:nvSpPr>
        <p:spPr>
          <a:xfrm>
            <a:off x="6924088" y="3558112"/>
            <a:ext cx="317175" cy="0"/>
          </a:xfrm>
          <a:custGeom>
            <a:avLst/>
            <a:gdLst/>
            <a:ahLst/>
            <a:cxnLst/>
            <a:rect l="l" t="t" r="r" b="b"/>
            <a:pathLst>
              <a:path w="433704">
                <a:moveTo>
                  <a:pt x="0" y="0"/>
                </a:moveTo>
                <a:lnTo>
                  <a:pt x="433577" y="0"/>
                </a:lnTo>
              </a:path>
            </a:pathLst>
          </a:custGeom>
          <a:ln w="2895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7" name="object 135"/>
          <p:cNvSpPr/>
          <p:nvPr/>
        </p:nvSpPr>
        <p:spPr>
          <a:xfrm>
            <a:off x="6920745" y="3548940"/>
            <a:ext cx="324141" cy="18226"/>
          </a:xfrm>
          <a:custGeom>
            <a:avLst/>
            <a:gdLst/>
            <a:ahLst/>
            <a:cxnLst/>
            <a:rect l="l" t="t" r="r" b="b"/>
            <a:pathLst>
              <a:path w="443229" h="39370">
                <a:moveTo>
                  <a:pt x="442722" y="38862"/>
                </a:moveTo>
                <a:lnTo>
                  <a:pt x="442722" y="0"/>
                </a:lnTo>
                <a:lnTo>
                  <a:pt x="0" y="0"/>
                </a:lnTo>
                <a:lnTo>
                  <a:pt x="0" y="38862"/>
                </a:lnTo>
                <a:lnTo>
                  <a:pt x="4572" y="38862"/>
                </a:lnTo>
                <a:lnTo>
                  <a:pt x="4572" y="9905"/>
                </a:lnTo>
                <a:lnTo>
                  <a:pt x="9918" y="5333"/>
                </a:lnTo>
                <a:lnTo>
                  <a:pt x="9918" y="9905"/>
                </a:lnTo>
                <a:lnTo>
                  <a:pt x="433590" y="9905"/>
                </a:lnTo>
                <a:lnTo>
                  <a:pt x="433590" y="5333"/>
                </a:lnTo>
                <a:lnTo>
                  <a:pt x="438150" y="9905"/>
                </a:lnTo>
                <a:lnTo>
                  <a:pt x="438150" y="38862"/>
                </a:lnTo>
                <a:lnTo>
                  <a:pt x="442722" y="38862"/>
                </a:lnTo>
                <a:close/>
              </a:path>
              <a:path w="443229" h="39370">
                <a:moveTo>
                  <a:pt x="9918" y="9905"/>
                </a:moveTo>
                <a:lnTo>
                  <a:pt x="9918" y="5333"/>
                </a:lnTo>
                <a:lnTo>
                  <a:pt x="4572" y="9905"/>
                </a:lnTo>
                <a:lnTo>
                  <a:pt x="9918" y="9905"/>
                </a:lnTo>
                <a:close/>
              </a:path>
              <a:path w="443229" h="39370">
                <a:moveTo>
                  <a:pt x="9918" y="29717"/>
                </a:moveTo>
                <a:lnTo>
                  <a:pt x="9918" y="9905"/>
                </a:lnTo>
                <a:lnTo>
                  <a:pt x="4572" y="9905"/>
                </a:lnTo>
                <a:lnTo>
                  <a:pt x="4572" y="29717"/>
                </a:lnTo>
                <a:lnTo>
                  <a:pt x="9918" y="29717"/>
                </a:lnTo>
                <a:close/>
              </a:path>
              <a:path w="443229" h="39370">
                <a:moveTo>
                  <a:pt x="438150" y="29717"/>
                </a:moveTo>
                <a:lnTo>
                  <a:pt x="4572" y="29717"/>
                </a:lnTo>
                <a:lnTo>
                  <a:pt x="9918" y="34289"/>
                </a:lnTo>
                <a:lnTo>
                  <a:pt x="9918" y="38862"/>
                </a:lnTo>
                <a:lnTo>
                  <a:pt x="433590" y="38862"/>
                </a:lnTo>
                <a:lnTo>
                  <a:pt x="433590" y="34289"/>
                </a:lnTo>
                <a:lnTo>
                  <a:pt x="438150" y="29717"/>
                </a:lnTo>
                <a:close/>
              </a:path>
              <a:path w="443229" h="39370">
                <a:moveTo>
                  <a:pt x="9918" y="38862"/>
                </a:moveTo>
                <a:lnTo>
                  <a:pt x="9918" y="34289"/>
                </a:lnTo>
                <a:lnTo>
                  <a:pt x="4572" y="29717"/>
                </a:lnTo>
                <a:lnTo>
                  <a:pt x="4572" y="38862"/>
                </a:lnTo>
                <a:lnTo>
                  <a:pt x="9918" y="38862"/>
                </a:lnTo>
                <a:close/>
              </a:path>
              <a:path w="443229" h="39370">
                <a:moveTo>
                  <a:pt x="438150" y="9905"/>
                </a:moveTo>
                <a:lnTo>
                  <a:pt x="433590" y="5333"/>
                </a:lnTo>
                <a:lnTo>
                  <a:pt x="433590" y="9905"/>
                </a:lnTo>
                <a:lnTo>
                  <a:pt x="438150" y="9905"/>
                </a:lnTo>
                <a:close/>
              </a:path>
              <a:path w="443229" h="39370">
                <a:moveTo>
                  <a:pt x="438150" y="29717"/>
                </a:moveTo>
                <a:lnTo>
                  <a:pt x="438150" y="9905"/>
                </a:lnTo>
                <a:lnTo>
                  <a:pt x="433590" y="9905"/>
                </a:lnTo>
                <a:lnTo>
                  <a:pt x="433590" y="29717"/>
                </a:lnTo>
                <a:lnTo>
                  <a:pt x="438150" y="29717"/>
                </a:lnTo>
                <a:close/>
              </a:path>
              <a:path w="443229" h="39370">
                <a:moveTo>
                  <a:pt x="438150" y="38862"/>
                </a:moveTo>
                <a:lnTo>
                  <a:pt x="438150" y="29717"/>
                </a:lnTo>
                <a:lnTo>
                  <a:pt x="433590" y="34289"/>
                </a:lnTo>
                <a:lnTo>
                  <a:pt x="433590" y="38862"/>
                </a:lnTo>
                <a:lnTo>
                  <a:pt x="438150" y="38862"/>
                </a:lnTo>
                <a:close/>
              </a:path>
            </a:pathLst>
          </a:custGeom>
          <a:solidFill>
            <a:srgbClr val="000066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8" name="object 136"/>
          <p:cNvSpPr/>
          <p:nvPr/>
        </p:nvSpPr>
        <p:spPr>
          <a:xfrm>
            <a:off x="7656897" y="3412779"/>
            <a:ext cx="249839" cy="0"/>
          </a:xfrm>
          <a:custGeom>
            <a:avLst/>
            <a:gdLst/>
            <a:ahLst/>
            <a:cxnLst/>
            <a:rect l="l" t="t" r="r" b="b"/>
            <a:pathLst>
              <a:path w="341629">
                <a:moveTo>
                  <a:pt x="0" y="0"/>
                </a:moveTo>
                <a:lnTo>
                  <a:pt x="341375" y="0"/>
                </a:lnTo>
              </a:path>
            </a:pathLst>
          </a:custGeom>
          <a:ln w="33527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89" name="object 137"/>
          <p:cNvSpPr/>
          <p:nvPr/>
        </p:nvSpPr>
        <p:spPr>
          <a:xfrm>
            <a:off x="7652996" y="3402550"/>
            <a:ext cx="257270" cy="20283"/>
          </a:xfrm>
          <a:custGeom>
            <a:avLst/>
            <a:gdLst/>
            <a:ahLst/>
            <a:cxnLst/>
            <a:rect l="l" t="t" r="r" b="b"/>
            <a:pathLst>
              <a:path w="351790" h="43814">
                <a:moveTo>
                  <a:pt x="351281" y="43434"/>
                </a:moveTo>
                <a:lnTo>
                  <a:pt x="351281" y="0"/>
                </a:lnTo>
                <a:lnTo>
                  <a:pt x="0" y="0"/>
                </a:lnTo>
                <a:lnTo>
                  <a:pt x="0" y="43434"/>
                </a:lnTo>
                <a:lnTo>
                  <a:pt x="5333" y="43434"/>
                </a:lnTo>
                <a:lnTo>
                  <a:pt x="5333" y="9906"/>
                </a:lnTo>
                <a:lnTo>
                  <a:pt x="9893" y="5334"/>
                </a:lnTo>
                <a:lnTo>
                  <a:pt x="9893" y="9906"/>
                </a:lnTo>
                <a:lnTo>
                  <a:pt x="342137" y="9906"/>
                </a:lnTo>
                <a:lnTo>
                  <a:pt x="342137" y="5334"/>
                </a:lnTo>
                <a:lnTo>
                  <a:pt x="346709" y="9906"/>
                </a:lnTo>
                <a:lnTo>
                  <a:pt x="346709" y="43434"/>
                </a:lnTo>
                <a:lnTo>
                  <a:pt x="351281" y="43434"/>
                </a:lnTo>
                <a:close/>
              </a:path>
              <a:path w="351790" h="43814">
                <a:moveTo>
                  <a:pt x="9893" y="9906"/>
                </a:moveTo>
                <a:lnTo>
                  <a:pt x="9893" y="5334"/>
                </a:lnTo>
                <a:lnTo>
                  <a:pt x="5333" y="9906"/>
                </a:lnTo>
                <a:lnTo>
                  <a:pt x="9893" y="9906"/>
                </a:lnTo>
                <a:close/>
              </a:path>
              <a:path w="351790" h="43814">
                <a:moveTo>
                  <a:pt x="9893" y="33527"/>
                </a:moveTo>
                <a:lnTo>
                  <a:pt x="9893" y="9906"/>
                </a:lnTo>
                <a:lnTo>
                  <a:pt x="5333" y="9906"/>
                </a:lnTo>
                <a:lnTo>
                  <a:pt x="5333" y="33527"/>
                </a:lnTo>
                <a:lnTo>
                  <a:pt x="9893" y="33527"/>
                </a:lnTo>
                <a:close/>
              </a:path>
              <a:path w="351790" h="43814">
                <a:moveTo>
                  <a:pt x="346709" y="33527"/>
                </a:moveTo>
                <a:lnTo>
                  <a:pt x="5333" y="33527"/>
                </a:lnTo>
                <a:lnTo>
                  <a:pt x="9893" y="38862"/>
                </a:lnTo>
                <a:lnTo>
                  <a:pt x="9893" y="43434"/>
                </a:lnTo>
                <a:lnTo>
                  <a:pt x="342137" y="43434"/>
                </a:lnTo>
                <a:lnTo>
                  <a:pt x="342137" y="38862"/>
                </a:lnTo>
                <a:lnTo>
                  <a:pt x="346709" y="33527"/>
                </a:lnTo>
                <a:close/>
              </a:path>
              <a:path w="351790" h="43814">
                <a:moveTo>
                  <a:pt x="9893" y="43434"/>
                </a:moveTo>
                <a:lnTo>
                  <a:pt x="9893" y="38862"/>
                </a:lnTo>
                <a:lnTo>
                  <a:pt x="5333" y="33527"/>
                </a:lnTo>
                <a:lnTo>
                  <a:pt x="5333" y="43434"/>
                </a:lnTo>
                <a:lnTo>
                  <a:pt x="9893" y="43434"/>
                </a:lnTo>
                <a:close/>
              </a:path>
              <a:path w="351790" h="43814">
                <a:moveTo>
                  <a:pt x="346709" y="9906"/>
                </a:moveTo>
                <a:lnTo>
                  <a:pt x="342137" y="5334"/>
                </a:lnTo>
                <a:lnTo>
                  <a:pt x="342137" y="9906"/>
                </a:lnTo>
                <a:lnTo>
                  <a:pt x="346709" y="9906"/>
                </a:lnTo>
                <a:close/>
              </a:path>
              <a:path w="351790" h="43814">
                <a:moveTo>
                  <a:pt x="346709" y="33527"/>
                </a:moveTo>
                <a:lnTo>
                  <a:pt x="346709" y="9906"/>
                </a:lnTo>
                <a:lnTo>
                  <a:pt x="342137" y="9906"/>
                </a:lnTo>
                <a:lnTo>
                  <a:pt x="342137" y="33527"/>
                </a:lnTo>
                <a:lnTo>
                  <a:pt x="346709" y="33527"/>
                </a:lnTo>
                <a:close/>
              </a:path>
              <a:path w="351790" h="43814">
                <a:moveTo>
                  <a:pt x="346709" y="43434"/>
                </a:moveTo>
                <a:lnTo>
                  <a:pt x="346709" y="33527"/>
                </a:lnTo>
                <a:lnTo>
                  <a:pt x="342137" y="38862"/>
                </a:lnTo>
                <a:lnTo>
                  <a:pt x="342137" y="43434"/>
                </a:lnTo>
                <a:lnTo>
                  <a:pt x="346709" y="434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0" name="object 138"/>
          <p:cNvSpPr/>
          <p:nvPr/>
        </p:nvSpPr>
        <p:spPr>
          <a:xfrm>
            <a:off x="7478565" y="3541885"/>
            <a:ext cx="428163" cy="0"/>
          </a:xfrm>
          <a:custGeom>
            <a:avLst/>
            <a:gdLst/>
            <a:ahLst/>
            <a:cxnLst/>
            <a:rect l="l" t="t" r="r" b="b"/>
            <a:pathLst>
              <a:path w="585470">
                <a:moveTo>
                  <a:pt x="0" y="0"/>
                </a:moveTo>
                <a:lnTo>
                  <a:pt x="585216" y="0"/>
                </a:lnTo>
              </a:path>
            </a:pathLst>
          </a:custGeom>
          <a:ln w="35051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1" name="object 139"/>
          <p:cNvSpPr/>
          <p:nvPr/>
        </p:nvSpPr>
        <p:spPr>
          <a:xfrm>
            <a:off x="7474673" y="3531655"/>
            <a:ext cx="435594" cy="20577"/>
          </a:xfrm>
          <a:custGeom>
            <a:avLst/>
            <a:gdLst/>
            <a:ahLst/>
            <a:cxnLst/>
            <a:rect l="l" t="t" r="r" b="b"/>
            <a:pathLst>
              <a:path w="595629" h="44450">
                <a:moveTo>
                  <a:pt x="595122" y="44196"/>
                </a:moveTo>
                <a:lnTo>
                  <a:pt x="595122" y="0"/>
                </a:lnTo>
                <a:lnTo>
                  <a:pt x="0" y="0"/>
                </a:lnTo>
                <a:lnTo>
                  <a:pt x="0" y="44196"/>
                </a:lnTo>
                <a:lnTo>
                  <a:pt x="5321" y="44196"/>
                </a:lnTo>
                <a:lnTo>
                  <a:pt x="5321" y="9906"/>
                </a:lnTo>
                <a:lnTo>
                  <a:pt x="9906" y="4572"/>
                </a:lnTo>
                <a:lnTo>
                  <a:pt x="9906" y="9906"/>
                </a:lnTo>
                <a:lnTo>
                  <a:pt x="585977" y="9906"/>
                </a:lnTo>
                <a:lnTo>
                  <a:pt x="585977" y="4572"/>
                </a:lnTo>
                <a:lnTo>
                  <a:pt x="590550" y="9906"/>
                </a:lnTo>
                <a:lnTo>
                  <a:pt x="590550" y="44196"/>
                </a:lnTo>
                <a:lnTo>
                  <a:pt x="595122" y="44196"/>
                </a:lnTo>
                <a:close/>
              </a:path>
              <a:path w="595629" h="44450">
                <a:moveTo>
                  <a:pt x="9906" y="9906"/>
                </a:moveTo>
                <a:lnTo>
                  <a:pt x="9906" y="4572"/>
                </a:lnTo>
                <a:lnTo>
                  <a:pt x="5321" y="9906"/>
                </a:lnTo>
                <a:lnTo>
                  <a:pt x="9906" y="9906"/>
                </a:lnTo>
                <a:close/>
              </a:path>
              <a:path w="595629" h="44450">
                <a:moveTo>
                  <a:pt x="9906" y="35052"/>
                </a:moveTo>
                <a:lnTo>
                  <a:pt x="9906" y="9906"/>
                </a:lnTo>
                <a:lnTo>
                  <a:pt x="5321" y="9906"/>
                </a:lnTo>
                <a:lnTo>
                  <a:pt x="5321" y="35052"/>
                </a:lnTo>
                <a:lnTo>
                  <a:pt x="9906" y="35052"/>
                </a:lnTo>
                <a:close/>
              </a:path>
              <a:path w="595629" h="44450">
                <a:moveTo>
                  <a:pt x="590550" y="35052"/>
                </a:moveTo>
                <a:lnTo>
                  <a:pt x="5321" y="35052"/>
                </a:lnTo>
                <a:lnTo>
                  <a:pt x="9906" y="39624"/>
                </a:lnTo>
                <a:lnTo>
                  <a:pt x="9906" y="44196"/>
                </a:lnTo>
                <a:lnTo>
                  <a:pt x="585977" y="44196"/>
                </a:lnTo>
                <a:lnTo>
                  <a:pt x="585977" y="39624"/>
                </a:lnTo>
                <a:lnTo>
                  <a:pt x="590550" y="35052"/>
                </a:lnTo>
                <a:close/>
              </a:path>
              <a:path w="595629" h="44450">
                <a:moveTo>
                  <a:pt x="9906" y="44196"/>
                </a:moveTo>
                <a:lnTo>
                  <a:pt x="9906" y="39624"/>
                </a:lnTo>
                <a:lnTo>
                  <a:pt x="5321" y="35052"/>
                </a:lnTo>
                <a:lnTo>
                  <a:pt x="5321" y="44196"/>
                </a:lnTo>
                <a:lnTo>
                  <a:pt x="9906" y="44196"/>
                </a:lnTo>
                <a:close/>
              </a:path>
              <a:path w="595629" h="44450">
                <a:moveTo>
                  <a:pt x="590550" y="9906"/>
                </a:moveTo>
                <a:lnTo>
                  <a:pt x="585977" y="4572"/>
                </a:lnTo>
                <a:lnTo>
                  <a:pt x="585977" y="9906"/>
                </a:lnTo>
                <a:lnTo>
                  <a:pt x="590550" y="9906"/>
                </a:lnTo>
                <a:close/>
              </a:path>
              <a:path w="595629" h="44450">
                <a:moveTo>
                  <a:pt x="590550" y="35052"/>
                </a:moveTo>
                <a:lnTo>
                  <a:pt x="590550" y="9906"/>
                </a:lnTo>
                <a:lnTo>
                  <a:pt x="585977" y="9906"/>
                </a:lnTo>
                <a:lnTo>
                  <a:pt x="585977" y="35052"/>
                </a:lnTo>
                <a:lnTo>
                  <a:pt x="590550" y="35052"/>
                </a:lnTo>
                <a:close/>
              </a:path>
              <a:path w="595629" h="44450">
                <a:moveTo>
                  <a:pt x="590550" y="44196"/>
                </a:moveTo>
                <a:lnTo>
                  <a:pt x="590550" y="35052"/>
                </a:lnTo>
                <a:lnTo>
                  <a:pt x="585977" y="39624"/>
                </a:lnTo>
                <a:lnTo>
                  <a:pt x="585977" y="44196"/>
                </a:lnTo>
                <a:lnTo>
                  <a:pt x="590550" y="441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2" name="object 140"/>
          <p:cNvSpPr/>
          <p:nvPr/>
        </p:nvSpPr>
        <p:spPr>
          <a:xfrm>
            <a:off x="5323080" y="3420893"/>
            <a:ext cx="602773" cy="114055"/>
          </a:xfrm>
          <a:custGeom>
            <a:avLst/>
            <a:gdLst/>
            <a:ahLst/>
            <a:cxnLst/>
            <a:rect l="l" t="t" r="r" b="b"/>
            <a:pathLst>
              <a:path w="824229" h="246379">
                <a:moveTo>
                  <a:pt x="630936" y="2285"/>
                </a:moveTo>
                <a:lnTo>
                  <a:pt x="477012" y="0"/>
                </a:lnTo>
                <a:lnTo>
                  <a:pt x="0" y="128777"/>
                </a:lnTo>
                <a:lnTo>
                  <a:pt x="0" y="147827"/>
                </a:lnTo>
                <a:lnTo>
                  <a:pt x="450342" y="241377"/>
                </a:lnTo>
                <a:lnTo>
                  <a:pt x="450342" y="124205"/>
                </a:lnTo>
                <a:lnTo>
                  <a:pt x="527304" y="83057"/>
                </a:lnTo>
                <a:lnTo>
                  <a:pt x="624078" y="25145"/>
                </a:lnTo>
                <a:lnTo>
                  <a:pt x="630936" y="2285"/>
                </a:lnTo>
                <a:close/>
              </a:path>
              <a:path w="824229" h="246379">
                <a:moveTo>
                  <a:pt x="823722" y="246125"/>
                </a:moveTo>
                <a:lnTo>
                  <a:pt x="814578" y="233933"/>
                </a:lnTo>
                <a:lnTo>
                  <a:pt x="624078" y="233933"/>
                </a:lnTo>
                <a:lnTo>
                  <a:pt x="450342" y="124205"/>
                </a:lnTo>
                <a:lnTo>
                  <a:pt x="450342" y="241377"/>
                </a:lnTo>
                <a:lnTo>
                  <a:pt x="473202" y="246125"/>
                </a:lnTo>
                <a:lnTo>
                  <a:pt x="823722" y="246125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3" name="object 141"/>
          <p:cNvSpPr/>
          <p:nvPr/>
        </p:nvSpPr>
        <p:spPr>
          <a:xfrm>
            <a:off x="5319736" y="3418776"/>
            <a:ext cx="609739" cy="118171"/>
          </a:xfrm>
          <a:custGeom>
            <a:avLst/>
            <a:gdLst/>
            <a:ahLst/>
            <a:cxnLst/>
            <a:rect l="l" t="t" r="r" b="b"/>
            <a:pathLst>
              <a:path w="833754" h="255270">
                <a:moveTo>
                  <a:pt x="640080" y="8382"/>
                </a:moveTo>
                <a:lnTo>
                  <a:pt x="640080" y="5334"/>
                </a:lnTo>
                <a:lnTo>
                  <a:pt x="639318" y="3810"/>
                </a:lnTo>
                <a:lnTo>
                  <a:pt x="637794" y="3048"/>
                </a:lnTo>
                <a:lnTo>
                  <a:pt x="637032" y="2286"/>
                </a:lnTo>
                <a:lnTo>
                  <a:pt x="632460" y="2240"/>
                </a:lnTo>
                <a:lnTo>
                  <a:pt x="483108" y="22"/>
                </a:lnTo>
                <a:lnTo>
                  <a:pt x="480060" y="0"/>
                </a:lnTo>
                <a:lnTo>
                  <a:pt x="3048" y="128778"/>
                </a:lnTo>
                <a:lnTo>
                  <a:pt x="1524" y="129540"/>
                </a:lnTo>
                <a:lnTo>
                  <a:pt x="0" y="131064"/>
                </a:lnTo>
                <a:lnTo>
                  <a:pt x="0" y="154686"/>
                </a:lnTo>
                <a:lnTo>
                  <a:pt x="1524" y="156210"/>
                </a:lnTo>
                <a:lnTo>
                  <a:pt x="3810" y="156972"/>
                </a:lnTo>
                <a:lnTo>
                  <a:pt x="5334" y="157288"/>
                </a:lnTo>
                <a:lnTo>
                  <a:pt x="5334" y="147828"/>
                </a:lnTo>
                <a:lnTo>
                  <a:pt x="6096" y="147986"/>
                </a:lnTo>
                <a:lnTo>
                  <a:pt x="6096" y="137922"/>
                </a:lnTo>
                <a:lnTo>
                  <a:pt x="9144" y="133350"/>
                </a:lnTo>
                <a:lnTo>
                  <a:pt x="9144" y="137099"/>
                </a:lnTo>
                <a:lnTo>
                  <a:pt x="483108" y="9144"/>
                </a:lnTo>
                <a:lnTo>
                  <a:pt x="483108" y="9921"/>
                </a:lnTo>
                <a:lnTo>
                  <a:pt x="629126" y="11366"/>
                </a:lnTo>
                <a:lnTo>
                  <a:pt x="630936" y="5334"/>
                </a:lnTo>
                <a:lnTo>
                  <a:pt x="635508" y="11430"/>
                </a:lnTo>
                <a:lnTo>
                  <a:pt x="635508" y="23622"/>
                </a:lnTo>
                <a:lnTo>
                  <a:pt x="640080" y="8382"/>
                </a:lnTo>
                <a:close/>
              </a:path>
              <a:path w="833754" h="255270">
                <a:moveTo>
                  <a:pt x="478536" y="246126"/>
                </a:moveTo>
                <a:lnTo>
                  <a:pt x="5334" y="147828"/>
                </a:lnTo>
                <a:lnTo>
                  <a:pt x="9144" y="152400"/>
                </a:lnTo>
                <a:lnTo>
                  <a:pt x="9144" y="158080"/>
                </a:lnTo>
                <a:lnTo>
                  <a:pt x="477012" y="255270"/>
                </a:lnTo>
                <a:lnTo>
                  <a:pt x="477774" y="255270"/>
                </a:lnTo>
                <a:lnTo>
                  <a:pt x="477774" y="246126"/>
                </a:lnTo>
                <a:lnTo>
                  <a:pt x="478536" y="246126"/>
                </a:lnTo>
                <a:close/>
              </a:path>
              <a:path w="833754" h="255270">
                <a:moveTo>
                  <a:pt x="9144" y="158080"/>
                </a:moveTo>
                <a:lnTo>
                  <a:pt x="9144" y="152400"/>
                </a:lnTo>
                <a:lnTo>
                  <a:pt x="5334" y="147828"/>
                </a:lnTo>
                <a:lnTo>
                  <a:pt x="5334" y="157288"/>
                </a:lnTo>
                <a:lnTo>
                  <a:pt x="9144" y="158080"/>
                </a:lnTo>
                <a:close/>
              </a:path>
              <a:path w="833754" h="255270">
                <a:moveTo>
                  <a:pt x="9144" y="137099"/>
                </a:moveTo>
                <a:lnTo>
                  <a:pt x="9144" y="133350"/>
                </a:lnTo>
                <a:lnTo>
                  <a:pt x="6096" y="137922"/>
                </a:lnTo>
                <a:lnTo>
                  <a:pt x="9144" y="137099"/>
                </a:lnTo>
                <a:close/>
              </a:path>
              <a:path w="833754" h="255270">
                <a:moveTo>
                  <a:pt x="9144" y="148619"/>
                </a:moveTo>
                <a:lnTo>
                  <a:pt x="9144" y="137099"/>
                </a:lnTo>
                <a:lnTo>
                  <a:pt x="6096" y="137922"/>
                </a:lnTo>
                <a:lnTo>
                  <a:pt x="6096" y="147986"/>
                </a:lnTo>
                <a:lnTo>
                  <a:pt x="9144" y="148619"/>
                </a:lnTo>
                <a:close/>
              </a:path>
              <a:path w="833754" h="255270">
                <a:moveTo>
                  <a:pt x="624581" y="26515"/>
                </a:moveTo>
                <a:lnTo>
                  <a:pt x="529590" y="83058"/>
                </a:lnTo>
                <a:lnTo>
                  <a:pt x="452628" y="124206"/>
                </a:lnTo>
                <a:lnTo>
                  <a:pt x="451104" y="124968"/>
                </a:lnTo>
                <a:lnTo>
                  <a:pt x="450342" y="126492"/>
                </a:lnTo>
                <a:lnTo>
                  <a:pt x="450342" y="128778"/>
                </a:lnTo>
                <a:lnTo>
                  <a:pt x="449580" y="130302"/>
                </a:lnTo>
                <a:lnTo>
                  <a:pt x="451866" y="132588"/>
                </a:lnTo>
                <a:lnTo>
                  <a:pt x="457200" y="135980"/>
                </a:lnTo>
                <a:lnTo>
                  <a:pt x="457200" y="124968"/>
                </a:lnTo>
                <a:lnTo>
                  <a:pt x="463733" y="129094"/>
                </a:lnTo>
                <a:lnTo>
                  <a:pt x="534162" y="91440"/>
                </a:lnTo>
                <a:lnTo>
                  <a:pt x="624078" y="37632"/>
                </a:lnTo>
                <a:lnTo>
                  <a:pt x="624078" y="28194"/>
                </a:lnTo>
                <a:lnTo>
                  <a:pt x="624581" y="26515"/>
                </a:lnTo>
                <a:close/>
              </a:path>
              <a:path w="833754" h="255270">
                <a:moveTo>
                  <a:pt x="463733" y="129094"/>
                </a:moveTo>
                <a:lnTo>
                  <a:pt x="457200" y="124968"/>
                </a:lnTo>
                <a:lnTo>
                  <a:pt x="457200" y="132588"/>
                </a:lnTo>
                <a:lnTo>
                  <a:pt x="463733" y="129094"/>
                </a:lnTo>
                <a:close/>
              </a:path>
              <a:path w="833754" h="255270">
                <a:moveTo>
                  <a:pt x="629729" y="233934"/>
                </a:moveTo>
                <a:lnTo>
                  <a:pt x="463733" y="129094"/>
                </a:lnTo>
                <a:lnTo>
                  <a:pt x="457200" y="132588"/>
                </a:lnTo>
                <a:lnTo>
                  <a:pt x="457200" y="135980"/>
                </a:lnTo>
                <a:lnTo>
                  <a:pt x="625602" y="243078"/>
                </a:lnTo>
                <a:lnTo>
                  <a:pt x="626364" y="243078"/>
                </a:lnTo>
                <a:lnTo>
                  <a:pt x="627126" y="243840"/>
                </a:lnTo>
                <a:lnTo>
                  <a:pt x="628650" y="243840"/>
                </a:lnTo>
                <a:lnTo>
                  <a:pt x="628650" y="233934"/>
                </a:lnTo>
                <a:lnTo>
                  <a:pt x="629729" y="233934"/>
                </a:lnTo>
                <a:close/>
              </a:path>
              <a:path w="833754" h="255270">
                <a:moveTo>
                  <a:pt x="828294" y="255270"/>
                </a:moveTo>
                <a:lnTo>
                  <a:pt x="828294" y="246126"/>
                </a:lnTo>
                <a:lnTo>
                  <a:pt x="824484" y="253746"/>
                </a:lnTo>
                <a:lnTo>
                  <a:pt x="818769" y="246126"/>
                </a:lnTo>
                <a:lnTo>
                  <a:pt x="477774" y="246126"/>
                </a:lnTo>
                <a:lnTo>
                  <a:pt x="477774" y="255270"/>
                </a:lnTo>
                <a:lnTo>
                  <a:pt x="828294" y="255270"/>
                </a:lnTo>
                <a:close/>
              </a:path>
              <a:path w="833754" h="255270">
                <a:moveTo>
                  <a:pt x="483108" y="9921"/>
                </a:moveTo>
                <a:lnTo>
                  <a:pt x="483108" y="9144"/>
                </a:lnTo>
                <a:lnTo>
                  <a:pt x="481584" y="9906"/>
                </a:lnTo>
                <a:lnTo>
                  <a:pt x="483108" y="9921"/>
                </a:lnTo>
                <a:close/>
              </a:path>
              <a:path w="833754" h="255270">
                <a:moveTo>
                  <a:pt x="625602" y="25908"/>
                </a:moveTo>
                <a:lnTo>
                  <a:pt x="624581" y="26515"/>
                </a:lnTo>
                <a:lnTo>
                  <a:pt x="624078" y="28194"/>
                </a:lnTo>
                <a:lnTo>
                  <a:pt x="625602" y="25908"/>
                </a:lnTo>
                <a:close/>
              </a:path>
              <a:path w="833754" h="255270">
                <a:moveTo>
                  <a:pt x="625602" y="36720"/>
                </a:moveTo>
                <a:lnTo>
                  <a:pt x="625602" y="25908"/>
                </a:lnTo>
                <a:lnTo>
                  <a:pt x="624078" y="28194"/>
                </a:lnTo>
                <a:lnTo>
                  <a:pt x="624078" y="37632"/>
                </a:lnTo>
                <a:lnTo>
                  <a:pt x="625602" y="36720"/>
                </a:lnTo>
                <a:close/>
              </a:path>
              <a:path w="833754" h="255270">
                <a:moveTo>
                  <a:pt x="635508" y="23622"/>
                </a:moveTo>
                <a:lnTo>
                  <a:pt x="635508" y="11430"/>
                </a:lnTo>
                <a:lnTo>
                  <a:pt x="629126" y="11366"/>
                </a:lnTo>
                <a:lnTo>
                  <a:pt x="624581" y="26515"/>
                </a:lnTo>
                <a:lnTo>
                  <a:pt x="625602" y="25908"/>
                </a:lnTo>
                <a:lnTo>
                  <a:pt x="625602" y="36720"/>
                </a:lnTo>
                <a:lnTo>
                  <a:pt x="630936" y="33528"/>
                </a:lnTo>
                <a:lnTo>
                  <a:pt x="631698" y="33528"/>
                </a:lnTo>
                <a:lnTo>
                  <a:pt x="632460" y="32004"/>
                </a:lnTo>
                <a:lnTo>
                  <a:pt x="633222" y="31242"/>
                </a:lnTo>
                <a:lnTo>
                  <a:pt x="635508" y="23622"/>
                </a:lnTo>
                <a:close/>
              </a:path>
              <a:path w="833754" h="255270">
                <a:moveTo>
                  <a:pt x="630936" y="234696"/>
                </a:moveTo>
                <a:lnTo>
                  <a:pt x="629729" y="233934"/>
                </a:lnTo>
                <a:lnTo>
                  <a:pt x="628650" y="233934"/>
                </a:lnTo>
                <a:lnTo>
                  <a:pt x="630936" y="234696"/>
                </a:lnTo>
                <a:close/>
              </a:path>
              <a:path w="833754" h="255270">
                <a:moveTo>
                  <a:pt x="630936" y="243840"/>
                </a:moveTo>
                <a:lnTo>
                  <a:pt x="630936" y="234696"/>
                </a:lnTo>
                <a:lnTo>
                  <a:pt x="628650" y="233934"/>
                </a:lnTo>
                <a:lnTo>
                  <a:pt x="628650" y="243840"/>
                </a:lnTo>
                <a:lnTo>
                  <a:pt x="630936" y="243840"/>
                </a:lnTo>
                <a:close/>
              </a:path>
              <a:path w="833754" h="255270">
                <a:moveTo>
                  <a:pt x="635508" y="11430"/>
                </a:moveTo>
                <a:lnTo>
                  <a:pt x="630936" y="5334"/>
                </a:lnTo>
                <a:lnTo>
                  <a:pt x="629126" y="11366"/>
                </a:lnTo>
                <a:lnTo>
                  <a:pt x="635508" y="11430"/>
                </a:lnTo>
                <a:close/>
              </a:path>
              <a:path w="833754" h="255270">
                <a:moveTo>
                  <a:pt x="833628" y="251460"/>
                </a:moveTo>
                <a:lnTo>
                  <a:pt x="833628" y="249174"/>
                </a:lnTo>
                <a:lnTo>
                  <a:pt x="832104" y="247650"/>
                </a:lnTo>
                <a:lnTo>
                  <a:pt x="822960" y="236220"/>
                </a:lnTo>
                <a:lnTo>
                  <a:pt x="822198" y="234696"/>
                </a:lnTo>
                <a:lnTo>
                  <a:pt x="820674" y="233934"/>
                </a:lnTo>
                <a:lnTo>
                  <a:pt x="629729" y="233934"/>
                </a:lnTo>
                <a:lnTo>
                  <a:pt x="630936" y="234696"/>
                </a:lnTo>
                <a:lnTo>
                  <a:pt x="630936" y="243840"/>
                </a:lnTo>
                <a:lnTo>
                  <a:pt x="815340" y="243840"/>
                </a:lnTo>
                <a:lnTo>
                  <a:pt x="815340" y="241554"/>
                </a:lnTo>
                <a:lnTo>
                  <a:pt x="819150" y="243840"/>
                </a:lnTo>
                <a:lnTo>
                  <a:pt x="819150" y="246126"/>
                </a:lnTo>
                <a:lnTo>
                  <a:pt x="828294" y="246126"/>
                </a:lnTo>
                <a:lnTo>
                  <a:pt x="828294" y="255270"/>
                </a:lnTo>
                <a:lnTo>
                  <a:pt x="830580" y="255270"/>
                </a:lnTo>
                <a:lnTo>
                  <a:pt x="832104" y="254508"/>
                </a:lnTo>
                <a:lnTo>
                  <a:pt x="833628" y="251460"/>
                </a:lnTo>
                <a:close/>
              </a:path>
              <a:path w="833754" h="255270">
                <a:moveTo>
                  <a:pt x="819150" y="243840"/>
                </a:moveTo>
                <a:lnTo>
                  <a:pt x="815340" y="241554"/>
                </a:lnTo>
                <a:lnTo>
                  <a:pt x="817054" y="243840"/>
                </a:lnTo>
                <a:lnTo>
                  <a:pt x="819150" y="243840"/>
                </a:lnTo>
                <a:close/>
              </a:path>
              <a:path w="833754" h="255270">
                <a:moveTo>
                  <a:pt x="817054" y="243840"/>
                </a:moveTo>
                <a:lnTo>
                  <a:pt x="815340" y="241554"/>
                </a:lnTo>
                <a:lnTo>
                  <a:pt x="815340" y="243840"/>
                </a:lnTo>
                <a:lnTo>
                  <a:pt x="817054" y="243840"/>
                </a:lnTo>
                <a:close/>
              </a:path>
              <a:path w="833754" h="255270">
                <a:moveTo>
                  <a:pt x="819150" y="246126"/>
                </a:moveTo>
                <a:lnTo>
                  <a:pt x="819150" y="243840"/>
                </a:lnTo>
                <a:lnTo>
                  <a:pt x="817054" y="243840"/>
                </a:lnTo>
                <a:lnTo>
                  <a:pt x="818769" y="246126"/>
                </a:lnTo>
                <a:lnTo>
                  <a:pt x="819150" y="246126"/>
                </a:lnTo>
                <a:close/>
              </a:path>
              <a:path w="833754" h="255270">
                <a:moveTo>
                  <a:pt x="828294" y="246126"/>
                </a:moveTo>
                <a:lnTo>
                  <a:pt x="818769" y="246126"/>
                </a:lnTo>
                <a:lnTo>
                  <a:pt x="824484" y="253746"/>
                </a:lnTo>
                <a:lnTo>
                  <a:pt x="828294" y="246126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4" name="object 142"/>
          <p:cNvSpPr/>
          <p:nvPr/>
        </p:nvSpPr>
        <p:spPr>
          <a:xfrm>
            <a:off x="2297699" y="3543649"/>
            <a:ext cx="71516" cy="47621"/>
          </a:xfrm>
          <a:custGeom>
            <a:avLst/>
            <a:gdLst/>
            <a:ahLst/>
            <a:cxnLst/>
            <a:rect l="l" t="t" r="r" b="b"/>
            <a:pathLst>
              <a:path w="97790" h="102870">
                <a:moveTo>
                  <a:pt x="97536" y="6096"/>
                </a:moveTo>
                <a:lnTo>
                  <a:pt x="90678" y="0"/>
                </a:lnTo>
                <a:lnTo>
                  <a:pt x="0" y="96774"/>
                </a:lnTo>
                <a:lnTo>
                  <a:pt x="6858" y="102870"/>
                </a:lnTo>
                <a:lnTo>
                  <a:pt x="97536" y="60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5" name="object 143"/>
          <p:cNvSpPr/>
          <p:nvPr/>
        </p:nvSpPr>
        <p:spPr>
          <a:xfrm>
            <a:off x="2861092" y="3091777"/>
            <a:ext cx="593485" cy="66728"/>
          </a:xfrm>
          <a:custGeom>
            <a:avLst/>
            <a:gdLst/>
            <a:ahLst/>
            <a:cxnLst/>
            <a:rect l="l" t="t" r="r" b="b"/>
            <a:pathLst>
              <a:path w="811530" h="144144">
                <a:moveTo>
                  <a:pt x="202692" y="144017"/>
                </a:moveTo>
                <a:lnTo>
                  <a:pt x="202692" y="0"/>
                </a:lnTo>
                <a:lnTo>
                  <a:pt x="0" y="72389"/>
                </a:lnTo>
                <a:lnTo>
                  <a:pt x="202692" y="144017"/>
                </a:lnTo>
                <a:close/>
              </a:path>
              <a:path w="811530" h="144144">
                <a:moveTo>
                  <a:pt x="811530" y="108203"/>
                </a:moveTo>
                <a:lnTo>
                  <a:pt x="811530" y="35813"/>
                </a:lnTo>
                <a:lnTo>
                  <a:pt x="202692" y="35813"/>
                </a:lnTo>
                <a:lnTo>
                  <a:pt x="202692" y="108203"/>
                </a:lnTo>
                <a:lnTo>
                  <a:pt x="811530" y="1082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6" name="object 144"/>
          <p:cNvSpPr/>
          <p:nvPr/>
        </p:nvSpPr>
        <p:spPr>
          <a:xfrm>
            <a:off x="2851062" y="3088603"/>
            <a:ext cx="606952" cy="73195"/>
          </a:xfrm>
          <a:custGeom>
            <a:avLst/>
            <a:gdLst/>
            <a:ahLst/>
            <a:cxnLst/>
            <a:rect l="l" t="t" r="r" b="b"/>
            <a:pathLst>
              <a:path w="829944" h="158114">
                <a:moveTo>
                  <a:pt x="221742" y="38100"/>
                </a:moveTo>
                <a:lnTo>
                  <a:pt x="221742" y="0"/>
                </a:lnTo>
                <a:lnTo>
                  <a:pt x="0" y="79248"/>
                </a:lnTo>
                <a:lnTo>
                  <a:pt x="15240" y="84642"/>
                </a:lnTo>
                <a:lnTo>
                  <a:pt x="15240" y="74676"/>
                </a:lnTo>
                <a:lnTo>
                  <a:pt x="27099" y="78867"/>
                </a:lnTo>
                <a:lnTo>
                  <a:pt x="211836" y="13584"/>
                </a:lnTo>
                <a:lnTo>
                  <a:pt x="211836" y="6858"/>
                </a:lnTo>
                <a:lnTo>
                  <a:pt x="217932" y="11430"/>
                </a:lnTo>
                <a:lnTo>
                  <a:pt x="217932" y="38100"/>
                </a:lnTo>
                <a:lnTo>
                  <a:pt x="221742" y="38100"/>
                </a:lnTo>
                <a:close/>
              </a:path>
              <a:path w="829944" h="158114">
                <a:moveTo>
                  <a:pt x="27099" y="78867"/>
                </a:moveTo>
                <a:lnTo>
                  <a:pt x="15240" y="74676"/>
                </a:lnTo>
                <a:lnTo>
                  <a:pt x="15240" y="83058"/>
                </a:lnTo>
                <a:lnTo>
                  <a:pt x="27099" y="78867"/>
                </a:lnTo>
                <a:close/>
              </a:path>
              <a:path w="829944" h="158114">
                <a:moveTo>
                  <a:pt x="217932" y="146304"/>
                </a:moveTo>
                <a:lnTo>
                  <a:pt x="27099" y="78867"/>
                </a:lnTo>
                <a:lnTo>
                  <a:pt x="15240" y="83058"/>
                </a:lnTo>
                <a:lnTo>
                  <a:pt x="15240" y="84642"/>
                </a:lnTo>
                <a:lnTo>
                  <a:pt x="211836" y="154227"/>
                </a:lnTo>
                <a:lnTo>
                  <a:pt x="211836" y="150876"/>
                </a:lnTo>
                <a:lnTo>
                  <a:pt x="217932" y="146304"/>
                </a:lnTo>
                <a:close/>
              </a:path>
              <a:path w="829944" h="158114">
                <a:moveTo>
                  <a:pt x="217932" y="11430"/>
                </a:moveTo>
                <a:lnTo>
                  <a:pt x="211836" y="6858"/>
                </a:lnTo>
                <a:lnTo>
                  <a:pt x="211836" y="13584"/>
                </a:lnTo>
                <a:lnTo>
                  <a:pt x="217932" y="11430"/>
                </a:lnTo>
                <a:close/>
              </a:path>
              <a:path w="829944" h="158114">
                <a:moveTo>
                  <a:pt x="217932" y="38100"/>
                </a:moveTo>
                <a:lnTo>
                  <a:pt x="217932" y="11430"/>
                </a:lnTo>
                <a:lnTo>
                  <a:pt x="211836" y="13584"/>
                </a:lnTo>
                <a:lnTo>
                  <a:pt x="211836" y="47244"/>
                </a:lnTo>
                <a:lnTo>
                  <a:pt x="216408" y="47244"/>
                </a:lnTo>
                <a:lnTo>
                  <a:pt x="216408" y="38100"/>
                </a:lnTo>
                <a:lnTo>
                  <a:pt x="217932" y="38100"/>
                </a:lnTo>
                <a:close/>
              </a:path>
              <a:path w="829944" h="158114">
                <a:moveTo>
                  <a:pt x="825246" y="110490"/>
                </a:moveTo>
                <a:lnTo>
                  <a:pt x="211836" y="110490"/>
                </a:lnTo>
                <a:lnTo>
                  <a:pt x="211836" y="144149"/>
                </a:lnTo>
                <a:lnTo>
                  <a:pt x="216408" y="145765"/>
                </a:lnTo>
                <a:lnTo>
                  <a:pt x="216408" y="119634"/>
                </a:lnTo>
                <a:lnTo>
                  <a:pt x="221742" y="115062"/>
                </a:lnTo>
                <a:lnTo>
                  <a:pt x="221742" y="119634"/>
                </a:lnTo>
                <a:lnTo>
                  <a:pt x="819912" y="119634"/>
                </a:lnTo>
                <a:lnTo>
                  <a:pt x="819912" y="115062"/>
                </a:lnTo>
                <a:lnTo>
                  <a:pt x="825246" y="110490"/>
                </a:lnTo>
                <a:close/>
              </a:path>
              <a:path w="829944" h="158114">
                <a:moveTo>
                  <a:pt x="217932" y="156385"/>
                </a:moveTo>
                <a:lnTo>
                  <a:pt x="217932" y="146304"/>
                </a:lnTo>
                <a:lnTo>
                  <a:pt x="211836" y="150876"/>
                </a:lnTo>
                <a:lnTo>
                  <a:pt x="211836" y="154227"/>
                </a:lnTo>
                <a:lnTo>
                  <a:pt x="217932" y="156385"/>
                </a:lnTo>
                <a:close/>
              </a:path>
              <a:path w="829944" h="158114">
                <a:moveTo>
                  <a:pt x="829818" y="119634"/>
                </a:moveTo>
                <a:lnTo>
                  <a:pt x="829818" y="38100"/>
                </a:lnTo>
                <a:lnTo>
                  <a:pt x="216408" y="38100"/>
                </a:lnTo>
                <a:lnTo>
                  <a:pt x="221742" y="42672"/>
                </a:lnTo>
                <a:lnTo>
                  <a:pt x="221742" y="47244"/>
                </a:lnTo>
                <a:lnTo>
                  <a:pt x="819912" y="47244"/>
                </a:lnTo>
                <a:lnTo>
                  <a:pt x="819912" y="42672"/>
                </a:lnTo>
                <a:lnTo>
                  <a:pt x="825246" y="47244"/>
                </a:lnTo>
                <a:lnTo>
                  <a:pt x="825246" y="119634"/>
                </a:lnTo>
                <a:lnTo>
                  <a:pt x="829818" y="119634"/>
                </a:lnTo>
                <a:close/>
              </a:path>
              <a:path w="829944" h="158114">
                <a:moveTo>
                  <a:pt x="221742" y="47244"/>
                </a:moveTo>
                <a:lnTo>
                  <a:pt x="221742" y="42672"/>
                </a:lnTo>
                <a:lnTo>
                  <a:pt x="216408" y="38100"/>
                </a:lnTo>
                <a:lnTo>
                  <a:pt x="216408" y="47244"/>
                </a:lnTo>
                <a:lnTo>
                  <a:pt x="221742" y="47244"/>
                </a:lnTo>
                <a:close/>
              </a:path>
              <a:path w="829944" h="158114">
                <a:moveTo>
                  <a:pt x="221742" y="119634"/>
                </a:moveTo>
                <a:lnTo>
                  <a:pt x="221742" y="115062"/>
                </a:lnTo>
                <a:lnTo>
                  <a:pt x="216408" y="119634"/>
                </a:lnTo>
                <a:lnTo>
                  <a:pt x="221742" y="119634"/>
                </a:lnTo>
                <a:close/>
              </a:path>
              <a:path w="829944" h="158114">
                <a:moveTo>
                  <a:pt x="221742" y="157734"/>
                </a:moveTo>
                <a:lnTo>
                  <a:pt x="221742" y="119634"/>
                </a:lnTo>
                <a:lnTo>
                  <a:pt x="216408" y="119634"/>
                </a:lnTo>
                <a:lnTo>
                  <a:pt x="216408" y="145765"/>
                </a:lnTo>
                <a:lnTo>
                  <a:pt x="217932" y="146304"/>
                </a:lnTo>
                <a:lnTo>
                  <a:pt x="217932" y="156385"/>
                </a:lnTo>
                <a:lnTo>
                  <a:pt x="221742" y="157734"/>
                </a:lnTo>
                <a:close/>
              </a:path>
              <a:path w="829944" h="158114">
                <a:moveTo>
                  <a:pt x="825246" y="47244"/>
                </a:moveTo>
                <a:lnTo>
                  <a:pt x="819912" y="42672"/>
                </a:lnTo>
                <a:lnTo>
                  <a:pt x="819912" y="47244"/>
                </a:lnTo>
                <a:lnTo>
                  <a:pt x="825246" y="47244"/>
                </a:lnTo>
                <a:close/>
              </a:path>
              <a:path w="829944" h="158114">
                <a:moveTo>
                  <a:pt x="825246" y="110490"/>
                </a:moveTo>
                <a:lnTo>
                  <a:pt x="825246" y="47244"/>
                </a:lnTo>
                <a:lnTo>
                  <a:pt x="819912" y="47244"/>
                </a:lnTo>
                <a:lnTo>
                  <a:pt x="819912" y="110490"/>
                </a:lnTo>
                <a:lnTo>
                  <a:pt x="825246" y="110490"/>
                </a:lnTo>
                <a:close/>
              </a:path>
              <a:path w="829944" h="158114">
                <a:moveTo>
                  <a:pt x="825246" y="119634"/>
                </a:moveTo>
                <a:lnTo>
                  <a:pt x="825246" y="110490"/>
                </a:lnTo>
                <a:lnTo>
                  <a:pt x="819912" y="115062"/>
                </a:lnTo>
                <a:lnTo>
                  <a:pt x="819912" y="119634"/>
                </a:lnTo>
                <a:lnTo>
                  <a:pt x="825246" y="1196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7" name="object 145"/>
          <p:cNvSpPr/>
          <p:nvPr/>
        </p:nvSpPr>
        <p:spPr>
          <a:xfrm>
            <a:off x="7991247" y="3194462"/>
            <a:ext cx="195042" cy="151294"/>
          </a:xfrm>
          <a:prstGeom prst="rect">
            <a:avLst/>
          </a:prstGeom>
          <a:blipFill>
            <a:blip r:embed="rId6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8" name="object 146"/>
          <p:cNvSpPr/>
          <p:nvPr/>
        </p:nvSpPr>
        <p:spPr>
          <a:xfrm>
            <a:off x="7968399" y="3578571"/>
            <a:ext cx="195042" cy="151125"/>
          </a:xfrm>
          <a:prstGeom prst="rect">
            <a:avLst/>
          </a:prstGeom>
          <a:blipFill>
            <a:blip r:embed="rId6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299" name="object 147"/>
          <p:cNvSpPr/>
          <p:nvPr/>
        </p:nvSpPr>
        <p:spPr>
          <a:xfrm>
            <a:off x="4920737" y="4036087"/>
            <a:ext cx="93342" cy="141981"/>
          </a:xfrm>
          <a:custGeom>
            <a:avLst/>
            <a:gdLst/>
            <a:ahLst/>
            <a:cxnLst/>
            <a:rect l="l" t="t" r="r" b="b"/>
            <a:pathLst>
              <a:path w="127635" h="306704">
                <a:moveTo>
                  <a:pt x="127253" y="230124"/>
                </a:moveTo>
                <a:lnTo>
                  <a:pt x="0" y="230124"/>
                </a:lnTo>
                <a:lnTo>
                  <a:pt x="58674" y="300815"/>
                </a:lnTo>
                <a:lnTo>
                  <a:pt x="58674" y="243077"/>
                </a:lnTo>
                <a:lnTo>
                  <a:pt x="68579" y="243077"/>
                </a:lnTo>
                <a:lnTo>
                  <a:pt x="68579" y="299974"/>
                </a:lnTo>
                <a:lnTo>
                  <a:pt x="127253" y="230124"/>
                </a:lnTo>
                <a:close/>
              </a:path>
              <a:path w="127635" h="306704">
                <a:moveTo>
                  <a:pt x="68579" y="230124"/>
                </a:moveTo>
                <a:lnTo>
                  <a:pt x="68579" y="0"/>
                </a:lnTo>
                <a:lnTo>
                  <a:pt x="58674" y="0"/>
                </a:lnTo>
                <a:lnTo>
                  <a:pt x="58674" y="230124"/>
                </a:lnTo>
                <a:lnTo>
                  <a:pt x="68579" y="230124"/>
                </a:lnTo>
                <a:close/>
              </a:path>
              <a:path w="127635" h="306704">
                <a:moveTo>
                  <a:pt x="68579" y="299974"/>
                </a:moveTo>
                <a:lnTo>
                  <a:pt x="68579" y="243077"/>
                </a:lnTo>
                <a:lnTo>
                  <a:pt x="58674" y="243077"/>
                </a:lnTo>
                <a:lnTo>
                  <a:pt x="58674" y="300815"/>
                </a:lnTo>
                <a:lnTo>
                  <a:pt x="63246" y="306324"/>
                </a:lnTo>
                <a:lnTo>
                  <a:pt x="68579" y="2999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00" name="object 148"/>
          <p:cNvSpPr/>
          <p:nvPr/>
        </p:nvSpPr>
        <p:spPr>
          <a:xfrm>
            <a:off x="3571603" y="4130977"/>
            <a:ext cx="93342" cy="188721"/>
          </a:xfrm>
          <a:custGeom>
            <a:avLst/>
            <a:gdLst/>
            <a:ahLst/>
            <a:cxnLst/>
            <a:rect l="l" t="t" r="r" b="b"/>
            <a:pathLst>
              <a:path w="127635" h="407670">
                <a:moveTo>
                  <a:pt x="127253" y="76200"/>
                </a:moveTo>
                <a:lnTo>
                  <a:pt x="63245" y="0"/>
                </a:lnTo>
                <a:lnTo>
                  <a:pt x="0" y="76200"/>
                </a:lnTo>
                <a:lnTo>
                  <a:pt x="58674" y="76200"/>
                </a:lnTo>
                <a:lnTo>
                  <a:pt x="58674" y="63245"/>
                </a:lnTo>
                <a:lnTo>
                  <a:pt x="68580" y="63245"/>
                </a:lnTo>
                <a:lnTo>
                  <a:pt x="68580" y="76200"/>
                </a:lnTo>
                <a:lnTo>
                  <a:pt x="127253" y="76200"/>
                </a:lnTo>
                <a:close/>
              </a:path>
              <a:path w="127635" h="407670">
                <a:moveTo>
                  <a:pt x="68580" y="76200"/>
                </a:moveTo>
                <a:lnTo>
                  <a:pt x="68580" y="63245"/>
                </a:lnTo>
                <a:lnTo>
                  <a:pt x="58674" y="63245"/>
                </a:lnTo>
                <a:lnTo>
                  <a:pt x="58674" y="76200"/>
                </a:lnTo>
                <a:lnTo>
                  <a:pt x="68580" y="76200"/>
                </a:lnTo>
                <a:close/>
              </a:path>
              <a:path w="127635" h="407670">
                <a:moveTo>
                  <a:pt x="68580" y="407669"/>
                </a:moveTo>
                <a:lnTo>
                  <a:pt x="68580" y="76200"/>
                </a:lnTo>
                <a:lnTo>
                  <a:pt x="58674" y="76200"/>
                </a:lnTo>
                <a:lnTo>
                  <a:pt x="58674" y="407669"/>
                </a:lnTo>
                <a:lnTo>
                  <a:pt x="68580" y="40766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01" name="object 149"/>
          <p:cNvSpPr/>
          <p:nvPr/>
        </p:nvSpPr>
        <p:spPr>
          <a:xfrm>
            <a:off x="5028845" y="4018450"/>
            <a:ext cx="92878" cy="166380"/>
          </a:xfrm>
          <a:custGeom>
            <a:avLst/>
            <a:gdLst/>
            <a:ahLst/>
            <a:cxnLst/>
            <a:rect l="l" t="t" r="r" b="b"/>
            <a:pathLst>
              <a:path w="127000" h="359410">
                <a:moveTo>
                  <a:pt x="126492" y="76200"/>
                </a:moveTo>
                <a:lnTo>
                  <a:pt x="63246" y="0"/>
                </a:lnTo>
                <a:lnTo>
                  <a:pt x="0" y="76200"/>
                </a:lnTo>
                <a:lnTo>
                  <a:pt x="58674" y="76200"/>
                </a:lnTo>
                <a:lnTo>
                  <a:pt x="58674" y="63246"/>
                </a:lnTo>
                <a:lnTo>
                  <a:pt x="67818" y="63246"/>
                </a:lnTo>
                <a:lnTo>
                  <a:pt x="67818" y="76200"/>
                </a:lnTo>
                <a:lnTo>
                  <a:pt x="126492" y="76200"/>
                </a:lnTo>
                <a:close/>
              </a:path>
              <a:path w="127000" h="359410">
                <a:moveTo>
                  <a:pt x="67818" y="76200"/>
                </a:moveTo>
                <a:lnTo>
                  <a:pt x="67818" y="63246"/>
                </a:lnTo>
                <a:lnTo>
                  <a:pt x="58674" y="63246"/>
                </a:lnTo>
                <a:lnTo>
                  <a:pt x="58674" y="76200"/>
                </a:lnTo>
                <a:lnTo>
                  <a:pt x="67818" y="76200"/>
                </a:lnTo>
                <a:close/>
              </a:path>
              <a:path w="127000" h="359410">
                <a:moveTo>
                  <a:pt x="67818" y="358901"/>
                </a:moveTo>
                <a:lnTo>
                  <a:pt x="67818" y="76200"/>
                </a:lnTo>
                <a:lnTo>
                  <a:pt x="58674" y="76200"/>
                </a:lnTo>
                <a:lnTo>
                  <a:pt x="58674" y="358901"/>
                </a:lnTo>
                <a:lnTo>
                  <a:pt x="67818" y="35890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02" name="object 150"/>
          <p:cNvSpPr/>
          <p:nvPr/>
        </p:nvSpPr>
        <p:spPr>
          <a:xfrm>
            <a:off x="3472967" y="4130977"/>
            <a:ext cx="93342" cy="188133"/>
          </a:xfrm>
          <a:custGeom>
            <a:avLst/>
            <a:gdLst/>
            <a:ahLst/>
            <a:cxnLst/>
            <a:rect l="l" t="t" r="r" b="b"/>
            <a:pathLst>
              <a:path w="127635" h="406400">
                <a:moveTo>
                  <a:pt x="127254" y="329945"/>
                </a:moveTo>
                <a:lnTo>
                  <a:pt x="0" y="329945"/>
                </a:lnTo>
                <a:lnTo>
                  <a:pt x="58674" y="400637"/>
                </a:lnTo>
                <a:lnTo>
                  <a:pt x="58674" y="342900"/>
                </a:lnTo>
                <a:lnTo>
                  <a:pt x="68580" y="342900"/>
                </a:lnTo>
                <a:lnTo>
                  <a:pt x="68580" y="399795"/>
                </a:lnTo>
                <a:lnTo>
                  <a:pt x="127254" y="329945"/>
                </a:lnTo>
                <a:close/>
              </a:path>
              <a:path w="127635" h="406400">
                <a:moveTo>
                  <a:pt x="68580" y="329945"/>
                </a:moveTo>
                <a:lnTo>
                  <a:pt x="68580" y="0"/>
                </a:lnTo>
                <a:lnTo>
                  <a:pt x="58674" y="0"/>
                </a:lnTo>
                <a:lnTo>
                  <a:pt x="58674" y="329945"/>
                </a:lnTo>
                <a:lnTo>
                  <a:pt x="68580" y="329945"/>
                </a:lnTo>
                <a:close/>
              </a:path>
              <a:path w="127635" h="406400">
                <a:moveTo>
                  <a:pt x="68580" y="399795"/>
                </a:moveTo>
                <a:lnTo>
                  <a:pt x="68580" y="342900"/>
                </a:lnTo>
                <a:lnTo>
                  <a:pt x="58674" y="342900"/>
                </a:lnTo>
                <a:lnTo>
                  <a:pt x="58674" y="400637"/>
                </a:lnTo>
                <a:lnTo>
                  <a:pt x="63245" y="406145"/>
                </a:lnTo>
                <a:lnTo>
                  <a:pt x="68580" y="39979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03" name="object 151"/>
          <p:cNvSpPr/>
          <p:nvPr/>
        </p:nvSpPr>
        <p:spPr>
          <a:xfrm>
            <a:off x="4727923" y="4189533"/>
            <a:ext cx="1124278" cy="325118"/>
          </a:xfrm>
          <a:custGeom>
            <a:avLst/>
            <a:gdLst/>
            <a:ahLst/>
            <a:cxnLst/>
            <a:rect l="l" t="t" r="r" b="b"/>
            <a:pathLst>
              <a:path w="1537335" h="702310">
                <a:moveTo>
                  <a:pt x="0" y="0"/>
                </a:moveTo>
                <a:lnTo>
                  <a:pt x="0" y="701802"/>
                </a:lnTo>
                <a:lnTo>
                  <a:pt x="1536954" y="701801"/>
                </a:lnTo>
                <a:lnTo>
                  <a:pt x="1536953" y="0"/>
                </a:lnTo>
                <a:lnTo>
                  <a:pt x="0" y="0"/>
                </a:lnTo>
                <a:close/>
              </a:path>
            </a:pathLst>
          </a:custGeom>
          <a:solidFill>
            <a:srgbClr val="33CCCC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05" name="object 153"/>
          <p:cNvSpPr/>
          <p:nvPr/>
        </p:nvSpPr>
        <p:spPr>
          <a:xfrm>
            <a:off x="3002637" y="4089705"/>
            <a:ext cx="105880" cy="375384"/>
          </a:xfrm>
          <a:custGeom>
            <a:avLst/>
            <a:gdLst/>
            <a:ahLst/>
            <a:cxnLst/>
            <a:rect l="l" t="t" r="r" b="b"/>
            <a:pathLst>
              <a:path w="144780" h="810895">
                <a:moveTo>
                  <a:pt x="144779" y="202692"/>
                </a:moveTo>
                <a:lnTo>
                  <a:pt x="72389" y="0"/>
                </a:lnTo>
                <a:lnTo>
                  <a:pt x="0" y="202692"/>
                </a:lnTo>
                <a:lnTo>
                  <a:pt x="36575" y="202692"/>
                </a:lnTo>
                <a:lnTo>
                  <a:pt x="36575" y="810768"/>
                </a:lnTo>
                <a:lnTo>
                  <a:pt x="108203" y="810768"/>
                </a:lnTo>
                <a:lnTo>
                  <a:pt x="108203" y="202692"/>
                </a:lnTo>
                <a:lnTo>
                  <a:pt x="144779" y="2026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06" name="object 154"/>
          <p:cNvSpPr/>
          <p:nvPr/>
        </p:nvSpPr>
        <p:spPr>
          <a:xfrm>
            <a:off x="2997621" y="4083003"/>
            <a:ext cx="116096" cy="384497"/>
          </a:xfrm>
          <a:custGeom>
            <a:avLst/>
            <a:gdLst/>
            <a:ahLst/>
            <a:cxnLst/>
            <a:rect l="l" t="t" r="r" b="b"/>
            <a:pathLst>
              <a:path w="158750" h="830579">
                <a:moveTo>
                  <a:pt x="158495" y="221741"/>
                </a:moveTo>
                <a:lnTo>
                  <a:pt x="79247" y="0"/>
                </a:lnTo>
                <a:lnTo>
                  <a:pt x="0" y="221741"/>
                </a:lnTo>
                <a:lnTo>
                  <a:pt x="6857" y="221741"/>
                </a:lnTo>
                <a:lnTo>
                  <a:pt x="6857" y="212597"/>
                </a:lnTo>
                <a:lnTo>
                  <a:pt x="13607" y="212597"/>
                </a:lnTo>
                <a:lnTo>
                  <a:pt x="74675" y="41605"/>
                </a:lnTo>
                <a:lnTo>
                  <a:pt x="74675" y="16001"/>
                </a:lnTo>
                <a:lnTo>
                  <a:pt x="83819" y="16001"/>
                </a:lnTo>
                <a:lnTo>
                  <a:pt x="83819" y="41605"/>
                </a:lnTo>
                <a:lnTo>
                  <a:pt x="144888" y="212597"/>
                </a:lnTo>
                <a:lnTo>
                  <a:pt x="151637" y="212597"/>
                </a:lnTo>
                <a:lnTo>
                  <a:pt x="151637" y="221741"/>
                </a:lnTo>
                <a:lnTo>
                  <a:pt x="158495" y="221741"/>
                </a:lnTo>
                <a:close/>
              </a:path>
              <a:path w="158750" h="830579">
                <a:moveTo>
                  <a:pt x="13607" y="212597"/>
                </a:moveTo>
                <a:lnTo>
                  <a:pt x="6857" y="212597"/>
                </a:lnTo>
                <a:lnTo>
                  <a:pt x="11429" y="218693"/>
                </a:lnTo>
                <a:lnTo>
                  <a:pt x="13607" y="212597"/>
                </a:lnTo>
                <a:close/>
              </a:path>
              <a:path w="158750" h="830579">
                <a:moveTo>
                  <a:pt x="48006" y="820673"/>
                </a:moveTo>
                <a:lnTo>
                  <a:pt x="48005" y="212597"/>
                </a:lnTo>
                <a:lnTo>
                  <a:pt x="13607" y="212597"/>
                </a:lnTo>
                <a:lnTo>
                  <a:pt x="11429" y="218693"/>
                </a:lnTo>
                <a:lnTo>
                  <a:pt x="6857" y="212597"/>
                </a:lnTo>
                <a:lnTo>
                  <a:pt x="6857" y="221741"/>
                </a:lnTo>
                <a:lnTo>
                  <a:pt x="38099" y="221741"/>
                </a:lnTo>
                <a:lnTo>
                  <a:pt x="38099" y="217169"/>
                </a:lnTo>
                <a:lnTo>
                  <a:pt x="43433" y="221741"/>
                </a:lnTo>
                <a:lnTo>
                  <a:pt x="43434" y="820673"/>
                </a:lnTo>
                <a:lnTo>
                  <a:pt x="48006" y="820673"/>
                </a:lnTo>
                <a:close/>
              </a:path>
              <a:path w="158750" h="830579">
                <a:moveTo>
                  <a:pt x="43433" y="221741"/>
                </a:moveTo>
                <a:lnTo>
                  <a:pt x="38099" y="217169"/>
                </a:lnTo>
                <a:lnTo>
                  <a:pt x="38099" y="221741"/>
                </a:lnTo>
                <a:lnTo>
                  <a:pt x="43433" y="221741"/>
                </a:lnTo>
                <a:close/>
              </a:path>
              <a:path w="158750" h="830579">
                <a:moveTo>
                  <a:pt x="48006" y="830579"/>
                </a:moveTo>
                <a:lnTo>
                  <a:pt x="48006" y="825245"/>
                </a:lnTo>
                <a:lnTo>
                  <a:pt x="43434" y="820673"/>
                </a:lnTo>
                <a:lnTo>
                  <a:pt x="43433" y="221741"/>
                </a:lnTo>
                <a:lnTo>
                  <a:pt x="38099" y="221741"/>
                </a:lnTo>
                <a:lnTo>
                  <a:pt x="38100" y="830579"/>
                </a:lnTo>
                <a:lnTo>
                  <a:pt x="48006" y="830579"/>
                </a:lnTo>
                <a:close/>
              </a:path>
              <a:path w="158750" h="830579">
                <a:moveTo>
                  <a:pt x="115061" y="820673"/>
                </a:moveTo>
                <a:lnTo>
                  <a:pt x="43434" y="820673"/>
                </a:lnTo>
                <a:lnTo>
                  <a:pt x="48006" y="825245"/>
                </a:lnTo>
                <a:lnTo>
                  <a:pt x="48006" y="830579"/>
                </a:lnTo>
                <a:lnTo>
                  <a:pt x="110489" y="830579"/>
                </a:lnTo>
                <a:lnTo>
                  <a:pt x="110489" y="825245"/>
                </a:lnTo>
                <a:lnTo>
                  <a:pt x="115061" y="820673"/>
                </a:lnTo>
                <a:close/>
              </a:path>
              <a:path w="158750" h="830579">
                <a:moveTo>
                  <a:pt x="83819" y="16001"/>
                </a:moveTo>
                <a:lnTo>
                  <a:pt x="74675" y="16001"/>
                </a:lnTo>
                <a:lnTo>
                  <a:pt x="79247" y="28803"/>
                </a:lnTo>
                <a:lnTo>
                  <a:pt x="83819" y="16001"/>
                </a:lnTo>
                <a:close/>
              </a:path>
              <a:path w="158750" h="830579">
                <a:moveTo>
                  <a:pt x="79247" y="28803"/>
                </a:moveTo>
                <a:lnTo>
                  <a:pt x="74675" y="16001"/>
                </a:lnTo>
                <a:lnTo>
                  <a:pt x="74675" y="41605"/>
                </a:lnTo>
                <a:lnTo>
                  <a:pt x="79247" y="28803"/>
                </a:lnTo>
                <a:close/>
              </a:path>
              <a:path w="158750" h="830579">
                <a:moveTo>
                  <a:pt x="83819" y="41605"/>
                </a:moveTo>
                <a:lnTo>
                  <a:pt x="83819" y="16001"/>
                </a:lnTo>
                <a:lnTo>
                  <a:pt x="79247" y="28803"/>
                </a:lnTo>
                <a:lnTo>
                  <a:pt x="83819" y="41605"/>
                </a:lnTo>
                <a:close/>
              </a:path>
              <a:path w="158750" h="830579">
                <a:moveTo>
                  <a:pt x="151637" y="221741"/>
                </a:moveTo>
                <a:lnTo>
                  <a:pt x="151637" y="212597"/>
                </a:lnTo>
                <a:lnTo>
                  <a:pt x="147065" y="218693"/>
                </a:lnTo>
                <a:lnTo>
                  <a:pt x="144888" y="212597"/>
                </a:lnTo>
                <a:lnTo>
                  <a:pt x="110489" y="212597"/>
                </a:lnTo>
                <a:lnTo>
                  <a:pt x="110489" y="820673"/>
                </a:lnTo>
                <a:lnTo>
                  <a:pt x="115061" y="820673"/>
                </a:lnTo>
                <a:lnTo>
                  <a:pt x="115061" y="221741"/>
                </a:lnTo>
                <a:lnTo>
                  <a:pt x="120395" y="217169"/>
                </a:lnTo>
                <a:lnTo>
                  <a:pt x="120395" y="221741"/>
                </a:lnTo>
                <a:lnTo>
                  <a:pt x="151637" y="221741"/>
                </a:lnTo>
                <a:close/>
              </a:path>
              <a:path w="158750" h="830579">
                <a:moveTo>
                  <a:pt x="120396" y="830579"/>
                </a:moveTo>
                <a:lnTo>
                  <a:pt x="120395" y="221741"/>
                </a:lnTo>
                <a:lnTo>
                  <a:pt x="115061" y="221741"/>
                </a:lnTo>
                <a:lnTo>
                  <a:pt x="115061" y="820673"/>
                </a:lnTo>
                <a:lnTo>
                  <a:pt x="110489" y="825245"/>
                </a:lnTo>
                <a:lnTo>
                  <a:pt x="110489" y="830579"/>
                </a:lnTo>
                <a:lnTo>
                  <a:pt x="120396" y="830579"/>
                </a:lnTo>
                <a:close/>
              </a:path>
              <a:path w="158750" h="830579">
                <a:moveTo>
                  <a:pt x="120395" y="221741"/>
                </a:moveTo>
                <a:lnTo>
                  <a:pt x="120395" y="217169"/>
                </a:lnTo>
                <a:lnTo>
                  <a:pt x="115061" y="221741"/>
                </a:lnTo>
                <a:lnTo>
                  <a:pt x="120395" y="221741"/>
                </a:lnTo>
                <a:close/>
              </a:path>
              <a:path w="158750" h="830579">
                <a:moveTo>
                  <a:pt x="151637" y="212597"/>
                </a:moveTo>
                <a:lnTo>
                  <a:pt x="144888" y="212597"/>
                </a:lnTo>
                <a:lnTo>
                  <a:pt x="147065" y="218693"/>
                </a:lnTo>
                <a:lnTo>
                  <a:pt x="151637" y="21259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307" name="object 155"/>
          <p:cNvSpPr txBox="1"/>
          <p:nvPr/>
        </p:nvSpPr>
        <p:spPr>
          <a:xfrm>
            <a:off x="168465" y="2935852"/>
            <a:ext cx="1772773" cy="931187"/>
          </a:xfrm>
          <a:prstGeom prst="rect">
            <a:avLst/>
          </a:prstGeom>
        </p:spPr>
        <p:txBody>
          <a:bodyPr vert="horz" wrap="square" lIns="0" tIns="7781" rIns="0" bIns="0" rtlCol="0">
            <a:spAutoFit/>
          </a:bodyPr>
          <a:lstStyle/>
          <a:p>
            <a:pPr marL="273050" marR="3113">
              <a:spcBef>
                <a:spcPts val="61"/>
              </a:spcBef>
            </a:pPr>
            <a:r>
              <a:rPr lang="ru-RU" sz="1200" spc="-3" dirty="0">
                <a:latin typeface="Arial Narrow" panose="020B0606020202030204" pitchFamily="34" charset="0"/>
                <a:cs typeface="Arial"/>
              </a:rPr>
              <a:t>Пресс-форма открывается, деталь извлекается, а шнек продолжает процесс набора дозы расплава</a:t>
            </a:r>
            <a:endParaRPr sz="1200" dirty="0"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308" name="object 12"/>
          <p:cNvSpPr txBox="1"/>
          <p:nvPr/>
        </p:nvSpPr>
        <p:spPr>
          <a:xfrm>
            <a:off x="3311263" y="2283920"/>
            <a:ext cx="1476933" cy="284463"/>
          </a:xfrm>
          <a:prstGeom prst="rect">
            <a:avLst/>
          </a:prstGeom>
        </p:spPr>
        <p:txBody>
          <a:bodyPr vert="horz" wrap="square" lIns="0" tIns="7392" rIns="0" bIns="0" rtlCol="0">
            <a:spAutoFit/>
          </a:bodyPr>
          <a:lstStyle/>
          <a:p>
            <a:pPr marL="92597" marR="526013" indent="-38128">
              <a:spcBef>
                <a:spcPts val="58"/>
              </a:spcBef>
            </a:pPr>
            <a:r>
              <a:rPr lang="ru-RU" sz="900" dirty="0">
                <a:latin typeface="Arial Narrow" panose="020B0606020202030204" pitchFamily="34" charset="0"/>
                <a:cs typeface="DaunPenh"/>
              </a:rPr>
              <a:t>Охлаждающая система</a:t>
            </a:r>
            <a:endParaRPr sz="900" dirty="0">
              <a:latin typeface="Arial Narrow" panose="020B0606020202030204" pitchFamily="34" charset="0"/>
              <a:cs typeface="DaunPenh"/>
            </a:endParaRPr>
          </a:p>
        </p:txBody>
      </p:sp>
      <p:sp>
        <p:nvSpPr>
          <p:cNvPr id="309" name="object 12"/>
          <p:cNvSpPr txBox="1"/>
          <p:nvPr/>
        </p:nvSpPr>
        <p:spPr>
          <a:xfrm>
            <a:off x="4773823" y="4214055"/>
            <a:ext cx="1476933" cy="284463"/>
          </a:xfrm>
          <a:prstGeom prst="rect">
            <a:avLst/>
          </a:prstGeom>
        </p:spPr>
        <p:txBody>
          <a:bodyPr vert="horz" wrap="square" lIns="0" tIns="7392" rIns="0" bIns="0" rtlCol="0">
            <a:spAutoFit/>
          </a:bodyPr>
          <a:lstStyle/>
          <a:p>
            <a:pPr marL="92597" marR="526013" indent="-38128">
              <a:spcBef>
                <a:spcPts val="58"/>
              </a:spcBef>
            </a:pPr>
            <a:r>
              <a:rPr lang="ru-RU" sz="900" dirty="0">
                <a:latin typeface="Arial Narrow" panose="020B0606020202030204" pitchFamily="34" charset="0"/>
                <a:cs typeface="DaunPenh"/>
              </a:rPr>
              <a:t>Охлаждающая система</a:t>
            </a:r>
            <a:endParaRPr sz="900" dirty="0">
              <a:latin typeface="Arial Narrow" panose="020B0606020202030204" pitchFamily="34" charset="0"/>
              <a:cs typeface="DaunPenh"/>
            </a:endParaRPr>
          </a:p>
        </p:txBody>
      </p:sp>
      <p:sp>
        <p:nvSpPr>
          <p:cNvPr id="314" name="Заголовок 1"/>
          <p:cNvSpPr txBox="1">
            <a:spLocks/>
          </p:cNvSpPr>
          <p:nvPr/>
        </p:nvSpPr>
        <p:spPr>
          <a:xfrm>
            <a:off x="3859423" y="689760"/>
            <a:ext cx="6196212" cy="5274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76041" tIns="38021" rIns="76041" bIns="38021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dirty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3</a:t>
            </a:r>
            <a:r>
              <a:rPr lang="ru-RU" sz="2000" kern="1200" dirty="0" smtClean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. </a:t>
            </a:r>
            <a:r>
              <a:rPr lang="ru-RU" sz="2000" dirty="0" smtClean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Охлаждение / Загрузка</a:t>
            </a:r>
            <a:endParaRPr lang="ru-RU" sz="2000" kern="1200" dirty="0">
              <a:solidFill>
                <a:schemeClr val="accent1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15" name="Заголовок 1"/>
          <p:cNvSpPr txBox="1">
            <a:spLocks/>
          </p:cNvSpPr>
          <p:nvPr/>
        </p:nvSpPr>
        <p:spPr>
          <a:xfrm>
            <a:off x="4508720" y="2426404"/>
            <a:ext cx="6196212" cy="5274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76041" tIns="38021" rIns="76041" bIns="38021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8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2000" dirty="0" smtClean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4</a:t>
            </a:r>
            <a:r>
              <a:rPr lang="ru-RU" sz="2000" kern="1200" dirty="0" smtClean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. </a:t>
            </a:r>
            <a:r>
              <a:rPr lang="ru-RU" sz="2000" dirty="0" smtClean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Открытие формы / выталкивание</a:t>
            </a:r>
            <a:endParaRPr lang="ru-RU" sz="2000" kern="1200" dirty="0">
              <a:solidFill>
                <a:schemeClr val="accent1"/>
              </a:solidFill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0734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 bwMode="auto">
          <a:xfrm>
            <a:off x="2295504" y="834492"/>
            <a:ext cx="3672408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7781">
              <a:spcBef>
                <a:spcPts val="61"/>
              </a:spcBef>
            </a:pPr>
            <a:r>
              <a:rPr lang="ru-RU" sz="1000">
                <a:latin typeface="Arial Narrow" panose="020B0606020202030204" pitchFamily="34" charset="0"/>
              </a:rPr>
              <a:t>Впрыск расплавленного пластика через сопло в полость пресс-формы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2300256" y="1378785"/>
            <a:ext cx="3672408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7781" marR="3113">
              <a:spcBef>
                <a:spcPts val="61"/>
              </a:spcBef>
            </a:pPr>
            <a:r>
              <a:rPr lang="ru-RU" sz="1000" dirty="0">
                <a:latin typeface="Arial Narrow" panose="020B0606020202030204" pitchFamily="34" charset="0"/>
              </a:rPr>
              <a:t>Завершение процесса заполнения формы. Давление применяется для оптимизации упаковки материала и компенсации усадки</a:t>
            </a: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2300256" y="1923078"/>
            <a:ext cx="3672408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7781">
              <a:spcBef>
                <a:spcPts val="61"/>
              </a:spcBef>
              <a:tabLst>
                <a:tab pos="759061" algn="l"/>
              </a:tabLst>
            </a:pPr>
            <a:r>
              <a:rPr lang="ru-RU" sz="1000">
                <a:latin typeface="Arial Narrow" panose="020B0606020202030204" pitchFamily="34" charset="0"/>
              </a:rPr>
              <a:t>Охлаждение материала внутри пресс-формы, параллельный набор новой дозы расплава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2300256" y="2467371"/>
            <a:ext cx="3672408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7781">
              <a:spcBef>
                <a:spcPts val="61"/>
              </a:spcBef>
            </a:pPr>
            <a:r>
              <a:rPr lang="ru-RU" sz="1000">
                <a:latin typeface="Arial Narrow" panose="020B0606020202030204" pitchFamily="34" charset="0"/>
              </a:rPr>
              <a:t>Открытие пресс-формы и извлечение детали 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2295504" y="3011666"/>
            <a:ext cx="3672408" cy="36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7781">
              <a:spcBef>
                <a:spcPts val="61"/>
              </a:spcBef>
            </a:pPr>
            <a:r>
              <a:rPr lang="ru-RU" sz="1000">
                <a:latin typeface="Arial Narrow" panose="020B0606020202030204" pitchFamily="34" charset="0"/>
              </a:rPr>
              <a:t>Закрытие пресс-формы</a:t>
            </a:r>
            <a:endParaRPr lang="ru-RU" sz="1000" dirty="0">
              <a:latin typeface="Arial Narrow" panose="020B0606020202030204" pitchFamily="34" charset="0"/>
              <a:cs typeface="DaunPenh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1546" y="221867"/>
            <a:ext cx="8468458" cy="527447"/>
          </a:xfrm>
        </p:spPr>
        <p:txBody>
          <a:bodyPr/>
          <a:lstStyle/>
          <a:p>
            <a:r>
              <a:rPr lang="ru-RU" sz="2400" kern="1200" dirty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ЛИТЬЕ ПОД </a:t>
            </a:r>
            <a:r>
              <a:rPr lang="ru-RU" sz="2400" kern="1200" dirty="0" smtClean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ДАВЛЕНИЕМ. ЦИКЛОГРАММА </a:t>
            </a:r>
            <a:r>
              <a:rPr lang="ru-RU" sz="2400" kern="1200" dirty="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rPr>
              <a:t>ЛИТЬЯ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862080" y="2537475"/>
            <a:ext cx="1331423" cy="207912"/>
          </a:xfrm>
          <a:prstGeom prst="rect">
            <a:avLst/>
          </a:prstGeom>
        </p:spPr>
        <p:txBody>
          <a:bodyPr vert="horz" wrap="square" lIns="0" tIns="7781" rIns="0" bIns="0" rtlCol="0">
            <a:spAutoFit/>
          </a:bodyPr>
          <a:lstStyle/>
          <a:p>
            <a:pPr marL="7781" algn="r">
              <a:spcBef>
                <a:spcPts val="61"/>
              </a:spcBef>
            </a:pPr>
            <a:r>
              <a:rPr lang="ru-RU" sz="1300" b="1" dirty="0">
                <a:solidFill>
                  <a:schemeClr val="accent1"/>
                </a:solidFill>
                <a:latin typeface="Arial Narrow" panose="020B0606020202030204" pitchFamily="34" charset="0"/>
                <a:cs typeface="Arial"/>
              </a:rPr>
              <a:t>Выталкивание</a:t>
            </a:r>
            <a:endParaRPr sz="1300" dirty="0">
              <a:solidFill>
                <a:schemeClr val="accent1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248837" y="1459847"/>
            <a:ext cx="944666" cy="207912"/>
          </a:xfrm>
          <a:prstGeom prst="rect">
            <a:avLst/>
          </a:prstGeom>
        </p:spPr>
        <p:txBody>
          <a:bodyPr vert="horz" wrap="square" lIns="0" tIns="7781" rIns="0" bIns="0" rtlCol="0">
            <a:spAutoFit/>
          </a:bodyPr>
          <a:lstStyle/>
          <a:p>
            <a:pPr marL="7781" algn="r">
              <a:spcBef>
                <a:spcPts val="61"/>
              </a:spcBef>
            </a:pPr>
            <a:r>
              <a:rPr lang="ru-RU" sz="1300" b="1" dirty="0">
                <a:solidFill>
                  <a:schemeClr val="accent1"/>
                </a:solidFill>
                <a:latin typeface="Arial Narrow" panose="020B0606020202030204" pitchFamily="34" charset="0"/>
                <a:cs typeface="Arial"/>
              </a:rPr>
              <a:t>Выдержка</a:t>
            </a:r>
            <a:endParaRPr sz="1300" dirty="0">
              <a:solidFill>
                <a:schemeClr val="accent1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372005" y="921033"/>
            <a:ext cx="821498" cy="207912"/>
          </a:xfrm>
          <a:prstGeom prst="rect">
            <a:avLst/>
          </a:prstGeom>
        </p:spPr>
        <p:txBody>
          <a:bodyPr vert="horz" wrap="square" lIns="0" tIns="7781" rIns="0" bIns="0" rtlCol="0">
            <a:spAutoFit/>
          </a:bodyPr>
          <a:lstStyle/>
          <a:p>
            <a:pPr marL="7781" algn="r">
              <a:spcBef>
                <a:spcPts val="61"/>
              </a:spcBef>
            </a:pPr>
            <a:r>
              <a:rPr lang="ru-RU" sz="1300" b="1" dirty="0">
                <a:solidFill>
                  <a:schemeClr val="accent1"/>
                </a:solidFill>
                <a:latin typeface="Arial Narrow" panose="020B0606020202030204" pitchFamily="34" charset="0"/>
                <a:cs typeface="Arial"/>
              </a:rPr>
              <a:t>Впрыск</a:t>
            </a:r>
            <a:endParaRPr sz="1300" dirty="0">
              <a:solidFill>
                <a:schemeClr val="accent1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922263" y="3076290"/>
            <a:ext cx="1271240" cy="207912"/>
          </a:xfrm>
          <a:prstGeom prst="rect">
            <a:avLst/>
          </a:prstGeom>
        </p:spPr>
        <p:txBody>
          <a:bodyPr vert="horz" wrap="square" lIns="0" tIns="7781" rIns="0" bIns="0" rtlCol="0">
            <a:spAutoFit/>
          </a:bodyPr>
          <a:lstStyle/>
          <a:p>
            <a:pPr marL="7781" algn="r">
              <a:spcBef>
                <a:spcPts val="61"/>
              </a:spcBef>
            </a:pPr>
            <a:r>
              <a:rPr lang="ru-RU" sz="1300" b="1" dirty="0">
                <a:solidFill>
                  <a:schemeClr val="accent1"/>
                </a:solidFill>
                <a:latin typeface="Arial Narrow" panose="020B0606020202030204" pitchFamily="34" charset="0"/>
                <a:cs typeface="Arial"/>
              </a:rPr>
              <a:t>Закрытие П/Ф</a:t>
            </a:r>
            <a:endParaRPr sz="1300" dirty="0">
              <a:solidFill>
                <a:schemeClr val="accent1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381" name="object 16"/>
          <p:cNvSpPr txBox="1"/>
          <p:nvPr/>
        </p:nvSpPr>
        <p:spPr>
          <a:xfrm>
            <a:off x="581926" y="1998661"/>
            <a:ext cx="1611577" cy="207912"/>
          </a:xfrm>
          <a:prstGeom prst="rect">
            <a:avLst/>
          </a:prstGeom>
        </p:spPr>
        <p:txBody>
          <a:bodyPr vert="horz" wrap="square" lIns="0" tIns="7781" rIns="0" bIns="0" rtlCol="0">
            <a:spAutoFit/>
          </a:bodyPr>
          <a:lstStyle/>
          <a:p>
            <a:pPr marL="7781" algn="r">
              <a:spcBef>
                <a:spcPts val="61"/>
              </a:spcBef>
            </a:pPr>
            <a:r>
              <a:rPr lang="ru-RU" sz="1300" b="1" dirty="0">
                <a:solidFill>
                  <a:schemeClr val="accent1"/>
                </a:solidFill>
                <a:latin typeface="Arial Narrow" panose="020B0606020202030204" pitchFamily="34" charset="0"/>
                <a:cs typeface="Arial"/>
              </a:rPr>
              <a:t>Охлаждение / Загрузка</a:t>
            </a:r>
            <a:endParaRPr sz="1300" dirty="0">
              <a:solidFill>
                <a:schemeClr val="accent1"/>
              </a:solidFill>
              <a:latin typeface="Arial Narrow" panose="020B0606020202030204" pitchFamily="34" charset="0"/>
              <a:cs typeface="Arial"/>
            </a:endParaRPr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9417" y="603116"/>
            <a:ext cx="2256520" cy="2995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3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0" t="3695" r="3429" b="5498"/>
          <a:stretch/>
        </p:blipFill>
        <p:spPr bwMode="auto">
          <a:xfrm>
            <a:off x="2654920" y="3586164"/>
            <a:ext cx="2859932" cy="1277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0924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8</a:t>
            </a:fld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6812546"/>
              </p:ext>
            </p:extLst>
          </p:nvPr>
        </p:nvGraphicFramePr>
        <p:xfrm>
          <a:off x="125854" y="650289"/>
          <a:ext cx="8850065" cy="3501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9485">
                  <a:extLst>
                    <a:ext uri="{9D8B030D-6E8A-4147-A177-3AD203B41FA5}">
                      <a16:colId xmlns:a16="http://schemas.microsoft.com/office/drawing/2014/main" val="1449241621"/>
                    </a:ext>
                  </a:extLst>
                </a:gridCol>
                <a:gridCol w="8017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5130">
                  <a:extLst>
                    <a:ext uri="{9D8B030D-6E8A-4147-A177-3AD203B41FA5}">
                      <a16:colId xmlns:a16="http://schemas.microsoft.com/office/drawing/2014/main" val="3421550606"/>
                    </a:ext>
                  </a:extLst>
                </a:gridCol>
                <a:gridCol w="795131">
                  <a:extLst>
                    <a:ext uri="{9D8B030D-6E8A-4147-A177-3AD203B41FA5}">
                      <a16:colId xmlns:a16="http://schemas.microsoft.com/office/drawing/2014/main" val="2857469748"/>
                    </a:ext>
                  </a:extLst>
                </a:gridCol>
                <a:gridCol w="808382">
                  <a:extLst>
                    <a:ext uri="{9D8B030D-6E8A-4147-A177-3AD203B41FA5}">
                      <a16:colId xmlns:a16="http://schemas.microsoft.com/office/drawing/2014/main" val="3472340020"/>
                    </a:ext>
                  </a:extLst>
                </a:gridCol>
                <a:gridCol w="887896">
                  <a:extLst>
                    <a:ext uri="{9D8B030D-6E8A-4147-A177-3AD203B41FA5}">
                      <a16:colId xmlns:a16="http://schemas.microsoft.com/office/drawing/2014/main" val="953588323"/>
                    </a:ext>
                  </a:extLst>
                </a:gridCol>
                <a:gridCol w="881269">
                  <a:extLst>
                    <a:ext uri="{9D8B030D-6E8A-4147-A177-3AD203B41FA5}">
                      <a16:colId xmlns:a16="http://schemas.microsoft.com/office/drawing/2014/main" val="1835726950"/>
                    </a:ext>
                  </a:extLst>
                </a:gridCol>
                <a:gridCol w="947531">
                  <a:extLst>
                    <a:ext uri="{9D8B030D-6E8A-4147-A177-3AD203B41FA5}">
                      <a16:colId xmlns:a16="http://schemas.microsoft.com/office/drawing/2014/main" val="3066531738"/>
                    </a:ext>
                  </a:extLst>
                </a:gridCol>
                <a:gridCol w="892092">
                  <a:extLst>
                    <a:ext uri="{9D8B030D-6E8A-4147-A177-3AD203B41FA5}">
                      <a16:colId xmlns:a16="http://schemas.microsoft.com/office/drawing/2014/main" val="4205433650"/>
                    </a:ext>
                  </a:extLst>
                </a:gridCol>
                <a:gridCol w="861392">
                  <a:extLst>
                    <a:ext uri="{9D8B030D-6E8A-4147-A177-3AD203B41FA5}">
                      <a16:colId xmlns:a16="http://schemas.microsoft.com/office/drawing/2014/main" val="4161436657"/>
                    </a:ext>
                  </a:extLst>
                </a:gridCol>
              </a:tblGrid>
              <a:tr h="383835"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rgbClr val="008C95"/>
                          </a:solidFill>
                          <a:latin typeface="Arial Narrow" panose="020B0606020202030204" pitchFamily="34" charset="0"/>
                        </a:rPr>
                        <a:t>СВОЙСТВА</a:t>
                      </a: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 H030 GP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PP H120 GP</a:t>
                      </a: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 H250 GP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PP H</a:t>
                      </a: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35</a:t>
                      </a:r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0 GP</a:t>
                      </a: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 H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4</a:t>
                      </a:r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50 GP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 H022 CM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 H451 IM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 H452 IM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 H552 IM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226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Наличие добавок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азовая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рецептура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азовая рецептура</a:t>
                      </a:r>
                      <a:endParaRPr kumimoji="0" lang="ru-RU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азовая рецептура</a:t>
                      </a:r>
                      <a:endParaRPr kumimoji="0" lang="ru-RU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азовая рецептура</a:t>
                      </a:r>
                      <a:endParaRPr kumimoji="0" lang="ru-RU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азовая рецептура</a:t>
                      </a:r>
                      <a:endParaRPr kumimoji="0" lang="ru-RU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светлитель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клеатор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6194104"/>
                  </a:ext>
                </a:extLst>
              </a:tr>
              <a:tr h="331120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ПТР, г/10 мин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,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,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5,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,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5,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,6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5,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5,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5,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3637188"/>
                  </a:ext>
                </a:extLst>
              </a:tr>
              <a:tr h="294608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Модуль упругости,</a:t>
                      </a:r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МПа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5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7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8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70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239360"/>
                  </a:ext>
                </a:extLst>
              </a:tr>
              <a:tr h="1434893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сновные характеристики</a:t>
                      </a:r>
                      <a:endParaRPr lang="ru-RU" sz="1000" b="1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l" fontAlgn="t"/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арки общего назначения с текучестью ниже средней, средней и высокой.</a:t>
                      </a:r>
                    </a:p>
                    <a:p>
                      <a:pPr algn="l" fontAlgn="t"/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дукты характеризуются оптимальным составом базовой рецептуры стабилизации и сбалансированными физико-механическими характеристиками.</a:t>
                      </a: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l" defTabSz="779021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5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пецмарка</a:t>
                      </a: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с высокой жёсткостью.</a:t>
                      </a: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пецмарка</a:t>
                      </a: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для скоростного производства изделий с высокой прозрачностью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пецмарка</a:t>
                      </a: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для скоростного производства изделий с высокой жёсткостью</a:t>
                      </a: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пецмарка</a:t>
                      </a: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для скоростного производства изделий с высокой жёсткостью</a:t>
                      </a: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45018"/>
                  </a:ext>
                </a:extLst>
              </a:tr>
              <a:tr h="593959">
                <a:tc>
                  <a:txBody>
                    <a:bodyPr/>
                    <a:lstStyle/>
                    <a:p>
                      <a:pPr marL="171450" marR="0" lvl="0" indent="-17145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Рекомендуемое</a:t>
                      </a:r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назначение</a:t>
                      </a:r>
                      <a:endParaRPr lang="ru-RU" sz="1000" b="1" kern="12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олстостенные изделия, колпачки, литьевые компаунды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онкостенные изделия, колпачки, литьевые компаунды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лпачки, крышки для укупорки выдувной тары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овары бытового назначения, прозрачная тара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овары бытового назначения, тара с высокой жёсткостью</a:t>
                      </a: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020875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D9EA5721-447A-4F1E-BE0D-CB91B60E27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933" y="104025"/>
            <a:ext cx="8200013" cy="492443"/>
          </a:xfrm>
        </p:spPr>
        <p:txBody>
          <a:bodyPr vert="horz">
            <a:spAutoFit/>
          </a:bodyPr>
          <a:lstStyle/>
          <a:p>
            <a:r>
              <a:rPr lang="ru-RU" sz="1600" dirty="0" smtClean="0">
                <a:latin typeface="Arial Narrow" panose="020B0606020202030204" pitchFamily="34" charset="0"/>
              </a:rPr>
              <a:t>ТЕКУЩИЕ ПРОДУКТОВЫЕ РЕШЕНИЯ ДЛЯ СЕГМЕНТА ЛИТЬЕ ПОД ДАВЛЕНИЕМ.</a:t>
            </a:r>
            <a:br>
              <a:rPr lang="ru-RU" sz="1600" dirty="0" smtClean="0">
                <a:latin typeface="Arial Narrow" panose="020B0606020202030204" pitchFamily="34" charset="0"/>
              </a:rPr>
            </a:br>
            <a:r>
              <a:rPr lang="ru-RU" sz="1600" dirty="0" err="1" smtClean="0">
                <a:latin typeface="Arial Narrow" panose="020B0606020202030204" pitchFamily="34" charset="0"/>
              </a:rPr>
              <a:t>Гомополимеры</a:t>
            </a:r>
            <a:r>
              <a:rPr lang="ru-RU" sz="1600" dirty="0" smtClean="0">
                <a:latin typeface="Arial Narrow" panose="020B0606020202030204" pitchFamily="34" charset="0"/>
              </a:rPr>
              <a:t> ПП</a:t>
            </a:r>
            <a:endParaRPr lang="en-US" sz="16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7121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7394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5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2542" y="136564"/>
            <a:ext cx="8481695" cy="474379"/>
          </a:xfrm>
        </p:spPr>
        <p:txBody>
          <a:bodyPr vert="horz"/>
          <a:lstStyle/>
          <a:p>
            <a:r>
              <a:rPr lang="ru-RU" dirty="0"/>
              <a:t>Примеры готовых изделий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280353"/>
              </p:ext>
            </p:extLst>
          </p:nvPr>
        </p:nvGraphicFramePr>
        <p:xfrm>
          <a:off x="218356" y="575848"/>
          <a:ext cx="8582745" cy="10243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71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9685">
                  <a:extLst>
                    <a:ext uri="{9D8B030D-6E8A-4147-A177-3AD203B41FA5}">
                      <a16:colId xmlns:a16="http://schemas.microsoft.com/office/drawing/2014/main" val="3421550606"/>
                    </a:ext>
                  </a:extLst>
                </a:gridCol>
                <a:gridCol w="889686">
                  <a:extLst>
                    <a:ext uri="{9D8B030D-6E8A-4147-A177-3AD203B41FA5}">
                      <a16:colId xmlns:a16="http://schemas.microsoft.com/office/drawing/2014/main" val="2857469748"/>
                    </a:ext>
                  </a:extLst>
                </a:gridCol>
                <a:gridCol w="904513">
                  <a:extLst>
                    <a:ext uri="{9D8B030D-6E8A-4147-A177-3AD203B41FA5}">
                      <a16:colId xmlns:a16="http://schemas.microsoft.com/office/drawing/2014/main" val="3472340020"/>
                    </a:ext>
                  </a:extLst>
                </a:gridCol>
                <a:gridCol w="993482">
                  <a:extLst>
                    <a:ext uri="{9D8B030D-6E8A-4147-A177-3AD203B41FA5}">
                      <a16:colId xmlns:a16="http://schemas.microsoft.com/office/drawing/2014/main" val="953588323"/>
                    </a:ext>
                  </a:extLst>
                </a:gridCol>
                <a:gridCol w="986067">
                  <a:extLst>
                    <a:ext uri="{9D8B030D-6E8A-4147-A177-3AD203B41FA5}">
                      <a16:colId xmlns:a16="http://schemas.microsoft.com/office/drawing/2014/main" val="1835726950"/>
                    </a:ext>
                  </a:extLst>
                </a:gridCol>
                <a:gridCol w="1060209">
                  <a:extLst>
                    <a:ext uri="{9D8B030D-6E8A-4147-A177-3AD203B41FA5}">
                      <a16:colId xmlns:a16="http://schemas.microsoft.com/office/drawing/2014/main" val="3066531738"/>
                    </a:ext>
                  </a:extLst>
                </a:gridCol>
                <a:gridCol w="998177">
                  <a:extLst>
                    <a:ext uri="{9D8B030D-6E8A-4147-A177-3AD203B41FA5}">
                      <a16:colId xmlns:a16="http://schemas.microsoft.com/office/drawing/2014/main" val="4205433650"/>
                    </a:ext>
                  </a:extLst>
                </a:gridCol>
                <a:gridCol w="963826">
                  <a:extLst>
                    <a:ext uri="{9D8B030D-6E8A-4147-A177-3AD203B41FA5}">
                      <a16:colId xmlns:a16="http://schemas.microsoft.com/office/drawing/2014/main" val="4161436657"/>
                    </a:ext>
                  </a:extLst>
                </a:gridCol>
              </a:tblGrid>
              <a:tr h="402111"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 H030 GP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PP H120 GP</a:t>
                      </a: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 H250 GP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PP H</a:t>
                      </a: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35</a:t>
                      </a:r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0 GP</a:t>
                      </a: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 H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4</a:t>
                      </a:r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50 GP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 H022 CM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 H451 IM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 H452 IM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PP H552 IM</a:t>
                      </a:r>
                      <a:endParaRPr lang="ru-RU" sz="1000" b="1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2241">
                <a:tc gridSpan="2"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олстостенные изделия, колпачки, литьевые компаунды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онкостенные изделия, колпачки, литьевые компаунды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лпачки, крышки для укупорки выдувной тары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овары бытового назначения, прозрачная тара</a:t>
                      </a:r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313C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овары бытового назначения, тара с высокой жёсткостью</a:t>
                      </a:r>
                    </a:p>
                  </a:txBody>
                  <a:tcPr marL="62294" marR="62294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0" lang="ru-RU" sz="9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13C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020875"/>
                  </a:ext>
                </a:extLst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54431" y="1785456"/>
            <a:ext cx="1175911" cy="146036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0353" y="3050729"/>
            <a:ext cx="1575771" cy="157577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2696" y="2187589"/>
            <a:ext cx="621795" cy="62772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72696" y="1875861"/>
            <a:ext cx="603106" cy="3117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4592" name="Picture 16" descr="https://avatars.mds.yandex.net/i?id=d7d1d5a5d2a95a5c56ea03ab7a91efcb4885e1ee-5234812-images-thumbs&amp;n=1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542" y="2072053"/>
            <a:ext cx="1063797" cy="7432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2599" y="1875861"/>
            <a:ext cx="1078382" cy="80878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3891" y="3326950"/>
            <a:ext cx="1023328" cy="1023328"/>
          </a:xfrm>
          <a:prstGeom prst="rect">
            <a:avLst/>
          </a:prstGeom>
        </p:spPr>
      </p:pic>
      <p:pic>
        <p:nvPicPr>
          <p:cNvPr id="24602" name="Picture 26" descr="https://avatars.mds.yandex.net/i?id=36b5f0f150fcd145f5ef6bb0d05ac3c5891b0d2a-7742796-images-thumbs&amp;n=1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9007" y="3048448"/>
            <a:ext cx="1443884" cy="1082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604" name="Picture 28" descr="https://avatars.mds.yandex.net/i?id=e271090e766253d0c296b5e09e463b4f3cd8809a-8497013-images-thumbs&amp;n=1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4640" y="1708087"/>
            <a:ext cx="1526970" cy="114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606" name="Picture 30" descr="https://avatars.mds.yandex.net/i?id=0f3cf526e543ffd17d168c2c614bcdca64ef1d6a-8159518-images-thumbs&amp;n=13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341" y="3496281"/>
            <a:ext cx="1902705" cy="1268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7" descr="https://avatars.mds.yandex.net/i?id=5345e8d16f796e6381cf82df3227a99511936fc4-8492330-images-thumbs&amp;n=13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0032" y="3270998"/>
            <a:ext cx="1330321" cy="133032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3744236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0nTY_tw06h0oUAvQ2Qs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EKczBer06qrjNCIdiS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0nTY_tw06h0oUAvQ2Q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EKczBer06qrjNCIdiS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9dgMvcKf0mwAz65dF34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bur-in-16x9">
  <a:themeElements>
    <a:clrScheme name="Sibur-ЯРКАЯ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99CC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99CC00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ibur-in-16x9" id="{FE9CC3FD-E76C-44D1-A74B-BF8422221C4B}" vid="{2F53D78C-3ACB-41F8-9410-F44F66AD6866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109</_dlc_DocId>
    <_dlc_DocIdUrl xmlns="7bda88f5-81ee-4ce0-acd0-0fc58edecc95">
      <Url>https://sharepoint/portals/template/_layouts/15/DocIdRedir.aspx?ID=E76AX7DTSNFM-10-109</Url>
      <Description>E76AX7DTSNFM-10-109</Description>
    </_dlc_DocIdUrl>
    <_x041e__x043f__x0438__x0441__x0430__x043d__x0438__x0435_ xmlns="9b0c9865-9e5f-4a19-8def-db8deaed8a5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339AC5BD-2A77-4B51-8E79-B68AB884ABE8}">
  <ds:schemaRefs>
    <ds:schemaRef ds:uri="http://purl.org/dc/elements/1.1/"/>
    <ds:schemaRef ds:uri="http://schemas.microsoft.com/office/2006/metadata/properties"/>
    <ds:schemaRef ds:uri="7bda88f5-81ee-4ce0-acd0-0fc58edecc95"/>
    <ds:schemaRef ds:uri="9b0c9865-9e5f-4a19-8def-db8deaed8a57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9B19B9D-877C-40B9-9B04-38878E3EC89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EAE196E-23FE-48F5-BB16-6A233CE99A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ED7D3442-C0D8-4E9D-90A5-48208B91D891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bur-in-16x9</Template>
  <TotalTime>13523</TotalTime>
  <Words>1443</Words>
  <Application>Microsoft Office PowerPoint</Application>
  <PresentationFormat>Экран (16:9)</PresentationFormat>
  <Paragraphs>457</Paragraphs>
  <Slides>18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8" baseType="lpstr">
      <vt:lpstr>MS PGothic</vt:lpstr>
      <vt:lpstr>Arial</vt:lpstr>
      <vt:lpstr>Arial Narrow</vt:lpstr>
      <vt:lpstr>Calibri</vt:lpstr>
      <vt:lpstr>DaunPenh</vt:lpstr>
      <vt:lpstr>Symbol</vt:lpstr>
      <vt:lpstr>Times New Roman</vt:lpstr>
      <vt:lpstr>Wingdings</vt:lpstr>
      <vt:lpstr>sibur-in-16x9</vt:lpstr>
      <vt:lpstr>Слайд think-cell</vt:lpstr>
      <vt:lpstr>ТЕХНОЛОГИИ ПРОИЗВОДСТВА ИЗДЕЛИЙ В МЕТОДОМ ЛИТЬЯ ПОД ДАВЛЕНИЕМ И СПЕЦИАЛЬНЫЕ ПРОДУКТОВЫЕ РЕШЕНИЯ СИБУР</vt:lpstr>
      <vt:lpstr>КЛАССИФИКАЦИЯ ПОЛИМЕРОВ</vt:lpstr>
      <vt:lpstr>ОСНОВНЫЕ ВИДЫ ПОЛИМЕРОВ, ПРИМЕНЯЕМЫЕ В СЕГМЕНТАХ ЖЕСТКОЙ УПАКОВКИ</vt:lpstr>
      <vt:lpstr>ЛИТЬЕ ПОД ДАВЛЕНИЕМ Принципиальная схема Термопластавтомата (ТПА)</vt:lpstr>
      <vt:lpstr>ЛИТЬЕ ПОД ДАВЛЕНИЕМ. ОСНОВНЫЕ СТАДИИ ПРОЦЕССА</vt:lpstr>
      <vt:lpstr>ЛИТЬЕ ПОД ДАВЛЕНИЕМ. ОСНОВНЫЕ СТАДИИ ПРОЦЕССА</vt:lpstr>
      <vt:lpstr>ЛИТЬЕ ПОД ДАВЛЕНИЕМ. ЦИКЛОГРАММА ЛИТЬЯ</vt:lpstr>
      <vt:lpstr>ТЕКУЩИЕ ПРОДУКТОВЫЕ РЕШЕНИЯ ДЛЯ СЕГМЕНТА ЛИТЬЕ ПОД ДАВЛЕНИЕМ. Гомополимеры ПП</vt:lpstr>
      <vt:lpstr>Примеры готовых изделий</vt:lpstr>
      <vt:lpstr>ТЕКУЩИЕ ПРОДУКТОВЫЕ РЕШЕНИЯ ДЛЯ СЕГМЕНТА ЛИТЬЕ ПОД ДАВЛЕНИЕМ. Статсополимеры ПП</vt:lpstr>
      <vt:lpstr>Примеры готовых изделий</vt:lpstr>
      <vt:lpstr>ТЕКУЩИЕ ПРОДУКТОВЫЕ РЕШЕНИЯ ДЛЯ СЕГМЕНТА ЛИТЬЕ ПОД ДАВЛЕНИЕМ. Блоксополимеры ПП</vt:lpstr>
      <vt:lpstr>Примеры готовых изделий</vt:lpstr>
      <vt:lpstr>ТЕКУЩИЕ ПРОДУКТОВЫЕ РЕШЕНИЯ ДЛЯ СЕГМЕНТА ЛИТЬЕ ПОД ДАВЛЕНИЕМ. Блоксополимеры ПП с высокой ударопрочностью</vt:lpstr>
      <vt:lpstr>Примеры готовых изделий</vt:lpstr>
      <vt:lpstr>ТЕКУЩИЕ ПРОДУКТОВЫЕ РЕШЕНИЯ ДЛЯ СЕГМЕНТА ЛИТЬЕ ПОД ДАВЛЕНИЕМ. Полиэтилен</vt:lpstr>
      <vt:lpstr>Примеры готовых изделий</vt:lpstr>
      <vt:lpstr>КОМПЛЕКС ОБОРУДОВАНИЯ ДЛЯ ИСПЫТАНИЯ ЖЁСТКОЙ УПАКОВК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йленко Наталья Владимировна</dc:creator>
  <cp:lastModifiedBy>Хапренко Владимир Викторович</cp:lastModifiedBy>
  <cp:revision>1176</cp:revision>
  <dcterms:created xsi:type="dcterms:W3CDTF">2017-07-19T13:48:40Z</dcterms:created>
  <dcterms:modified xsi:type="dcterms:W3CDTF">2023-03-03T14:4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7d7ac24b-9591-4942-a3ea-abb38dfc935a</vt:lpwstr>
  </property>
</Properties>
</file>